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6.xml" ContentType="application/vnd.openxmlformats-officedocument.theme+xml"/>
  <Override PartName="/ppt/tags/tag93.xml" ContentType="application/vnd.openxmlformats-officedocument.presentationml.tags+xml"/>
  <Override PartName="/ppt/notesSlides/notesSlide1.xml" ContentType="application/vnd.openxmlformats-officedocument.presentationml.notesSlide+xml"/>
  <Override PartName="/ppt/tags/tag94.xml" ContentType="application/vnd.openxmlformats-officedocument.presentationml.tags+xml"/>
  <Override PartName="/ppt/notesSlides/notesSlide2.xml" ContentType="application/vnd.openxmlformats-officedocument.presentationml.notesSlide+xml"/>
  <Override PartName="/ppt/tags/tag95.xml" ContentType="application/vnd.openxmlformats-officedocument.presentationml.tags+xml"/>
  <Override PartName="/ppt/notesSlides/notesSlide3.xml" ContentType="application/vnd.openxmlformats-officedocument.presentationml.notesSlide+xml"/>
  <Override PartName="/ppt/tags/tag96.xml" ContentType="application/vnd.openxmlformats-officedocument.presentationml.tags+xml"/>
  <Override PartName="/ppt/notesSlides/notesSlide4.xml" ContentType="application/vnd.openxmlformats-officedocument.presentationml.notesSlide+xml"/>
  <Override PartName="/ppt/tags/tag97.xml" ContentType="application/vnd.openxmlformats-officedocument.presentationml.tags+xml"/>
  <Override PartName="/ppt/notesSlides/notesSlide5.xml" ContentType="application/vnd.openxmlformats-officedocument.presentationml.notesSlide+xml"/>
  <Override PartName="/ppt/tags/tag98.xml" ContentType="application/vnd.openxmlformats-officedocument.presentationml.tags+xml"/>
  <Override PartName="/ppt/notesSlides/notesSlide6.xml" ContentType="application/vnd.openxmlformats-officedocument.presentationml.notesSlide+xml"/>
  <Override PartName="/ppt/tags/tag99.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816" r:id="rId5"/>
    <p:sldMasterId id="2147483743" r:id="rId6"/>
    <p:sldMasterId id="2147483762" r:id="rId7"/>
    <p:sldMasterId id="2147483674" r:id="rId8"/>
  </p:sldMasterIdLst>
  <p:notesMasterIdLst>
    <p:notesMasterId r:id="rId25"/>
  </p:notesMasterIdLst>
  <p:sldIdLst>
    <p:sldId id="279" r:id="rId9"/>
    <p:sldId id="2147471464" r:id="rId10"/>
    <p:sldId id="2147471489" r:id="rId11"/>
    <p:sldId id="258" r:id="rId12"/>
    <p:sldId id="259" r:id="rId13"/>
    <p:sldId id="260" r:id="rId14"/>
    <p:sldId id="261" r:id="rId15"/>
    <p:sldId id="2147471490" r:id="rId16"/>
    <p:sldId id="2147471505" r:id="rId17"/>
    <p:sldId id="2147471492" r:id="rId18"/>
    <p:sldId id="2147471519" r:id="rId19"/>
    <p:sldId id="2147471521" r:id="rId20"/>
    <p:sldId id="2147471517" r:id="rId21"/>
    <p:sldId id="2147471494" r:id="rId22"/>
    <p:sldId id="2147471520" r:id="rId23"/>
    <p:sldId id="2147471512" r:id="rId24"/>
  </p:sldIdLst>
  <p:sldSz cx="9144000" cy="5143500" type="screen16x9"/>
  <p:notesSz cx="6858000" cy="9926638"/>
  <p:custDataLst>
    <p:tags r:id="rId26"/>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Oletusosa" id="{3CD10547-1E4E-46FF-BD11-DA009F01E522}">
          <p14:sldIdLst>
            <p14:sldId id="279"/>
            <p14:sldId id="2147471464"/>
            <p14:sldId id="2147471489"/>
            <p14:sldId id="258"/>
            <p14:sldId id="259"/>
            <p14:sldId id="260"/>
            <p14:sldId id="261"/>
            <p14:sldId id="2147471490"/>
            <p14:sldId id="2147471505"/>
            <p14:sldId id="2147471492"/>
            <p14:sldId id="2147471519"/>
            <p14:sldId id="2147471521"/>
            <p14:sldId id="2147471517"/>
            <p14:sldId id="2147471494"/>
            <p14:sldId id="2147471520"/>
            <p14:sldId id="2147471512"/>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 " initials="LA(" lastIdx="2" clrIdx="0">
    <p:extLst>
      <p:ext uri="{19B8F6BF-5375-455C-9EA6-DF929625EA0E}">
        <p15:presenceInfo xmlns:p15="http://schemas.microsoft.com/office/powerpoint/2012/main" userId="S-1-5-21-3521595049-301303566-333748410-41672" providerId="AD"/>
      </p:ext>
    </p:extLst>
  </p:cmAuthor>
  <p:cmAuthor id="2" name="Haanpää Tiina (TEM)" initials="HT(" lastIdx="7" clrIdx="1">
    <p:extLst>
      <p:ext uri="{19B8F6BF-5375-455C-9EA6-DF929625EA0E}">
        <p15:presenceInfo xmlns:p15="http://schemas.microsoft.com/office/powerpoint/2012/main" userId="S-1-5-21-3521595049-301303566-333748410-194935" providerId="AD"/>
      </p:ext>
    </p:extLst>
  </p:cmAuthor>
  <p:cmAuthor id="3" name="Mähönen Erno (TEM)" initials="ME(" lastIdx="1" clrIdx="2">
    <p:extLst>
      <p:ext uri="{19B8F6BF-5375-455C-9EA6-DF929625EA0E}">
        <p15:presenceInfo xmlns:p15="http://schemas.microsoft.com/office/powerpoint/2012/main" userId="Mähönen Erno (TE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3C2FFA5D-87B4-456A-9821-1D502468CF0F}" styleName="Teematyyli 1 - Korostu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300" y="5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commentAuthors" Target="commentAuthors.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8056"/>
          </a:xfrm>
          <a:prstGeom prst="rect">
            <a:avLst/>
          </a:prstGeom>
        </p:spPr>
        <p:txBody>
          <a:bodyPr vert="horz" lIns="91440" tIns="45720" rIns="91440" bIns="45720" rtlCol="0"/>
          <a:lstStyle>
            <a:lvl1pPr algn="l" rtl="0">
              <a:defRPr sz="1200"/>
            </a:lvl1pPr>
          </a:lstStyle>
          <a:p>
            <a:endParaRPr lang="af-ZA"/>
          </a:p>
        </p:txBody>
      </p:sp>
      <p:sp>
        <p:nvSpPr>
          <p:cNvPr id="3" name="Date Placeholder 2"/>
          <p:cNvSpPr>
            <a:spLocks noGrp="1"/>
          </p:cNvSpPr>
          <p:nvPr>
            <p:ph type="dt" idx="1"/>
          </p:nvPr>
        </p:nvSpPr>
        <p:spPr>
          <a:xfrm>
            <a:off x="3884613" y="0"/>
            <a:ext cx="2971800" cy="498056"/>
          </a:xfrm>
          <a:prstGeom prst="rect">
            <a:avLst/>
          </a:prstGeom>
        </p:spPr>
        <p:txBody>
          <a:bodyPr vert="horz" lIns="91440" tIns="45720" rIns="91440" bIns="45720" rtlCol="0"/>
          <a:lstStyle>
            <a:lvl1pPr algn="r" rtl="0">
              <a:defRPr sz="1200"/>
            </a:lvl1pPr>
          </a:lstStyle>
          <a:p>
            <a:fld id="{13314F4D-3B18-764E-B32A-00C1D3093C4E}" type="datetimeFigureOut">
              <a:rPr lang="af-ZA" smtClean="0"/>
              <a:pPr/>
              <a:t>2024-12-09</a:t>
            </a:fld>
            <a:endParaRPr lang="af-ZA"/>
          </a:p>
        </p:txBody>
      </p:sp>
      <p:sp>
        <p:nvSpPr>
          <p:cNvPr id="4" name="Slide Image Placehold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af-ZA"/>
              <a:t>Click to edit Master text styles</a:t>
            </a:r>
          </a:p>
          <a:p>
            <a:pPr lvl="1"/>
            <a:r>
              <a:rPr lang="af-ZA"/>
              <a:t>Second level</a:t>
            </a:r>
          </a:p>
          <a:p>
            <a:pPr lvl="2"/>
            <a:r>
              <a:rPr lang="af-ZA"/>
              <a:t>Third level</a:t>
            </a:r>
          </a:p>
          <a:p>
            <a:pPr lvl="3"/>
            <a:r>
              <a:rPr lang="af-ZA"/>
              <a:t>Fourth level</a:t>
            </a:r>
          </a:p>
          <a:p>
            <a:pPr lvl="4"/>
            <a:r>
              <a:rPr lang="af-ZA"/>
              <a:t>Fifth level</a:t>
            </a:r>
          </a:p>
        </p:txBody>
      </p:sp>
      <p:sp>
        <p:nvSpPr>
          <p:cNvPr id="6" name="Footer Placeholder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rtl="0">
              <a:defRPr sz="1200"/>
            </a:lvl1pPr>
          </a:lstStyle>
          <a:p>
            <a:endParaRPr lang="af-ZA"/>
          </a:p>
        </p:txBody>
      </p:sp>
      <p:sp>
        <p:nvSpPr>
          <p:cNvPr id="7" name="Slide Number Placehold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rtl="0">
              <a:defRPr sz="1200"/>
            </a:lvl1pPr>
          </a:lstStyle>
          <a:p>
            <a:fld id="{D1B6B73F-CFB5-9D4F-9E0D-F2C3CD4A0C21}" type="slidenum">
              <a:rPr lang="af-ZA" smtClean="0"/>
              <a:pPr/>
              <a:t>‹#›</a:t>
            </a:fld>
            <a:endParaRPr lang="af-ZA"/>
          </a:p>
        </p:txBody>
      </p:sp>
    </p:spTree>
    <p:extLst>
      <p:ext uri="{BB962C8B-B14F-4D97-AF65-F5344CB8AC3E}">
        <p14:creationId xmlns:p14="http://schemas.microsoft.com/office/powerpoint/2010/main" val="168261422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1339850"/>
            <a:ext cx="6421437" cy="3613150"/>
          </a:xfrm>
        </p:spPr>
      </p:sp>
      <p:sp>
        <p:nvSpPr>
          <p:cNvPr id="3" name="Notes Placeholder 2"/>
          <p:cNvSpPr>
            <a:spLocks noGrp="1"/>
          </p:cNvSpPr>
          <p:nvPr>
            <p:ph type="body" idx="1"/>
          </p:nvPr>
        </p:nvSpPr>
        <p:spPr/>
        <p:txBody>
          <a:bodyPr/>
          <a:lstStyle/>
          <a:p>
            <a:endParaRPr lang="af-ZA"/>
          </a:p>
        </p:txBody>
      </p:sp>
      <p:sp>
        <p:nvSpPr>
          <p:cNvPr id="4" name="Slide Number Placeholder 3"/>
          <p:cNvSpPr>
            <a:spLocks noGrp="1"/>
          </p:cNvSpPr>
          <p:nvPr>
            <p:ph type="sldNum" sz="quarter" idx="10"/>
          </p:nvPr>
        </p:nvSpPr>
        <p:spPr/>
        <p:txBody>
          <a:bodyPr/>
          <a:lstStyle/>
          <a:p>
            <a:fld id="{D1B6B73F-CFB5-9D4F-9E0D-F2C3CD4A0C21}" type="slidenum">
              <a:rPr lang="af-ZA" smtClean="0"/>
              <a:pPr/>
              <a:t>1</a:t>
            </a:fld>
            <a:endParaRPr lang="af-ZA"/>
          </a:p>
        </p:txBody>
      </p:sp>
    </p:spTree>
    <p:extLst>
      <p:ext uri="{BB962C8B-B14F-4D97-AF65-F5344CB8AC3E}">
        <p14:creationId xmlns:p14="http://schemas.microsoft.com/office/powerpoint/2010/main" val="2226060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f-ZA"/>
          </a:p>
        </p:txBody>
      </p:sp>
      <p:sp>
        <p:nvSpPr>
          <p:cNvPr id="4" name="Slide Number Placeholder 3"/>
          <p:cNvSpPr>
            <a:spLocks noGrp="1"/>
          </p:cNvSpPr>
          <p:nvPr>
            <p:ph type="sldNum" sz="quarter" idx="5"/>
          </p:nvPr>
        </p:nvSpPr>
        <p:spPr/>
        <p:txBody>
          <a:bodyPr/>
          <a:lstStyle/>
          <a:p>
            <a:fld id="{D1B6B73F-CFB5-9D4F-9E0D-F2C3CD4A0C21}" type="slidenum">
              <a:rPr lang="af-ZA" smtClean="0"/>
              <a:pPr/>
              <a:t>2</a:t>
            </a:fld>
            <a:endParaRPr lang="af-ZA"/>
          </a:p>
        </p:txBody>
      </p:sp>
    </p:spTree>
    <p:extLst>
      <p:ext uri="{BB962C8B-B14F-4D97-AF65-F5344CB8AC3E}">
        <p14:creationId xmlns:p14="http://schemas.microsoft.com/office/powerpoint/2010/main" val="2975152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f-ZA"/>
          </a:p>
        </p:txBody>
      </p:sp>
      <p:sp>
        <p:nvSpPr>
          <p:cNvPr id="4" name="Slide Number Placeholder 3"/>
          <p:cNvSpPr>
            <a:spLocks noGrp="1"/>
          </p:cNvSpPr>
          <p:nvPr>
            <p:ph type="sldNum" sz="quarter" idx="5"/>
          </p:nvPr>
        </p:nvSpPr>
        <p:spPr/>
        <p:txBody>
          <a:bodyPr/>
          <a:lstStyle/>
          <a:p>
            <a:fld id="{D1B6B73F-CFB5-9D4F-9E0D-F2C3CD4A0C21}" type="slidenum">
              <a:rPr lang="af-ZA" smtClean="0"/>
              <a:pPr/>
              <a:t>3</a:t>
            </a:fld>
            <a:endParaRPr lang="af-ZA"/>
          </a:p>
        </p:txBody>
      </p:sp>
    </p:spTree>
    <p:extLst>
      <p:ext uri="{BB962C8B-B14F-4D97-AF65-F5344CB8AC3E}">
        <p14:creationId xmlns:p14="http://schemas.microsoft.com/office/powerpoint/2010/main" val="1480504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f-ZA"/>
          </a:p>
        </p:txBody>
      </p:sp>
      <p:sp>
        <p:nvSpPr>
          <p:cNvPr id="4" name="Slide Number Placeholder 3"/>
          <p:cNvSpPr>
            <a:spLocks noGrp="1"/>
          </p:cNvSpPr>
          <p:nvPr>
            <p:ph type="sldNum" sz="quarter" idx="5"/>
          </p:nvPr>
        </p:nvSpPr>
        <p:spPr/>
        <p:txBody>
          <a:bodyPr/>
          <a:lstStyle/>
          <a:p>
            <a:fld id="{D1B6B73F-CFB5-9D4F-9E0D-F2C3CD4A0C21}" type="slidenum">
              <a:rPr lang="af-ZA" smtClean="0"/>
              <a:pPr/>
              <a:t>8</a:t>
            </a:fld>
            <a:endParaRPr lang="af-ZA"/>
          </a:p>
        </p:txBody>
      </p:sp>
    </p:spTree>
    <p:extLst>
      <p:ext uri="{BB962C8B-B14F-4D97-AF65-F5344CB8AC3E}">
        <p14:creationId xmlns:p14="http://schemas.microsoft.com/office/powerpoint/2010/main" val="667166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f-ZA"/>
          </a:p>
        </p:txBody>
      </p:sp>
      <p:sp>
        <p:nvSpPr>
          <p:cNvPr id="4" name="Slide Number Placeholder 3"/>
          <p:cNvSpPr>
            <a:spLocks noGrp="1"/>
          </p:cNvSpPr>
          <p:nvPr>
            <p:ph type="sldNum" sz="quarter" idx="5"/>
          </p:nvPr>
        </p:nvSpPr>
        <p:spPr/>
        <p:txBody>
          <a:bodyPr/>
          <a:lstStyle/>
          <a:p>
            <a:fld id="{D1B6B73F-CFB5-9D4F-9E0D-F2C3CD4A0C21}" type="slidenum">
              <a:rPr lang="af-ZA" smtClean="0"/>
              <a:pPr/>
              <a:t>9</a:t>
            </a:fld>
            <a:endParaRPr lang="af-ZA"/>
          </a:p>
        </p:txBody>
      </p:sp>
    </p:spTree>
    <p:extLst>
      <p:ext uri="{BB962C8B-B14F-4D97-AF65-F5344CB8AC3E}">
        <p14:creationId xmlns:p14="http://schemas.microsoft.com/office/powerpoint/2010/main" val="197273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f-ZA"/>
          </a:p>
        </p:txBody>
      </p:sp>
      <p:sp>
        <p:nvSpPr>
          <p:cNvPr id="4" name="Slide Number Placeholder 3"/>
          <p:cNvSpPr>
            <a:spLocks noGrp="1"/>
          </p:cNvSpPr>
          <p:nvPr>
            <p:ph type="sldNum" sz="quarter" idx="5"/>
          </p:nvPr>
        </p:nvSpPr>
        <p:spPr/>
        <p:txBody>
          <a:bodyPr/>
          <a:lstStyle/>
          <a:p>
            <a:fld id="{D1B6B73F-CFB5-9D4F-9E0D-F2C3CD4A0C21}" type="slidenum">
              <a:rPr lang="af-ZA" smtClean="0"/>
              <a:pPr/>
              <a:t>10</a:t>
            </a:fld>
            <a:endParaRPr lang="af-ZA"/>
          </a:p>
        </p:txBody>
      </p:sp>
    </p:spTree>
    <p:extLst>
      <p:ext uri="{BB962C8B-B14F-4D97-AF65-F5344CB8AC3E}">
        <p14:creationId xmlns:p14="http://schemas.microsoft.com/office/powerpoint/2010/main" val="3956640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f-ZA"/>
          </a:p>
        </p:txBody>
      </p:sp>
      <p:sp>
        <p:nvSpPr>
          <p:cNvPr id="4" name="Slide Number Placeholder 3"/>
          <p:cNvSpPr>
            <a:spLocks noGrp="1"/>
          </p:cNvSpPr>
          <p:nvPr>
            <p:ph type="sldNum" sz="quarter" idx="5"/>
          </p:nvPr>
        </p:nvSpPr>
        <p:spPr/>
        <p:txBody>
          <a:bodyPr/>
          <a:lstStyle/>
          <a:p>
            <a:fld id="{D1B6B73F-CFB5-9D4F-9E0D-F2C3CD4A0C21}" type="slidenum">
              <a:rPr lang="af-ZA" smtClean="0"/>
              <a:pPr/>
              <a:t>14</a:t>
            </a:fld>
            <a:endParaRPr lang="af-ZA"/>
          </a:p>
        </p:txBody>
      </p:sp>
    </p:spTree>
    <p:extLst>
      <p:ext uri="{BB962C8B-B14F-4D97-AF65-F5344CB8AC3E}">
        <p14:creationId xmlns:p14="http://schemas.microsoft.com/office/powerpoint/2010/main" val="2534880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3.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4.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6.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8.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9.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4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48.xml"/><Relationship Id="rId6" Type="http://schemas.openxmlformats.org/officeDocument/2006/relationships/image" Target="../media/image11.png"/><Relationship Id="rId5" Type="http://schemas.openxmlformats.org/officeDocument/2006/relationships/image" Target="../media/image16.jpe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0.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1.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2.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3.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4.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59.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2.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67.xml"/><Relationship Id="rId6" Type="http://schemas.openxmlformats.org/officeDocument/2006/relationships/image" Target="../media/image11.png"/><Relationship Id="rId5" Type="http://schemas.openxmlformats.org/officeDocument/2006/relationships/image" Target="../media/image16.jpe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7.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70.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5.xml"/><Relationship Id="rId1" Type="http://schemas.openxmlformats.org/officeDocument/2006/relationships/tags" Target="../tags/tag72.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5.xml"/><Relationship Id="rId1" Type="http://schemas.openxmlformats.org/officeDocument/2006/relationships/tags" Target="../tags/tag73.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5.xml"/><Relationship Id="rId1" Type="http://schemas.openxmlformats.org/officeDocument/2006/relationships/tags" Target="../tags/tag74.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tags" Target="../tags/tag75.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5.xml"/><Relationship Id="rId1" Type="http://schemas.openxmlformats.org/officeDocument/2006/relationships/tags" Target="../tags/tag76.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5.xml"/><Relationship Id="rId1" Type="http://schemas.openxmlformats.org/officeDocument/2006/relationships/tags" Target="../tags/tag7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5.xml"/><Relationship Id="rId1" Type="http://schemas.openxmlformats.org/officeDocument/2006/relationships/tags" Target="../tags/tag7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5.xml"/><Relationship Id="rId1" Type="http://schemas.openxmlformats.org/officeDocument/2006/relationships/tags" Target="../tags/tag7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5.xml"/><Relationship Id="rId1" Type="http://schemas.openxmlformats.org/officeDocument/2006/relationships/tags" Target="../tags/tag8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5.xml"/><Relationship Id="rId1" Type="http://schemas.openxmlformats.org/officeDocument/2006/relationships/tags" Target="../tags/tag8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5.xml"/><Relationship Id="rId1" Type="http://schemas.openxmlformats.org/officeDocument/2006/relationships/tags" Target="../tags/tag8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5.xml"/><Relationship Id="rId1" Type="http://schemas.openxmlformats.org/officeDocument/2006/relationships/tags" Target="../tags/tag83.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5.xml"/><Relationship Id="rId1" Type="http://schemas.openxmlformats.org/officeDocument/2006/relationships/tags" Target="../tags/tag84.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5.xml"/><Relationship Id="rId1" Type="http://schemas.openxmlformats.org/officeDocument/2006/relationships/tags" Target="../tags/tag85.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5.xml"/><Relationship Id="rId1" Type="http://schemas.openxmlformats.org/officeDocument/2006/relationships/tags" Target="../tags/tag86.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jpeg"/><Relationship Id="rId5" Type="http://schemas.openxmlformats.org/officeDocument/2006/relationships/image" Target="../media/image3.emf"/><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5.xml"/><Relationship Id="rId1" Type="http://schemas.openxmlformats.org/officeDocument/2006/relationships/tags" Target="../tags/tag87.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5.xml"/><Relationship Id="rId1" Type="http://schemas.openxmlformats.org/officeDocument/2006/relationships/tags" Target="../tags/tag88.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5.xml"/><Relationship Id="rId1" Type="http://schemas.openxmlformats.org/officeDocument/2006/relationships/tags" Target="../tags/tag89.xml"/><Relationship Id="rId6" Type="http://schemas.openxmlformats.org/officeDocument/2006/relationships/image" Target="../media/image11.png"/><Relationship Id="rId5" Type="http://schemas.openxmlformats.org/officeDocument/2006/relationships/image" Target="../media/image16.jpe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7.emf"/><Relationship Id="rId4" Type="http://schemas.openxmlformats.org/officeDocument/2006/relationships/oleObject" Target="../embeddings/oleObject88.bin"/></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5.xml"/><Relationship Id="rId1" Type="http://schemas.openxmlformats.org/officeDocument/2006/relationships/tags" Target="../tags/tag92.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Otsikkodia">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2B3B5DE-AD0A-0381-084B-6D51E6D57EEF}"/>
              </a:ext>
            </a:extLst>
          </p:cNvPr>
          <p:cNvGraphicFramePr>
            <a:graphicFrameLocks noChangeAspect="1"/>
          </p:cNvGraphicFramePr>
          <p:nvPr userDrawn="1">
            <p:custDataLst>
              <p:tags r:id="rId1"/>
            </p:custDataLst>
            <p:extLst>
              <p:ext uri="{D42A27DB-BD31-4B8C-83A1-F6EECF244321}">
                <p14:modId xmlns:p14="http://schemas.microsoft.com/office/powerpoint/2010/main" val="1206512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think-cell data - do not delete" hidden="1">
                        <a:extLst>
                          <a:ext uri="{FF2B5EF4-FFF2-40B4-BE49-F238E27FC236}">
                            <a16:creationId xmlns:a16="http://schemas.microsoft.com/office/drawing/2014/main" id="{42B3B5DE-AD0A-0381-084B-6D51E6D57E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143000" y="759774"/>
            <a:ext cx="6858000" cy="1790700"/>
          </a:xfrm>
        </p:spPr>
        <p:txBody>
          <a:bodyPr vert="horz" anchor="b"/>
          <a:lstStyle>
            <a:lvl1pPr algn="ctr" rtl="0">
              <a:defRPr sz="4500">
                <a:solidFill>
                  <a:schemeClr val="bg2"/>
                </a:solidFill>
              </a:defRPr>
            </a:lvl1pPr>
          </a:lstStyle>
          <a:p>
            <a:r>
              <a:rPr lang="af-ZA"/>
              <a:t>Muokkaa perustyyl. napsautt.</a:t>
            </a:r>
          </a:p>
        </p:txBody>
      </p:sp>
      <p:sp>
        <p:nvSpPr>
          <p:cNvPr id="3" name="Subtitle 2"/>
          <p:cNvSpPr>
            <a:spLocks noGrp="1"/>
          </p:cNvSpPr>
          <p:nvPr>
            <p:ph type="subTitle" idx="1" hasCustomPrompt="1"/>
          </p:nvPr>
        </p:nvSpPr>
        <p:spPr>
          <a:xfrm>
            <a:off x="1143000" y="2776073"/>
            <a:ext cx="6858000" cy="675291"/>
          </a:xfrm>
        </p:spPr>
        <p:txBody>
          <a:bodyPr/>
          <a:lstStyle>
            <a:lvl1pPr marL="0" indent="0" algn="ctr" rtl="0">
              <a:buNone/>
              <a:defRPr sz="1800">
                <a:solidFill>
                  <a:schemeClr val="bg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af-ZA"/>
              <a:t>Muokkaa alaotsikon perustyyliä napsautt.</a:t>
            </a:r>
          </a:p>
        </p:txBody>
      </p:sp>
      <p:pic>
        <p:nvPicPr>
          <p:cNvPr id="7" name="Picture 6" descr="Työ- ja elinkeinoministeriö&#10;Arbets- och näringsministeriet"/>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74602" y="3928500"/>
            <a:ext cx="1596951" cy="810000"/>
          </a:xfrm>
          <a:prstGeom prst="rect">
            <a:avLst/>
          </a:prstGeom>
        </p:spPr>
      </p:pic>
      <p:sp>
        <p:nvSpPr>
          <p:cNvPr id="9" name="TextBox 8"/>
          <p:cNvSpPr txBox="1"/>
          <p:nvPr/>
        </p:nvSpPr>
        <p:spPr>
          <a:xfrm>
            <a:off x="7863843" y="5913120"/>
            <a:ext cx="184731" cy="248209"/>
          </a:xfrm>
          <a:prstGeom prst="rect">
            <a:avLst/>
          </a:prstGeom>
          <a:noFill/>
        </p:spPr>
        <p:txBody>
          <a:bodyPr wrap="none" rtlCol="0">
            <a:spAutoFit/>
          </a:bodyPr>
          <a:lstStyle/>
          <a:p>
            <a:pPr rtl="0"/>
            <a:endParaRPr lang="af-ZA" sz="1013"/>
          </a:p>
        </p:txBody>
      </p:sp>
      <p:sp>
        <p:nvSpPr>
          <p:cNvPr id="10" name="TextBox 9"/>
          <p:cNvSpPr txBox="1"/>
          <p:nvPr/>
        </p:nvSpPr>
        <p:spPr>
          <a:xfrm>
            <a:off x="4191003" y="5791200"/>
            <a:ext cx="184731" cy="248209"/>
          </a:xfrm>
          <a:prstGeom prst="rect">
            <a:avLst/>
          </a:prstGeom>
          <a:noFill/>
        </p:spPr>
        <p:txBody>
          <a:bodyPr wrap="none" rtlCol="0">
            <a:spAutoFit/>
          </a:bodyPr>
          <a:lstStyle/>
          <a:p>
            <a:pPr rtl="0"/>
            <a:endParaRPr lang="af-ZA" sz="1013"/>
          </a:p>
        </p:txBody>
      </p:sp>
    </p:spTree>
    <p:extLst>
      <p:ext uri="{BB962C8B-B14F-4D97-AF65-F5344CB8AC3E}">
        <p14:creationId xmlns:p14="http://schemas.microsoft.com/office/powerpoint/2010/main" val="2091392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3_Otsikko ja sisältö">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922F9C0-44DE-9D60-6694-F33C8A96E111}"/>
              </a:ext>
            </a:extLst>
          </p:cNvPr>
          <p:cNvGraphicFramePr>
            <a:graphicFrameLocks noChangeAspect="1"/>
          </p:cNvGraphicFramePr>
          <p:nvPr userDrawn="1">
            <p:custDataLst>
              <p:tags r:id="rId1"/>
            </p:custDataLst>
            <p:extLst>
              <p:ext uri="{D42A27DB-BD31-4B8C-83A1-F6EECF244321}">
                <p14:modId xmlns:p14="http://schemas.microsoft.com/office/powerpoint/2010/main" val="290208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1922F9C0-44DE-9D60-6694-F33C8A96E1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28651" y="397462"/>
            <a:ext cx="5164988" cy="746936"/>
          </a:xfrm>
        </p:spPr>
        <p:txBody>
          <a:bodyPr vert="horz"/>
          <a:lstStyle>
            <a:lvl1pPr rtl="0">
              <a:defRPr/>
            </a:lvl1pPr>
          </a:lstStyle>
          <a:p>
            <a:r>
              <a:rPr lang="af-ZA"/>
              <a:t>Muokkaa perustyyl. napsautt.</a:t>
            </a:r>
          </a:p>
        </p:txBody>
      </p:sp>
      <p:sp>
        <p:nvSpPr>
          <p:cNvPr id="3" name="Content Placeholder 2"/>
          <p:cNvSpPr>
            <a:spLocks noGrp="1"/>
          </p:cNvSpPr>
          <p:nvPr>
            <p:ph idx="1" hasCustomPrompt="1"/>
          </p:nvPr>
        </p:nvSpPr>
        <p:spPr>
          <a:xfrm>
            <a:off x="628650" y="1144398"/>
            <a:ext cx="5164988" cy="3335527"/>
          </a:xfrm>
        </p:spPr>
        <p:txBody>
          <a:bodyPr/>
          <a:lstStyle>
            <a:lvl1pPr rtl="0">
              <a:defRPr b="0"/>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5" name="Footer Placeholder 4"/>
          <p:cNvSpPr>
            <a:spLocks noGrp="1"/>
          </p:cNvSpPr>
          <p:nvPr>
            <p:ph type="ftr" sz="quarter" idx="11"/>
          </p:nvPr>
        </p:nvSpPr>
        <p:spPr/>
        <p:txBody>
          <a:bodyPr/>
          <a:lstStyle>
            <a:lvl1pPr rtl="0">
              <a:defRPr/>
            </a:lvl1pPr>
          </a:lstStyle>
          <a:p>
            <a:r>
              <a:rPr lang="af-ZA"/>
              <a:t>Työ- ja elinkeinoministeriö • www.tem.fi</a:t>
            </a:r>
          </a:p>
        </p:txBody>
      </p:sp>
      <p:sp>
        <p:nvSpPr>
          <p:cNvPr id="4" name="Date Placeholder 3"/>
          <p:cNvSpPr>
            <a:spLocks noGrp="1"/>
          </p:cNvSpPr>
          <p:nvPr>
            <p:ph type="dt" sz="half" idx="10"/>
          </p:nvPr>
        </p:nvSpPr>
        <p:spPr/>
        <p:txBody>
          <a:bodyPr/>
          <a:lstStyle>
            <a:lvl1pPr rtl="0">
              <a:defRPr/>
            </a:lvl1pPr>
          </a:lstStyle>
          <a:p>
            <a:fld id="{CF0B024A-9348-8F4E-84E6-1AC861A3D50B}" type="datetime1">
              <a:rPr lang="af-ZA" smtClean="0"/>
              <a:pPr/>
              <a:t>2024-12-09</a:t>
            </a:fld>
            <a:endParaRPr lang="af-ZA"/>
          </a:p>
        </p:txBody>
      </p:sp>
      <p:sp>
        <p:nvSpPr>
          <p:cNvPr id="6" name="Slide Number Placeholder 5"/>
          <p:cNvSpPr>
            <a:spLocks noGrp="1"/>
          </p:cNvSpPr>
          <p:nvPr>
            <p:ph type="sldNum" sz="quarter" idx="12"/>
          </p:nvPr>
        </p:nvSpPr>
        <p:spPr/>
        <p:txBody>
          <a:bodyPr/>
          <a:lstStyle>
            <a:lvl1pPr rtl="0">
              <a:defRPr/>
            </a:lvl1pPr>
          </a:lstStyle>
          <a:p>
            <a:fld id="{3065C9E5-8AC3-DF4B-BA99-CB03B9370A98}" type="slidenum">
              <a:rPr lang="af-ZA" smtClean="0"/>
              <a:pPr/>
              <a:t>‹#›</a:t>
            </a:fld>
            <a:endParaRPr lang="af-ZA"/>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pic>
        <p:nvPicPr>
          <p:cNvPr id="12" name="Kuva 11"/>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955792" y="0"/>
            <a:ext cx="3188208" cy="4785360"/>
          </a:xfrm>
          <a:prstGeom prst="rect">
            <a:avLst/>
          </a:prstGeom>
        </p:spPr>
      </p:pic>
    </p:spTree>
    <p:extLst>
      <p:ext uri="{BB962C8B-B14F-4D97-AF65-F5344CB8AC3E}">
        <p14:creationId xmlns:p14="http://schemas.microsoft.com/office/powerpoint/2010/main" val="3765541430"/>
      </p:ext>
    </p:extLst>
  </p:cSld>
  <p:clrMapOvr>
    <a:masterClrMapping/>
  </p:clrMapOvr>
  <p:extLst>
    <p:ext uri="{DCECCB84-F9BA-43D5-87BE-67443E8EF086}">
      <p15:sldGuideLst xmlns:p15="http://schemas.microsoft.com/office/powerpoint/2012/main">
        <p15:guide id="1" orient="horz" pos="3748">
          <p15:clr>
            <a:srgbClr val="FBAE40"/>
          </p15:clr>
        </p15:guide>
        <p15:guide id="2" pos="38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4_Otsikko ja sisältö">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742F09A-62D5-C479-4D54-FAB9722C2A15}"/>
              </a:ext>
            </a:extLst>
          </p:cNvPr>
          <p:cNvGraphicFramePr>
            <a:graphicFrameLocks noChangeAspect="1"/>
          </p:cNvGraphicFramePr>
          <p:nvPr userDrawn="1">
            <p:custDataLst>
              <p:tags r:id="rId1"/>
            </p:custDataLst>
            <p:extLst>
              <p:ext uri="{D42A27DB-BD31-4B8C-83A1-F6EECF244321}">
                <p14:modId xmlns:p14="http://schemas.microsoft.com/office/powerpoint/2010/main" val="515725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5742F09A-62D5-C479-4D54-FAB9722C2A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28651" y="397462"/>
            <a:ext cx="5164988" cy="746936"/>
          </a:xfrm>
        </p:spPr>
        <p:txBody>
          <a:bodyPr vert="horz"/>
          <a:lstStyle>
            <a:lvl1pPr rtl="0">
              <a:defRPr/>
            </a:lvl1pPr>
          </a:lstStyle>
          <a:p>
            <a:r>
              <a:rPr lang="af-ZA"/>
              <a:t>Muokkaa perustyyl. napsautt.</a:t>
            </a:r>
          </a:p>
        </p:txBody>
      </p:sp>
      <p:sp>
        <p:nvSpPr>
          <p:cNvPr id="3" name="Content Placeholder 2"/>
          <p:cNvSpPr>
            <a:spLocks noGrp="1"/>
          </p:cNvSpPr>
          <p:nvPr>
            <p:ph idx="1" hasCustomPrompt="1"/>
          </p:nvPr>
        </p:nvSpPr>
        <p:spPr>
          <a:xfrm>
            <a:off x="628650" y="1144398"/>
            <a:ext cx="5164988" cy="3335527"/>
          </a:xfrm>
        </p:spPr>
        <p:txBody>
          <a:bodyPr/>
          <a:lstStyle>
            <a:lvl1pPr rtl="0">
              <a:defRPr b="0"/>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5" name="Footer Placeholder 4"/>
          <p:cNvSpPr>
            <a:spLocks noGrp="1"/>
          </p:cNvSpPr>
          <p:nvPr>
            <p:ph type="ftr" sz="quarter" idx="11"/>
          </p:nvPr>
        </p:nvSpPr>
        <p:spPr/>
        <p:txBody>
          <a:bodyPr/>
          <a:lstStyle>
            <a:lvl1pPr rtl="0">
              <a:defRPr/>
            </a:lvl1pPr>
          </a:lstStyle>
          <a:p>
            <a:r>
              <a:rPr lang="af-ZA"/>
              <a:t>Työ- ja elinkeinoministeriö • www.tem.fi</a:t>
            </a:r>
          </a:p>
        </p:txBody>
      </p:sp>
      <p:sp>
        <p:nvSpPr>
          <p:cNvPr id="4" name="Date Placeholder 3"/>
          <p:cNvSpPr>
            <a:spLocks noGrp="1"/>
          </p:cNvSpPr>
          <p:nvPr>
            <p:ph type="dt" sz="half" idx="10"/>
          </p:nvPr>
        </p:nvSpPr>
        <p:spPr/>
        <p:txBody>
          <a:bodyPr/>
          <a:lstStyle>
            <a:lvl1pPr rtl="0">
              <a:defRPr/>
            </a:lvl1pPr>
          </a:lstStyle>
          <a:p>
            <a:fld id="{CF0B024A-9348-8F4E-84E6-1AC861A3D50B}" type="datetime1">
              <a:rPr lang="af-ZA" smtClean="0"/>
              <a:pPr/>
              <a:t>2024-12-09</a:t>
            </a:fld>
            <a:endParaRPr lang="af-ZA"/>
          </a:p>
        </p:txBody>
      </p:sp>
      <p:sp>
        <p:nvSpPr>
          <p:cNvPr id="6" name="Slide Number Placeholder 5"/>
          <p:cNvSpPr>
            <a:spLocks noGrp="1"/>
          </p:cNvSpPr>
          <p:nvPr>
            <p:ph type="sldNum" sz="quarter" idx="12"/>
          </p:nvPr>
        </p:nvSpPr>
        <p:spPr/>
        <p:txBody>
          <a:bodyPr/>
          <a:lstStyle>
            <a:lvl1pPr rtl="0">
              <a:defRPr/>
            </a:lvl1pPr>
          </a:lstStyle>
          <a:p>
            <a:fld id="{3065C9E5-8AC3-DF4B-BA99-CB03B9370A98}" type="slidenum">
              <a:rPr lang="af-ZA" smtClean="0"/>
              <a:pPr/>
              <a:t>‹#›</a:t>
            </a:fld>
            <a:endParaRPr lang="af-ZA"/>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pic>
        <p:nvPicPr>
          <p:cNvPr id="12" name="Kuva 11"/>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955792" y="0"/>
            <a:ext cx="3188208" cy="4785360"/>
          </a:xfrm>
          <a:prstGeom prst="rect">
            <a:avLst/>
          </a:prstGeom>
        </p:spPr>
      </p:pic>
    </p:spTree>
    <p:extLst>
      <p:ext uri="{BB962C8B-B14F-4D97-AF65-F5344CB8AC3E}">
        <p14:creationId xmlns:p14="http://schemas.microsoft.com/office/powerpoint/2010/main" val="219525297"/>
      </p:ext>
    </p:extLst>
  </p:cSld>
  <p:clrMapOvr>
    <a:masterClrMapping/>
  </p:clrMapOvr>
  <p:extLst>
    <p:ext uri="{DCECCB84-F9BA-43D5-87BE-67443E8EF086}">
      <p15:sldGuideLst xmlns:p15="http://schemas.microsoft.com/office/powerpoint/2012/main">
        <p15:guide id="1" orient="horz" pos="3748">
          <p15:clr>
            <a:srgbClr val="FBAE40"/>
          </p15:clr>
        </p15:guide>
        <p15:guide id="2" pos="38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btitle">
    <p:bg>
      <p:bgPr>
        <a:solidFill>
          <a:schemeClr val="tx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3BE481F-6482-FACC-6EAE-B53B3E55AAE0}"/>
              </a:ext>
            </a:extLst>
          </p:cNvPr>
          <p:cNvGraphicFramePr>
            <a:graphicFrameLocks noChangeAspect="1"/>
          </p:cNvGraphicFramePr>
          <p:nvPr userDrawn="1">
            <p:custDataLst>
              <p:tags r:id="rId1"/>
            </p:custDataLst>
            <p:extLst>
              <p:ext uri="{D42A27DB-BD31-4B8C-83A1-F6EECF244321}">
                <p14:modId xmlns:p14="http://schemas.microsoft.com/office/powerpoint/2010/main" val="2842662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think-cell data - do not delete" hidden="1">
                        <a:extLst>
                          <a:ext uri="{FF2B5EF4-FFF2-40B4-BE49-F238E27FC236}">
                            <a16:creationId xmlns:a16="http://schemas.microsoft.com/office/drawing/2014/main" id="{03BE481F-6482-FACC-6EAE-B53B3E55AA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5">
            <a:extLst>
              <a:ext uri="{C183D7F6-B498-43B3-948B-1728B52AA6E4}">
                <adec:decorative xmlns:adec="http://schemas.microsoft.com/office/drawing/2017/decorative" val="1"/>
              </a:ext>
            </a:extLst>
          </p:cNvPr>
          <p:cNvPicPr>
            <a:picLocks noChangeAspect="1"/>
          </p:cNvPicPr>
          <p:nvPr userDrawn="1"/>
        </p:nvPicPr>
        <p:blipFill>
          <a:blip r:embed="rId5">
            <a:alphaModFix amt="6000"/>
            <a:extLst>
              <a:ext uri="{28A0092B-C50C-407E-A947-70E740481C1C}">
                <a14:useLocalDpi xmlns:a14="http://schemas.microsoft.com/office/drawing/2010/main" val="0"/>
              </a:ext>
            </a:extLst>
          </a:blip>
          <a:stretch>
            <a:fillRect/>
          </a:stretch>
        </p:blipFill>
        <p:spPr>
          <a:xfrm>
            <a:off x="3155096" y="446728"/>
            <a:ext cx="2834250" cy="4254545"/>
          </a:xfrm>
          <a:prstGeom prst="rect">
            <a:avLst/>
          </a:prstGeom>
        </p:spPr>
      </p:pic>
      <p:sp>
        <p:nvSpPr>
          <p:cNvPr id="22" name="Text Placeholder 21"/>
          <p:cNvSpPr>
            <a:spLocks noGrp="1"/>
          </p:cNvSpPr>
          <p:nvPr>
            <p:ph type="body" sz="quarter" idx="10" hasCustomPrompt="1"/>
          </p:nvPr>
        </p:nvSpPr>
        <p:spPr>
          <a:xfrm>
            <a:off x="2116932" y="1134665"/>
            <a:ext cx="4910137" cy="2692401"/>
          </a:xfrm>
        </p:spPr>
        <p:txBody>
          <a:bodyPr lIns="90000" anchor="ctr" anchorCtr="1">
            <a:noAutofit/>
          </a:bodyPr>
          <a:lstStyle>
            <a:lvl1pPr marL="0" indent="0" algn="ctr" rtl="0">
              <a:buNone/>
              <a:defRPr sz="4400" baseline="0">
                <a:solidFill>
                  <a:schemeClr val="bg2"/>
                </a:solidFill>
              </a:defRPr>
            </a:lvl1pPr>
          </a:lstStyle>
          <a:p>
            <a:pPr lvl="0"/>
            <a:r>
              <a:rPr lang="af-ZA"/>
              <a:t>Muokkaa tekstin perustyylejä</a:t>
            </a:r>
          </a:p>
        </p:txBody>
      </p:sp>
    </p:spTree>
    <p:extLst>
      <p:ext uri="{BB962C8B-B14F-4D97-AF65-F5344CB8AC3E}">
        <p14:creationId xmlns:p14="http://schemas.microsoft.com/office/powerpoint/2010/main" val="1278011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12_Lopetu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79110F-ED6A-72DD-80E3-7B3F4C4C66DF}"/>
              </a:ext>
            </a:extLst>
          </p:cNvPr>
          <p:cNvGraphicFramePr>
            <a:graphicFrameLocks noChangeAspect="1"/>
          </p:cNvGraphicFramePr>
          <p:nvPr userDrawn="1">
            <p:custDataLst>
              <p:tags r:id="rId1"/>
            </p:custDataLst>
            <p:extLst>
              <p:ext uri="{D42A27DB-BD31-4B8C-83A1-F6EECF244321}">
                <p14:modId xmlns:p14="http://schemas.microsoft.com/office/powerpoint/2010/main" val="2627685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think-cell data - do not delete" hidden="1">
                        <a:extLst>
                          <a:ext uri="{FF2B5EF4-FFF2-40B4-BE49-F238E27FC236}">
                            <a16:creationId xmlns:a16="http://schemas.microsoft.com/office/drawing/2014/main" id="{EA79110F-ED6A-72DD-80E3-7B3F4C4C66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3" name="Group 12"/>
          <p:cNvGrpSpPr/>
          <p:nvPr/>
        </p:nvGrpSpPr>
        <p:grpSpPr>
          <a:xfrm>
            <a:off x="0" y="0"/>
            <a:ext cx="9144000" cy="5143501"/>
            <a:chOff x="0" y="0"/>
            <a:chExt cx="9144000" cy="5143501"/>
          </a:xfrm>
        </p:grpSpPr>
        <p:sp>
          <p:nvSpPr>
            <p:cNvPr id="2" name="Rectangle 1"/>
            <p:cNvSpPr/>
            <p:nvPr userDrawn="1"/>
          </p:nvSpPr>
          <p:spPr>
            <a:xfrm>
              <a:off x="0" y="0"/>
              <a:ext cx="9144000" cy="51435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af-ZA"/>
            </a:p>
          </p:txBody>
        </p:sp>
        <p:sp>
          <p:nvSpPr>
            <p:cNvPr id="5" name="Freeform 5"/>
            <p:cNvSpPr>
              <a:spLocks/>
            </p:cNvSpPr>
            <p:nvPr userDrawn="1"/>
          </p:nvSpPr>
          <p:spPr bwMode="auto">
            <a:xfrm flipH="1">
              <a:off x="0" y="3640138"/>
              <a:ext cx="2425376" cy="1503363"/>
            </a:xfrm>
            <a:custGeom>
              <a:avLst/>
              <a:gdLst>
                <a:gd name="T0" fmla="*/ 1527 w 1527"/>
                <a:gd name="T1" fmla="*/ 947 h 947"/>
                <a:gd name="T2" fmla="*/ 1527 w 1527"/>
                <a:gd name="T3" fmla="*/ 491 h 947"/>
                <a:gd name="T4" fmla="*/ 1527 w 1527"/>
                <a:gd name="T5" fmla="*/ 491 h 947"/>
                <a:gd name="T6" fmla="*/ 1291 w 1527"/>
                <a:gd name="T7" fmla="*/ 382 h 947"/>
                <a:gd name="T8" fmla="*/ 1175 w 1527"/>
                <a:gd name="T9" fmla="*/ 327 h 947"/>
                <a:gd name="T10" fmla="*/ 1118 w 1527"/>
                <a:gd name="T11" fmla="*/ 299 h 947"/>
                <a:gd name="T12" fmla="*/ 1060 w 1527"/>
                <a:gd name="T13" fmla="*/ 270 h 947"/>
                <a:gd name="T14" fmla="*/ 1003 w 1527"/>
                <a:gd name="T15" fmla="*/ 241 h 947"/>
                <a:gd name="T16" fmla="*/ 946 w 1527"/>
                <a:gd name="T17" fmla="*/ 210 h 947"/>
                <a:gd name="T18" fmla="*/ 889 w 1527"/>
                <a:gd name="T19" fmla="*/ 179 h 947"/>
                <a:gd name="T20" fmla="*/ 833 w 1527"/>
                <a:gd name="T21" fmla="*/ 146 h 947"/>
                <a:gd name="T22" fmla="*/ 777 w 1527"/>
                <a:gd name="T23" fmla="*/ 111 h 947"/>
                <a:gd name="T24" fmla="*/ 722 w 1527"/>
                <a:gd name="T25" fmla="*/ 76 h 947"/>
                <a:gd name="T26" fmla="*/ 667 w 1527"/>
                <a:gd name="T27" fmla="*/ 39 h 947"/>
                <a:gd name="T28" fmla="*/ 612 w 1527"/>
                <a:gd name="T29" fmla="*/ 0 h 947"/>
                <a:gd name="T30" fmla="*/ 612 w 1527"/>
                <a:gd name="T31" fmla="*/ 0 h 947"/>
                <a:gd name="T32" fmla="*/ 569 w 1527"/>
                <a:gd name="T33" fmla="*/ 70 h 947"/>
                <a:gd name="T34" fmla="*/ 527 w 1527"/>
                <a:gd name="T35" fmla="*/ 137 h 947"/>
                <a:gd name="T36" fmla="*/ 486 w 1527"/>
                <a:gd name="T37" fmla="*/ 202 h 947"/>
                <a:gd name="T38" fmla="*/ 444 w 1527"/>
                <a:gd name="T39" fmla="*/ 265 h 947"/>
                <a:gd name="T40" fmla="*/ 363 w 1527"/>
                <a:gd name="T41" fmla="*/ 386 h 947"/>
                <a:gd name="T42" fmla="*/ 283 w 1527"/>
                <a:gd name="T43" fmla="*/ 502 h 947"/>
                <a:gd name="T44" fmla="*/ 207 w 1527"/>
                <a:gd name="T45" fmla="*/ 614 h 947"/>
                <a:gd name="T46" fmla="*/ 170 w 1527"/>
                <a:gd name="T47" fmla="*/ 669 h 947"/>
                <a:gd name="T48" fmla="*/ 134 w 1527"/>
                <a:gd name="T49" fmla="*/ 724 h 947"/>
                <a:gd name="T50" fmla="*/ 99 w 1527"/>
                <a:gd name="T51" fmla="*/ 779 h 947"/>
                <a:gd name="T52" fmla="*/ 65 w 1527"/>
                <a:gd name="T53" fmla="*/ 835 h 947"/>
                <a:gd name="T54" fmla="*/ 32 w 1527"/>
                <a:gd name="T55" fmla="*/ 890 h 947"/>
                <a:gd name="T56" fmla="*/ 0 w 1527"/>
                <a:gd name="T57" fmla="*/ 947 h 947"/>
                <a:gd name="T58" fmla="*/ 1527 w 1527"/>
                <a:gd name="T59" fmla="*/ 947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7" h="947">
                  <a:moveTo>
                    <a:pt x="1527" y="947"/>
                  </a:moveTo>
                  <a:lnTo>
                    <a:pt x="1527" y="491"/>
                  </a:lnTo>
                  <a:lnTo>
                    <a:pt x="1527" y="491"/>
                  </a:lnTo>
                  <a:lnTo>
                    <a:pt x="1291" y="382"/>
                  </a:lnTo>
                  <a:lnTo>
                    <a:pt x="1175" y="327"/>
                  </a:lnTo>
                  <a:lnTo>
                    <a:pt x="1118" y="299"/>
                  </a:lnTo>
                  <a:lnTo>
                    <a:pt x="1060" y="270"/>
                  </a:lnTo>
                  <a:lnTo>
                    <a:pt x="1003" y="241"/>
                  </a:lnTo>
                  <a:lnTo>
                    <a:pt x="946" y="210"/>
                  </a:lnTo>
                  <a:lnTo>
                    <a:pt x="889" y="179"/>
                  </a:lnTo>
                  <a:lnTo>
                    <a:pt x="833" y="146"/>
                  </a:lnTo>
                  <a:lnTo>
                    <a:pt x="777" y="111"/>
                  </a:lnTo>
                  <a:lnTo>
                    <a:pt x="722" y="76"/>
                  </a:lnTo>
                  <a:lnTo>
                    <a:pt x="667" y="39"/>
                  </a:lnTo>
                  <a:lnTo>
                    <a:pt x="612" y="0"/>
                  </a:lnTo>
                  <a:lnTo>
                    <a:pt x="612" y="0"/>
                  </a:lnTo>
                  <a:lnTo>
                    <a:pt x="569" y="70"/>
                  </a:lnTo>
                  <a:lnTo>
                    <a:pt x="527" y="137"/>
                  </a:lnTo>
                  <a:lnTo>
                    <a:pt x="486" y="202"/>
                  </a:lnTo>
                  <a:lnTo>
                    <a:pt x="444" y="265"/>
                  </a:lnTo>
                  <a:lnTo>
                    <a:pt x="363" y="386"/>
                  </a:lnTo>
                  <a:lnTo>
                    <a:pt x="283" y="502"/>
                  </a:lnTo>
                  <a:lnTo>
                    <a:pt x="207" y="614"/>
                  </a:lnTo>
                  <a:lnTo>
                    <a:pt x="170" y="669"/>
                  </a:lnTo>
                  <a:lnTo>
                    <a:pt x="134" y="724"/>
                  </a:lnTo>
                  <a:lnTo>
                    <a:pt x="99" y="779"/>
                  </a:lnTo>
                  <a:lnTo>
                    <a:pt x="65" y="835"/>
                  </a:lnTo>
                  <a:lnTo>
                    <a:pt x="32" y="890"/>
                  </a:lnTo>
                  <a:lnTo>
                    <a:pt x="0" y="947"/>
                  </a:lnTo>
                  <a:lnTo>
                    <a:pt x="1527" y="947"/>
                  </a:lnTo>
                  <a:close/>
                </a:path>
              </a:pathLst>
            </a:custGeom>
            <a:solidFill>
              <a:srgbClr val="7991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 name="Freeform 6"/>
            <p:cNvSpPr>
              <a:spLocks/>
            </p:cNvSpPr>
            <p:nvPr userDrawn="1"/>
          </p:nvSpPr>
          <p:spPr bwMode="auto">
            <a:xfrm flipH="1">
              <a:off x="0" y="2641600"/>
              <a:ext cx="1453319" cy="1671638"/>
            </a:xfrm>
            <a:custGeom>
              <a:avLst/>
              <a:gdLst>
                <a:gd name="T0" fmla="*/ 915 w 915"/>
                <a:gd name="T1" fmla="*/ 0 h 1053"/>
                <a:gd name="T2" fmla="*/ 915 w 915"/>
                <a:gd name="T3" fmla="*/ 0 h 1053"/>
                <a:gd name="T4" fmla="*/ 854 w 915"/>
                <a:gd name="T5" fmla="*/ 29 h 1053"/>
                <a:gd name="T6" fmla="*/ 795 w 915"/>
                <a:gd name="T7" fmla="*/ 62 h 1053"/>
                <a:gd name="T8" fmla="*/ 735 w 915"/>
                <a:gd name="T9" fmla="*/ 97 h 1053"/>
                <a:gd name="T10" fmla="*/ 675 w 915"/>
                <a:gd name="T11" fmla="*/ 133 h 1053"/>
                <a:gd name="T12" fmla="*/ 617 w 915"/>
                <a:gd name="T13" fmla="*/ 171 h 1053"/>
                <a:gd name="T14" fmla="*/ 559 w 915"/>
                <a:gd name="T15" fmla="*/ 210 h 1053"/>
                <a:gd name="T16" fmla="*/ 500 w 915"/>
                <a:gd name="T17" fmla="*/ 251 h 1053"/>
                <a:gd name="T18" fmla="*/ 443 w 915"/>
                <a:gd name="T19" fmla="*/ 294 h 1053"/>
                <a:gd name="T20" fmla="*/ 329 w 915"/>
                <a:gd name="T21" fmla="*/ 378 h 1053"/>
                <a:gd name="T22" fmla="*/ 218 w 915"/>
                <a:gd name="T23" fmla="*/ 465 h 1053"/>
                <a:gd name="T24" fmla="*/ 108 w 915"/>
                <a:gd name="T25" fmla="*/ 549 h 1053"/>
                <a:gd name="T26" fmla="*/ 53 w 915"/>
                <a:gd name="T27" fmla="*/ 589 h 1053"/>
                <a:gd name="T28" fmla="*/ 0 w 915"/>
                <a:gd name="T29" fmla="*/ 629 h 1053"/>
                <a:gd name="T30" fmla="*/ 0 w 915"/>
                <a:gd name="T31" fmla="*/ 629 h 1053"/>
                <a:gd name="T32" fmla="*/ 0 w 915"/>
                <a:gd name="T33" fmla="*/ 629 h 1053"/>
                <a:gd name="T34" fmla="*/ 53 w 915"/>
                <a:gd name="T35" fmla="*/ 667 h 1053"/>
                <a:gd name="T36" fmla="*/ 107 w 915"/>
                <a:gd name="T37" fmla="*/ 704 h 1053"/>
                <a:gd name="T38" fmla="*/ 161 w 915"/>
                <a:gd name="T39" fmla="*/ 739 h 1053"/>
                <a:gd name="T40" fmla="*/ 216 w 915"/>
                <a:gd name="T41" fmla="*/ 774 h 1053"/>
                <a:gd name="T42" fmla="*/ 272 w 915"/>
                <a:gd name="T43" fmla="*/ 808 h 1053"/>
                <a:gd name="T44" fmla="*/ 328 w 915"/>
                <a:gd name="T45" fmla="*/ 839 h 1053"/>
                <a:gd name="T46" fmla="*/ 384 w 915"/>
                <a:gd name="T47" fmla="*/ 870 h 1053"/>
                <a:gd name="T48" fmla="*/ 442 w 915"/>
                <a:gd name="T49" fmla="*/ 899 h 1053"/>
                <a:gd name="T50" fmla="*/ 500 w 915"/>
                <a:gd name="T51" fmla="*/ 926 h 1053"/>
                <a:gd name="T52" fmla="*/ 559 w 915"/>
                <a:gd name="T53" fmla="*/ 951 h 1053"/>
                <a:gd name="T54" fmla="*/ 617 w 915"/>
                <a:gd name="T55" fmla="*/ 973 h 1053"/>
                <a:gd name="T56" fmla="*/ 675 w 915"/>
                <a:gd name="T57" fmla="*/ 994 h 1053"/>
                <a:gd name="T58" fmla="*/ 735 w 915"/>
                <a:gd name="T59" fmla="*/ 1012 h 1053"/>
                <a:gd name="T60" fmla="*/ 795 w 915"/>
                <a:gd name="T61" fmla="*/ 1028 h 1053"/>
                <a:gd name="T62" fmla="*/ 854 w 915"/>
                <a:gd name="T63" fmla="*/ 1042 h 1053"/>
                <a:gd name="T64" fmla="*/ 885 w 915"/>
                <a:gd name="T65" fmla="*/ 1048 h 1053"/>
                <a:gd name="T66" fmla="*/ 915 w 915"/>
                <a:gd name="T67" fmla="*/ 1053 h 1053"/>
                <a:gd name="T68" fmla="*/ 915 w 915"/>
                <a:gd name="T69" fmla="*/ 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5" h="1053">
                  <a:moveTo>
                    <a:pt x="915" y="0"/>
                  </a:moveTo>
                  <a:lnTo>
                    <a:pt x="915" y="0"/>
                  </a:lnTo>
                  <a:lnTo>
                    <a:pt x="854" y="29"/>
                  </a:lnTo>
                  <a:lnTo>
                    <a:pt x="795" y="62"/>
                  </a:lnTo>
                  <a:lnTo>
                    <a:pt x="735" y="97"/>
                  </a:lnTo>
                  <a:lnTo>
                    <a:pt x="675" y="133"/>
                  </a:lnTo>
                  <a:lnTo>
                    <a:pt x="617" y="171"/>
                  </a:lnTo>
                  <a:lnTo>
                    <a:pt x="559" y="210"/>
                  </a:lnTo>
                  <a:lnTo>
                    <a:pt x="500" y="251"/>
                  </a:lnTo>
                  <a:lnTo>
                    <a:pt x="443" y="294"/>
                  </a:lnTo>
                  <a:lnTo>
                    <a:pt x="329" y="378"/>
                  </a:lnTo>
                  <a:lnTo>
                    <a:pt x="218" y="465"/>
                  </a:lnTo>
                  <a:lnTo>
                    <a:pt x="108" y="549"/>
                  </a:lnTo>
                  <a:lnTo>
                    <a:pt x="53" y="589"/>
                  </a:lnTo>
                  <a:lnTo>
                    <a:pt x="0" y="629"/>
                  </a:lnTo>
                  <a:lnTo>
                    <a:pt x="0" y="629"/>
                  </a:lnTo>
                  <a:lnTo>
                    <a:pt x="0" y="629"/>
                  </a:lnTo>
                  <a:lnTo>
                    <a:pt x="53" y="667"/>
                  </a:lnTo>
                  <a:lnTo>
                    <a:pt x="107" y="704"/>
                  </a:lnTo>
                  <a:lnTo>
                    <a:pt x="161" y="739"/>
                  </a:lnTo>
                  <a:lnTo>
                    <a:pt x="216" y="774"/>
                  </a:lnTo>
                  <a:lnTo>
                    <a:pt x="272" y="808"/>
                  </a:lnTo>
                  <a:lnTo>
                    <a:pt x="328" y="839"/>
                  </a:lnTo>
                  <a:lnTo>
                    <a:pt x="384" y="870"/>
                  </a:lnTo>
                  <a:lnTo>
                    <a:pt x="442" y="899"/>
                  </a:lnTo>
                  <a:lnTo>
                    <a:pt x="500" y="926"/>
                  </a:lnTo>
                  <a:lnTo>
                    <a:pt x="559" y="951"/>
                  </a:lnTo>
                  <a:lnTo>
                    <a:pt x="617" y="973"/>
                  </a:lnTo>
                  <a:lnTo>
                    <a:pt x="675" y="994"/>
                  </a:lnTo>
                  <a:lnTo>
                    <a:pt x="735" y="1012"/>
                  </a:lnTo>
                  <a:lnTo>
                    <a:pt x="795" y="1028"/>
                  </a:lnTo>
                  <a:lnTo>
                    <a:pt x="854" y="1042"/>
                  </a:lnTo>
                  <a:lnTo>
                    <a:pt x="885" y="1048"/>
                  </a:lnTo>
                  <a:lnTo>
                    <a:pt x="915" y="1053"/>
                  </a:lnTo>
                  <a:lnTo>
                    <a:pt x="915" y="0"/>
                  </a:lnTo>
                  <a:close/>
                </a:path>
              </a:pathLst>
            </a:custGeom>
            <a:solidFill>
              <a:srgbClr val="9BAD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 name="Freeform 7"/>
            <p:cNvSpPr>
              <a:spLocks/>
            </p:cNvSpPr>
            <p:nvPr userDrawn="1"/>
          </p:nvSpPr>
          <p:spPr bwMode="auto">
            <a:xfrm flipH="1">
              <a:off x="625801" y="0"/>
              <a:ext cx="2544500" cy="3640138"/>
            </a:xfrm>
            <a:custGeom>
              <a:avLst/>
              <a:gdLst>
                <a:gd name="T0" fmla="*/ 46 w 1602"/>
                <a:gd name="T1" fmla="*/ 0 h 2293"/>
                <a:gd name="T2" fmla="*/ 27 w 1602"/>
                <a:gd name="T3" fmla="*/ 79 h 2293"/>
                <a:gd name="T4" fmla="*/ 13 w 1602"/>
                <a:gd name="T5" fmla="*/ 158 h 2293"/>
                <a:gd name="T6" fmla="*/ 5 w 1602"/>
                <a:gd name="T7" fmla="*/ 236 h 2293"/>
                <a:gd name="T8" fmla="*/ 0 w 1602"/>
                <a:gd name="T9" fmla="*/ 315 h 2293"/>
                <a:gd name="T10" fmla="*/ 1 w 1602"/>
                <a:gd name="T11" fmla="*/ 394 h 2293"/>
                <a:gd name="T12" fmla="*/ 7 w 1602"/>
                <a:gd name="T13" fmla="*/ 473 h 2293"/>
                <a:gd name="T14" fmla="*/ 16 w 1602"/>
                <a:gd name="T15" fmla="*/ 551 h 2293"/>
                <a:gd name="T16" fmla="*/ 27 w 1602"/>
                <a:gd name="T17" fmla="*/ 630 h 2293"/>
                <a:gd name="T18" fmla="*/ 43 w 1602"/>
                <a:gd name="T19" fmla="*/ 708 h 2293"/>
                <a:gd name="T20" fmla="*/ 80 w 1602"/>
                <a:gd name="T21" fmla="*/ 862 h 2293"/>
                <a:gd name="T22" fmla="*/ 124 w 1602"/>
                <a:gd name="T23" fmla="*/ 1014 h 2293"/>
                <a:gd name="T24" fmla="*/ 195 w 1602"/>
                <a:gd name="T25" fmla="*/ 1236 h 2293"/>
                <a:gd name="T26" fmla="*/ 209 w 1602"/>
                <a:gd name="T27" fmla="*/ 1277 h 2293"/>
                <a:gd name="T28" fmla="*/ 242 w 1602"/>
                <a:gd name="T29" fmla="*/ 1358 h 2293"/>
                <a:gd name="T30" fmla="*/ 279 w 1602"/>
                <a:gd name="T31" fmla="*/ 1437 h 2293"/>
                <a:gd name="T32" fmla="*/ 322 w 1602"/>
                <a:gd name="T33" fmla="*/ 1514 h 2293"/>
                <a:gd name="T34" fmla="*/ 369 w 1602"/>
                <a:gd name="T35" fmla="*/ 1590 h 2293"/>
                <a:gd name="T36" fmla="*/ 420 w 1602"/>
                <a:gd name="T37" fmla="*/ 1662 h 2293"/>
                <a:gd name="T38" fmla="*/ 474 w 1602"/>
                <a:gd name="T39" fmla="*/ 1733 h 2293"/>
                <a:gd name="T40" fmla="*/ 531 w 1602"/>
                <a:gd name="T41" fmla="*/ 1801 h 2293"/>
                <a:gd name="T42" fmla="*/ 590 w 1602"/>
                <a:gd name="T43" fmla="*/ 1869 h 2293"/>
                <a:gd name="T44" fmla="*/ 652 w 1602"/>
                <a:gd name="T45" fmla="*/ 1933 h 2293"/>
                <a:gd name="T46" fmla="*/ 749 w 1602"/>
                <a:gd name="T47" fmla="*/ 2025 h 2293"/>
                <a:gd name="T48" fmla="*/ 881 w 1602"/>
                <a:gd name="T49" fmla="*/ 2139 h 2293"/>
                <a:gd name="T50" fmla="*/ 1014 w 1602"/>
                <a:gd name="T51" fmla="*/ 2244 h 2293"/>
                <a:gd name="T52" fmla="*/ 1081 w 1602"/>
                <a:gd name="T53" fmla="*/ 2293 h 2293"/>
                <a:gd name="T54" fmla="*/ 1107 w 1602"/>
                <a:gd name="T55" fmla="*/ 2266 h 2293"/>
                <a:gd name="T56" fmla="*/ 1157 w 1602"/>
                <a:gd name="T57" fmla="*/ 2210 h 2293"/>
                <a:gd name="T58" fmla="*/ 1206 w 1602"/>
                <a:gd name="T59" fmla="*/ 2151 h 2293"/>
                <a:gd name="T60" fmla="*/ 1249 w 1602"/>
                <a:gd name="T61" fmla="*/ 2090 h 2293"/>
                <a:gd name="T62" fmla="*/ 1290 w 1602"/>
                <a:gd name="T63" fmla="*/ 2027 h 2293"/>
                <a:gd name="T64" fmla="*/ 1328 w 1602"/>
                <a:gd name="T65" fmla="*/ 1963 h 2293"/>
                <a:gd name="T66" fmla="*/ 1363 w 1602"/>
                <a:gd name="T67" fmla="*/ 1898 h 2293"/>
                <a:gd name="T68" fmla="*/ 1396 w 1602"/>
                <a:gd name="T69" fmla="*/ 1830 h 2293"/>
                <a:gd name="T70" fmla="*/ 1425 w 1602"/>
                <a:gd name="T71" fmla="*/ 1762 h 2293"/>
                <a:gd name="T72" fmla="*/ 1452 w 1602"/>
                <a:gd name="T73" fmla="*/ 1692 h 2293"/>
                <a:gd name="T74" fmla="*/ 1475 w 1602"/>
                <a:gd name="T75" fmla="*/ 1620 h 2293"/>
                <a:gd name="T76" fmla="*/ 1508 w 1602"/>
                <a:gd name="T77" fmla="*/ 1511 h 2293"/>
                <a:gd name="T78" fmla="*/ 1542 w 1602"/>
                <a:gd name="T79" fmla="*/ 1362 h 2293"/>
                <a:gd name="T80" fmla="*/ 1568 w 1602"/>
                <a:gd name="T81" fmla="*/ 1211 h 2293"/>
                <a:gd name="T82" fmla="*/ 1586 w 1602"/>
                <a:gd name="T83" fmla="*/ 1058 h 2293"/>
                <a:gd name="T84" fmla="*/ 1597 w 1602"/>
                <a:gd name="T85" fmla="*/ 902 h 2293"/>
                <a:gd name="T86" fmla="*/ 1602 w 1602"/>
                <a:gd name="T87" fmla="*/ 747 h 2293"/>
                <a:gd name="T88" fmla="*/ 1601 w 1602"/>
                <a:gd name="T89" fmla="*/ 593 h 2293"/>
                <a:gd name="T90" fmla="*/ 1597 w 1602"/>
                <a:gd name="T91" fmla="*/ 440 h 2293"/>
                <a:gd name="T92" fmla="*/ 1588 w 1602"/>
                <a:gd name="T93" fmla="*/ 290 h 2293"/>
                <a:gd name="T94" fmla="*/ 1577 w 1602"/>
                <a:gd name="T95" fmla="*/ 143 h 2293"/>
                <a:gd name="T96" fmla="*/ 46 w 1602"/>
                <a:gd name="T97" fmla="*/ 0 h 2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2" h="2293">
                  <a:moveTo>
                    <a:pt x="46" y="0"/>
                  </a:moveTo>
                  <a:lnTo>
                    <a:pt x="46" y="0"/>
                  </a:lnTo>
                  <a:lnTo>
                    <a:pt x="36" y="39"/>
                  </a:lnTo>
                  <a:lnTo>
                    <a:pt x="27" y="79"/>
                  </a:lnTo>
                  <a:lnTo>
                    <a:pt x="19" y="118"/>
                  </a:lnTo>
                  <a:lnTo>
                    <a:pt x="13" y="158"/>
                  </a:lnTo>
                  <a:lnTo>
                    <a:pt x="8" y="197"/>
                  </a:lnTo>
                  <a:lnTo>
                    <a:pt x="5" y="236"/>
                  </a:lnTo>
                  <a:lnTo>
                    <a:pt x="2" y="276"/>
                  </a:lnTo>
                  <a:lnTo>
                    <a:pt x="0" y="315"/>
                  </a:lnTo>
                  <a:lnTo>
                    <a:pt x="0" y="354"/>
                  </a:lnTo>
                  <a:lnTo>
                    <a:pt x="1" y="394"/>
                  </a:lnTo>
                  <a:lnTo>
                    <a:pt x="4" y="433"/>
                  </a:lnTo>
                  <a:lnTo>
                    <a:pt x="7" y="473"/>
                  </a:lnTo>
                  <a:lnTo>
                    <a:pt x="10" y="512"/>
                  </a:lnTo>
                  <a:lnTo>
                    <a:pt x="16" y="551"/>
                  </a:lnTo>
                  <a:lnTo>
                    <a:pt x="22" y="591"/>
                  </a:lnTo>
                  <a:lnTo>
                    <a:pt x="27" y="630"/>
                  </a:lnTo>
                  <a:lnTo>
                    <a:pt x="35" y="668"/>
                  </a:lnTo>
                  <a:lnTo>
                    <a:pt x="43" y="708"/>
                  </a:lnTo>
                  <a:lnTo>
                    <a:pt x="60" y="785"/>
                  </a:lnTo>
                  <a:lnTo>
                    <a:pt x="80" y="862"/>
                  </a:lnTo>
                  <a:lnTo>
                    <a:pt x="101" y="938"/>
                  </a:lnTo>
                  <a:lnTo>
                    <a:pt x="124" y="1014"/>
                  </a:lnTo>
                  <a:lnTo>
                    <a:pt x="147" y="1089"/>
                  </a:lnTo>
                  <a:lnTo>
                    <a:pt x="195" y="1236"/>
                  </a:lnTo>
                  <a:lnTo>
                    <a:pt x="195" y="1236"/>
                  </a:lnTo>
                  <a:lnTo>
                    <a:pt x="209" y="1277"/>
                  </a:lnTo>
                  <a:lnTo>
                    <a:pt x="224" y="1319"/>
                  </a:lnTo>
                  <a:lnTo>
                    <a:pt x="242" y="1358"/>
                  </a:lnTo>
                  <a:lnTo>
                    <a:pt x="260" y="1398"/>
                  </a:lnTo>
                  <a:lnTo>
                    <a:pt x="279" y="1437"/>
                  </a:lnTo>
                  <a:lnTo>
                    <a:pt x="299" y="1476"/>
                  </a:lnTo>
                  <a:lnTo>
                    <a:pt x="322" y="1514"/>
                  </a:lnTo>
                  <a:lnTo>
                    <a:pt x="344" y="1551"/>
                  </a:lnTo>
                  <a:lnTo>
                    <a:pt x="369" y="1590"/>
                  </a:lnTo>
                  <a:lnTo>
                    <a:pt x="394" y="1626"/>
                  </a:lnTo>
                  <a:lnTo>
                    <a:pt x="420" y="1662"/>
                  </a:lnTo>
                  <a:lnTo>
                    <a:pt x="445" y="1698"/>
                  </a:lnTo>
                  <a:lnTo>
                    <a:pt x="474" y="1733"/>
                  </a:lnTo>
                  <a:lnTo>
                    <a:pt x="502" y="1767"/>
                  </a:lnTo>
                  <a:lnTo>
                    <a:pt x="531" y="1801"/>
                  </a:lnTo>
                  <a:lnTo>
                    <a:pt x="560" y="1835"/>
                  </a:lnTo>
                  <a:lnTo>
                    <a:pt x="590" y="1869"/>
                  </a:lnTo>
                  <a:lnTo>
                    <a:pt x="621" y="1900"/>
                  </a:lnTo>
                  <a:lnTo>
                    <a:pt x="652" y="1933"/>
                  </a:lnTo>
                  <a:lnTo>
                    <a:pt x="685" y="1963"/>
                  </a:lnTo>
                  <a:lnTo>
                    <a:pt x="749" y="2025"/>
                  </a:lnTo>
                  <a:lnTo>
                    <a:pt x="814" y="2084"/>
                  </a:lnTo>
                  <a:lnTo>
                    <a:pt x="881" y="2139"/>
                  </a:lnTo>
                  <a:lnTo>
                    <a:pt x="948" y="2193"/>
                  </a:lnTo>
                  <a:lnTo>
                    <a:pt x="1014" y="2244"/>
                  </a:lnTo>
                  <a:lnTo>
                    <a:pt x="1081" y="2293"/>
                  </a:lnTo>
                  <a:lnTo>
                    <a:pt x="1081" y="2293"/>
                  </a:lnTo>
                  <a:lnTo>
                    <a:pt x="1081" y="2293"/>
                  </a:lnTo>
                  <a:lnTo>
                    <a:pt x="1107" y="2266"/>
                  </a:lnTo>
                  <a:lnTo>
                    <a:pt x="1132" y="2238"/>
                  </a:lnTo>
                  <a:lnTo>
                    <a:pt x="1157" y="2210"/>
                  </a:lnTo>
                  <a:lnTo>
                    <a:pt x="1182" y="2180"/>
                  </a:lnTo>
                  <a:lnTo>
                    <a:pt x="1206" y="2151"/>
                  </a:lnTo>
                  <a:lnTo>
                    <a:pt x="1228" y="2121"/>
                  </a:lnTo>
                  <a:lnTo>
                    <a:pt x="1249" y="2090"/>
                  </a:lnTo>
                  <a:lnTo>
                    <a:pt x="1270" y="2059"/>
                  </a:lnTo>
                  <a:lnTo>
                    <a:pt x="1290" y="2027"/>
                  </a:lnTo>
                  <a:lnTo>
                    <a:pt x="1310" y="1996"/>
                  </a:lnTo>
                  <a:lnTo>
                    <a:pt x="1328" y="1963"/>
                  </a:lnTo>
                  <a:lnTo>
                    <a:pt x="1346" y="1931"/>
                  </a:lnTo>
                  <a:lnTo>
                    <a:pt x="1363" y="1898"/>
                  </a:lnTo>
                  <a:lnTo>
                    <a:pt x="1380" y="1864"/>
                  </a:lnTo>
                  <a:lnTo>
                    <a:pt x="1396" y="1830"/>
                  </a:lnTo>
                  <a:lnTo>
                    <a:pt x="1410" y="1797"/>
                  </a:lnTo>
                  <a:lnTo>
                    <a:pt x="1425" y="1762"/>
                  </a:lnTo>
                  <a:lnTo>
                    <a:pt x="1438" y="1727"/>
                  </a:lnTo>
                  <a:lnTo>
                    <a:pt x="1452" y="1692"/>
                  </a:lnTo>
                  <a:lnTo>
                    <a:pt x="1464" y="1656"/>
                  </a:lnTo>
                  <a:lnTo>
                    <a:pt x="1475" y="1620"/>
                  </a:lnTo>
                  <a:lnTo>
                    <a:pt x="1487" y="1584"/>
                  </a:lnTo>
                  <a:lnTo>
                    <a:pt x="1508" y="1511"/>
                  </a:lnTo>
                  <a:lnTo>
                    <a:pt x="1526" y="1438"/>
                  </a:lnTo>
                  <a:lnTo>
                    <a:pt x="1542" y="1362"/>
                  </a:lnTo>
                  <a:lnTo>
                    <a:pt x="1556" y="1287"/>
                  </a:lnTo>
                  <a:lnTo>
                    <a:pt x="1568" y="1211"/>
                  </a:lnTo>
                  <a:lnTo>
                    <a:pt x="1578" y="1134"/>
                  </a:lnTo>
                  <a:lnTo>
                    <a:pt x="1586" y="1058"/>
                  </a:lnTo>
                  <a:lnTo>
                    <a:pt x="1592" y="980"/>
                  </a:lnTo>
                  <a:lnTo>
                    <a:pt x="1597" y="902"/>
                  </a:lnTo>
                  <a:lnTo>
                    <a:pt x="1600" y="825"/>
                  </a:lnTo>
                  <a:lnTo>
                    <a:pt x="1602" y="747"/>
                  </a:lnTo>
                  <a:lnTo>
                    <a:pt x="1602" y="671"/>
                  </a:lnTo>
                  <a:lnTo>
                    <a:pt x="1601" y="593"/>
                  </a:lnTo>
                  <a:lnTo>
                    <a:pt x="1600" y="516"/>
                  </a:lnTo>
                  <a:lnTo>
                    <a:pt x="1597" y="440"/>
                  </a:lnTo>
                  <a:lnTo>
                    <a:pt x="1592" y="365"/>
                  </a:lnTo>
                  <a:lnTo>
                    <a:pt x="1588" y="290"/>
                  </a:lnTo>
                  <a:lnTo>
                    <a:pt x="1582" y="216"/>
                  </a:lnTo>
                  <a:lnTo>
                    <a:pt x="1577" y="143"/>
                  </a:lnTo>
                  <a:lnTo>
                    <a:pt x="1562" y="0"/>
                  </a:lnTo>
                  <a:lnTo>
                    <a:pt x="46" y="0"/>
                  </a:lnTo>
                  <a:close/>
                </a:path>
              </a:pathLst>
            </a:custGeom>
            <a:solidFill>
              <a:srgbClr val="7991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9" name="Freeform 9"/>
            <p:cNvSpPr>
              <a:spLocks/>
            </p:cNvSpPr>
            <p:nvPr userDrawn="1"/>
          </p:nvSpPr>
          <p:spPr bwMode="auto">
            <a:xfrm flipH="1">
              <a:off x="0" y="0"/>
              <a:ext cx="1453319" cy="3640138"/>
            </a:xfrm>
            <a:custGeom>
              <a:avLst/>
              <a:gdLst>
                <a:gd name="T0" fmla="*/ 915 w 915"/>
                <a:gd name="T1" fmla="*/ 1753 h 2293"/>
                <a:gd name="T2" fmla="*/ 915 w 915"/>
                <a:gd name="T3" fmla="*/ 0 h 2293"/>
                <a:gd name="T4" fmla="*/ 240 w 915"/>
                <a:gd name="T5" fmla="*/ 0 h 2293"/>
                <a:gd name="T6" fmla="*/ 240 w 915"/>
                <a:gd name="T7" fmla="*/ 0 h 2293"/>
                <a:gd name="T8" fmla="*/ 247 w 915"/>
                <a:gd name="T9" fmla="*/ 70 h 2293"/>
                <a:gd name="T10" fmla="*/ 254 w 915"/>
                <a:gd name="T11" fmla="*/ 141 h 2293"/>
                <a:gd name="T12" fmla="*/ 259 w 915"/>
                <a:gd name="T13" fmla="*/ 212 h 2293"/>
                <a:gd name="T14" fmla="*/ 263 w 915"/>
                <a:gd name="T15" fmla="*/ 282 h 2293"/>
                <a:gd name="T16" fmla="*/ 266 w 915"/>
                <a:gd name="T17" fmla="*/ 353 h 2293"/>
                <a:gd name="T18" fmla="*/ 270 w 915"/>
                <a:gd name="T19" fmla="*/ 424 h 2293"/>
                <a:gd name="T20" fmla="*/ 271 w 915"/>
                <a:gd name="T21" fmla="*/ 496 h 2293"/>
                <a:gd name="T22" fmla="*/ 272 w 915"/>
                <a:gd name="T23" fmla="*/ 567 h 2293"/>
                <a:gd name="T24" fmla="*/ 271 w 915"/>
                <a:gd name="T25" fmla="*/ 639 h 2293"/>
                <a:gd name="T26" fmla="*/ 270 w 915"/>
                <a:gd name="T27" fmla="*/ 710 h 2293"/>
                <a:gd name="T28" fmla="*/ 268 w 915"/>
                <a:gd name="T29" fmla="*/ 782 h 2293"/>
                <a:gd name="T30" fmla="*/ 265 w 915"/>
                <a:gd name="T31" fmla="*/ 854 h 2293"/>
                <a:gd name="T32" fmla="*/ 261 w 915"/>
                <a:gd name="T33" fmla="*/ 925 h 2293"/>
                <a:gd name="T34" fmla="*/ 256 w 915"/>
                <a:gd name="T35" fmla="*/ 997 h 2293"/>
                <a:gd name="T36" fmla="*/ 250 w 915"/>
                <a:gd name="T37" fmla="*/ 1069 h 2293"/>
                <a:gd name="T38" fmla="*/ 243 w 915"/>
                <a:gd name="T39" fmla="*/ 1141 h 2293"/>
                <a:gd name="T40" fmla="*/ 235 w 915"/>
                <a:gd name="T41" fmla="*/ 1213 h 2293"/>
                <a:gd name="T42" fmla="*/ 227 w 915"/>
                <a:gd name="T43" fmla="*/ 1285 h 2293"/>
                <a:gd name="T44" fmla="*/ 217 w 915"/>
                <a:gd name="T45" fmla="*/ 1357 h 2293"/>
                <a:gd name="T46" fmla="*/ 205 w 915"/>
                <a:gd name="T47" fmla="*/ 1429 h 2293"/>
                <a:gd name="T48" fmla="*/ 194 w 915"/>
                <a:gd name="T49" fmla="*/ 1502 h 2293"/>
                <a:gd name="T50" fmla="*/ 182 w 915"/>
                <a:gd name="T51" fmla="*/ 1574 h 2293"/>
                <a:gd name="T52" fmla="*/ 167 w 915"/>
                <a:gd name="T53" fmla="*/ 1646 h 2293"/>
                <a:gd name="T54" fmla="*/ 153 w 915"/>
                <a:gd name="T55" fmla="*/ 1718 h 2293"/>
                <a:gd name="T56" fmla="*/ 137 w 915"/>
                <a:gd name="T57" fmla="*/ 1790 h 2293"/>
                <a:gd name="T58" fmla="*/ 121 w 915"/>
                <a:gd name="T59" fmla="*/ 1862 h 2293"/>
                <a:gd name="T60" fmla="*/ 103 w 915"/>
                <a:gd name="T61" fmla="*/ 1934 h 2293"/>
                <a:gd name="T62" fmla="*/ 84 w 915"/>
                <a:gd name="T63" fmla="*/ 2006 h 2293"/>
                <a:gd name="T64" fmla="*/ 65 w 915"/>
                <a:gd name="T65" fmla="*/ 2078 h 2293"/>
                <a:gd name="T66" fmla="*/ 44 w 915"/>
                <a:gd name="T67" fmla="*/ 2150 h 2293"/>
                <a:gd name="T68" fmla="*/ 22 w 915"/>
                <a:gd name="T69" fmla="*/ 2221 h 2293"/>
                <a:gd name="T70" fmla="*/ 0 w 915"/>
                <a:gd name="T71" fmla="*/ 2293 h 2293"/>
                <a:gd name="T72" fmla="*/ 0 w 915"/>
                <a:gd name="T73" fmla="*/ 2293 h 2293"/>
                <a:gd name="T74" fmla="*/ 53 w 915"/>
                <a:gd name="T75" fmla="*/ 2255 h 2293"/>
                <a:gd name="T76" fmla="*/ 108 w 915"/>
                <a:gd name="T77" fmla="*/ 2216 h 2293"/>
                <a:gd name="T78" fmla="*/ 162 w 915"/>
                <a:gd name="T79" fmla="*/ 2179 h 2293"/>
                <a:gd name="T80" fmla="*/ 218 w 915"/>
                <a:gd name="T81" fmla="*/ 2142 h 2293"/>
                <a:gd name="T82" fmla="*/ 273 w 915"/>
                <a:gd name="T83" fmla="*/ 2106 h 2293"/>
                <a:gd name="T84" fmla="*/ 329 w 915"/>
                <a:gd name="T85" fmla="*/ 2071 h 2293"/>
                <a:gd name="T86" fmla="*/ 385 w 915"/>
                <a:gd name="T87" fmla="*/ 2036 h 2293"/>
                <a:gd name="T88" fmla="*/ 443 w 915"/>
                <a:gd name="T89" fmla="*/ 2001 h 2293"/>
                <a:gd name="T90" fmla="*/ 500 w 915"/>
                <a:gd name="T91" fmla="*/ 1969 h 2293"/>
                <a:gd name="T92" fmla="*/ 559 w 915"/>
                <a:gd name="T93" fmla="*/ 1935 h 2293"/>
                <a:gd name="T94" fmla="*/ 617 w 915"/>
                <a:gd name="T95" fmla="*/ 1904 h 2293"/>
                <a:gd name="T96" fmla="*/ 675 w 915"/>
                <a:gd name="T97" fmla="*/ 1872 h 2293"/>
                <a:gd name="T98" fmla="*/ 735 w 915"/>
                <a:gd name="T99" fmla="*/ 1842 h 2293"/>
                <a:gd name="T100" fmla="*/ 795 w 915"/>
                <a:gd name="T101" fmla="*/ 1811 h 2293"/>
                <a:gd name="T102" fmla="*/ 854 w 915"/>
                <a:gd name="T103" fmla="*/ 1782 h 2293"/>
                <a:gd name="T104" fmla="*/ 915 w 915"/>
                <a:gd name="T105" fmla="*/ 1753 h 2293"/>
                <a:gd name="T106" fmla="*/ 915 w 915"/>
                <a:gd name="T107" fmla="*/ 1753 h 2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5" h="2293">
                  <a:moveTo>
                    <a:pt x="915" y="1753"/>
                  </a:moveTo>
                  <a:lnTo>
                    <a:pt x="915" y="0"/>
                  </a:lnTo>
                  <a:lnTo>
                    <a:pt x="240" y="0"/>
                  </a:lnTo>
                  <a:lnTo>
                    <a:pt x="240" y="0"/>
                  </a:lnTo>
                  <a:lnTo>
                    <a:pt x="247" y="70"/>
                  </a:lnTo>
                  <a:lnTo>
                    <a:pt x="254" y="141"/>
                  </a:lnTo>
                  <a:lnTo>
                    <a:pt x="259" y="212"/>
                  </a:lnTo>
                  <a:lnTo>
                    <a:pt x="263" y="282"/>
                  </a:lnTo>
                  <a:lnTo>
                    <a:pt x="266" y="353"/>
                  </a:lnTo>
                  <a:lnTo>
                    <a:pt x="270" y="424"/>
                  </a:lnTo>
                  <a:lnTo>
                    <a:pt x="271" y="496"/>
                  </a:lnTo>
                  <a:lnTo>
                    <a:pt x="272" y="567"/>
                  </a:lnTo>
                  <a:lnTo>
                    <a:pt x="271" y="639"/>
                  </a:lnTo>
                  <a:lnTo>
                    <a:pt x="270" y="710"/>
                  </a:lnTo>
                  <a:lnTo>
                    <a:pt x="268" y="782"/>
                  </a:lnTo>
                  <a:lnTo>
                    <a:pt x="265" y="854"/>
                  </a:lnTo>
                  <a:lnTo>
                    <a:pt x="261" y="925"/>
                  </a:lnTo>
                  <a:lnTo>
                    <a:pt x="256" y="997"/>
                  </a:lnTo>
                  <a:lnTo>
                    <a:pt x="250" y="1069"/>
                  </a:lnTo>
                  <a:lnTo>
                    <a:pt x="243" y="1141"/>
                  </a:lnTo>
                  <a:lnTo>
                    <a:pt x="235" y="1213"/>
                  </a:lnTo>
                  <a:lnTo>
                    <a:pt x="227" y="1285"/>
                  </a:lnTo>
                  <a:lnTo>
                    <a:pt x="217" y="1357"/>
                  </a:lnTo>
                  <a:lnTo>
                    <a:pt x="205" y="1429"/>
                  </a:lnTo>
                  <a:lnTo>
                    <a:pt x="194" y="1502"/>
                  </a:lnTo>
                  <a:lnTo>
                    <a:pt x="182" y="1574"/>
                  </a:lnTo>
                  <a:lnTo>
                    <a:pt x="167" y="1646"/>
                  </a:lnTo>
                  <a:lnTo>
                    <a:pt x="153" y="1718"/>
                  </a:lnTo>
                  <a:lnTo>
                    <a:pt x="137" y="1790"/>
                  </a:lnTo>
                  <a:lnTo>
                    <a:pt x="121" y="1862"/>
                  </a:lnTo>
                  <a:lnTo>
                    <a:pt x="103" y="1934"/>
                  </a:lnTo>
                  <a:lnTo>
                    <a:pt x="84" y="2006"/>
                  </a:lnTo>
                  <a:lnTo>
                    <a:pt x="65" y="2078"/>
                  </a:lnTo>
                  <a:lnTo>
                    <a:pt x="44" y="2150"/>
                  </a:lnTo>
                  <a:lnTo>
                    <a:pt x="22" y="2221"/>
                  </a:lnTo>
                  <a:lnTo>
                    <a:pt x="0" y="2293"/>
                  </a:lnTo>
                  <a:lnTo>
                    <a:pt x="0" y="2293"/>
                  </a:lnTo>
                  <a:lnTo>
                    <a:pt x="53" y="2255"/>
                  </a:lnTo>
                  <a:lnTo>
                    <a:pt x="108" y="2216"/>
                  </a:lnTo>
                  <a:lnTo>
                    <a:pt x="162" y="2179"/>
                  </a:lnTo>
                  <a:lnTo>
                    <a:pt x="218" y="2142"/>
                  </a:lnTo>
                  <a:lnTo>
                    <a:pt x="273" y="2106"/>
                  </a:lnTo>
                  <a:lnTo>
                    <a:pt x="329" y="2071"/>
                  </a:lnTo>
                  <a:lnTo>
                    <a:pt x="385" y="2036"/>
                  </a:lnTo>
                  <a:lnTo>
                    <a:pt x="443" y="2001"/>
                  </a:lnTo>
                  <a:lnTo>
                    <a:pt x="500" y="1969"/>
                  </a:lnTo>
                  <a:lnTo>
                    <a:pt x="559" y="1935"/>
                  </a:lnTo>
                  <a:lnTo>
                    <a:pt x="617" y="1904"/>
                  </a:lnTo>
                  <a:lnTo>
                    <a:pt x="675" y="1872"/>
                  </a:lnTo>
                  <a:lnTo>
                    <a:pt x="735" y="1842"/>
                  </a:lnTo>
                  <a:lnTo>
                    <a:pt x="795" y="1811"/>
                  </a:lnTo>
                  <a:lnTo>
                    <a:pt x="854" y="1782"/>
                  </a:lnTo>
                  <a:lnTo>
                    <a:pt x="915" y="1753"/>
                  </a:lnTo>
                  <a:lnTo>
                    <a:pt x="915" y="1753"/>
                  </a:lnTo>
                  <a:close/>
                </a:path>
              </a:pathLst>
            </a:custGeom>
            <a:solidFill>
              <a:srgbClr val="BCC8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10" name="Freeform 10"/>
            <p:cNvSpPr>
              <a:spLocks/>
            </p:cNvSpPr>
            <p:nvPr userDrawn="1"/>
          </p:nvSpPr>
          <p:spPr bwMode="auto">
            <a:xfrm flipH="1">
              <a:off x="0" y="3640138"/>
              <a:ext cx="1453319" cy="857250"/>
            </a:xfrm>
            <a:custGeom>
              <a:avLst/>
              <a:gdLst>
                <a:gd name="T0" fmla="*/ 915 w 915"/>
                <a:gd name="T1" fmla="*/ 378 h 540"/>
                <a:gd name="T2" fmla="*/ 915 w 915"/>
                <a:gd name="T3" fmla="*/ 378 h 540"/>
                <a:gd name="T4" fmla="*/ 854 w 915"/>
                <a:gd name="T5" fmla="*/ 368 h 540"/>
                <a:gd name="T6" fmla="*/ 795 w 915"/>
                <a:gd name="T7" fmla="*/ 356 h 540"/>
                <a:gd name="T8" fmla="*/ 735 w 915"/>
                <a:gd name="T9" fmla="*/ 342 h 540"/>
                <a:gd name="T10" fmla="*/ 675 w 915"/>
                <a:gd name="T11" fmla="*/ 327 h 540"/>
                <a:gd name="T12" fmla="*/ 617 w 915"/>
                <a:gd name="T13" fmla="*/ 309 h 540"/>
                <a:gd name="T14" fmla="*/ 559 w 915"/>
                <a:gd name="T15" fmla="*/ 290 h 540"/>
                <a:gd name="T16" fmla="*/ 500 w 915"/>
                <a:gd name="T17" fmla="*/ 270 h 540"/>
                <a:gd name="T18" fmla="*/ 442 w 915"/>
                <a:gd name="T19" fmla="*/ 247 h 540"/>
                <a:gd name="T20" fmla="*/ 384 w 915"/>
                <a:gd name="T21" fmla="*/ 223 h 540"/>
                <a:gd name="T22" fmla="*/ 328 w 915"/>
                <a:gd name="T23" fmla="*/ 196 h 540"/>
                <a:gd name="T24" fmla="*/ 272 w 915"/>
                <a:gd name="T25" fmla="*/ 167 h 540"/>
                <a:gd name="T26" fmla="*/ 216 w 915"/>
                <a:gd name="T27" fmla="*/ 138 h 540"/>
                <a:gd name="T28" fmla="*/ 161 w 915"/>
                <a:gd name="T29" fmla="*/ 107 h 540"/>
                <a:gd name="T30" fmla="*/ 107 w 915"/>
                <a:gd name="T31" fmla="*/ 73 h 540"/>
                <a:gd name="T32" fmla="*/ 53 w 915"/>
                <a:gd name="T33" fmla="*/ 37 h 540"/>
                <a:gd name="T34" fmla="*/ 0 w 915"/>
                <a:gd name="T35" fmla="*/ 0 h 540"/>
                <a:gd name="T36" fmla="*/ 0 w 915"/>
                <a:gd name="T37" fmla="*/ 0 h 540"/>
                <a:gd name="T38" fmla="*/ 55 w 915"/>
                <a:gd name="T39" fmla="*/ 39 h 540"/>
                <a:gd name="T40" fmla="*/ 110 w 915"/>
                <a:gd name="T41" fmla="*/ 79 h 540"/>
                <a:gd name="T42" fmla="*/ 165 w 915"/>
                <a:gd name="T43" fmla="*/ 116 h 540"/>
                <a:gd name="T44" fmla="*/ 221 w 915"/>
                <a:gd name="T45" fmla="*/ 153 h 540"/>
                <a:gd name="T46" fmla="*/ 277 w 915"/>
                <a:gd name="T47" fmla="*/ 190 h 540"/>
                <a:gd name="T48" fmla="*/ 334 w 915"/>
                <a:gd name="T49" fmla="*/ 225 h 540"/>
                <a:gd name="T50" fmla="*/ 391 w 915"/>
                <a:gd name="T51" fmla="*/ 260 h 540"/>
                <a:gd name="T52" fmla="*/ 448 w 915"/>
                <a:gd name="T53" fmla="*/ 295 h 540"/>
                <a:gd name="T54" fmla="*/ 506 w 915"/>
                <a:gd name="T55" fmla="*/ 327 h 540"/>
                <a:gd name="T56" fmla="*/ 563 w 915"/>
                <a:gd name="T57" fmla="*/ 360 h 540"/>
                <a:gd name="T58" fmla="*/ 622 w 915"/>
                <a:gd name="T59" fmla="*/ 392 h 540"/>
                <a:gd name="T60" fmla="*/ 679 w 915"/>
                <a:gd name="T61" fmla="*/ 423 h 540"/>
                <a:gd name="T62" fmla="*/ 737 w 915"/>
                <a:gd name="T63" fmla="*/ 453 h 540"/>
                <a:gd name="T64" fmla="*/ 797 w 915"/>
                <a:gd name="T65" fmla="*/ 482 h 540"/>
                <a:gd name="T66" fmla="*/ 855 w 915"/>
                <a:gd name="T67" fmla="*/ 512 h 540"/>
                <a:gd name="T68" fmla="*/ 915 w 915"/>
                <a:gd name="T69" fmla="*/ 540 h 540"/>
                <a:gd name="T70" fmla="*/ 915 w 915"/>
                <a:gd name="T71" fmla="*/ 378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5" h="540">
                  <a:moveTo>
                    <a:pt x="915" y="378"/>
                  </a:moveTo>
                  <a:lnTo>
                    <a:pt x="915" y="378"/>
                  </a:lnTo>
                  <a:lnTo>
                    <a:pt x="854" y="368"/>
                  </a:lnTo>
                  <a:lnTo>
                    <a:pt x="795" y="356"/>
                  </a:lnTo>
                  <a:lnTo>
                    <a:pt x="735" y="342"/>
                  </a:lnTo>
                  <a:lnTo>
                    <a:pt x="675" y="327"/>
                  </a:lnTo>
                  <a:lnTo>
                    <a:pt x="617" y="309"/>
                  </a:lnTo>
                  <a:lnTo>
                    <a:pt x="559" y="290"/>
                  </a:lnTo>
                  <a:lnTo>
                    <a:pt x="500" y="270"/>
                  </a:lnTo>
                  <a:lnTo>
                    <a:pt x="442" y="247"/>
                  </a:lnTo>
                  <a:lnTo>
                    <a:pt x="384" y="223"/>
                  </a:lnTo>
                  <a:lnTo>
                    <a:pt x="328" y="196"/>
                  </a:lnTo>
                  <a:lnTo>
                    <a:pt x="272" y="167"/>
                  </a:lnTo>
                  <a:lnTo>
                    <a:pt x="216" y="138"/>
                  </a:lnTo>
                  <a:lnTo>
                    <a:pt x="161" y="107"/>
                  </a:lnTo>
                  <a:lnTo>
                    <a:pt x="107" y="73"/>
                  </a:lnTo>
                  <a:lnTo>
                    <a:pt x="53" y="37"/>
                  </a:lnTo>
                  <a:lnTo>
                    <a:pt x="0" y="0"/>
                  </a:lnTo>
                  <a:lnTo>
                    <a:pt x="0" y="0"/>
                  </a:lnTo>
                  <a:lnTo>
                    <a:pt x="55" y="39"/>
                  </a:lnTo>
                  <a:lnTo>
                    <a:pt x="110" y="79"/>
                  </a:lnTo>
                  <a:lnTo>
                    <a:pt x="165" y="116"/>
                  </a:lnTo>
                  <a:lnTo>
                    <a:pt x="221" y="153"/>
                  </a:lnTo>
                  <a:lnTo>
                    <a:pt x="277" y="190"/>
                  </a:lnTo>
                  <a:lnTo>
                    <a:pt x="334" y="225"/>
                  </a:lnTo>
                  <a:lnTo>
                    <a:pt x="391" y="260"/>
                  </a:lnTo>
                  <a:lnTo>
                    <a:pt x="448" y="295"/>
                  </a:lnTo>
                  <a:lnTo>
                    <a:pt x="506" y="327"/>
                  </a:lnTo>
                  <a:lnTo>
                    <a:pt x="563" y="360"/>
                  </a:lnTo>
                  <a:lnTo>
                    <a:pt x="622" y="392"/>
                  </a:lnTo>
                  <a:lnTo>
                    <a:pt x="679" y="423"/>
                  </a:lnTo>
                  <a:lnTo>
                    <a:pt x="737" y="453"/>
                  </a:lnTo>
                  <a:lnTo>
                    <a:pt x="797" y="482"/>
                  </a:lnTo>
                  <a:lnTo>
                    <a:pt x="855" y="512"/>
                  </a:lnTo>
                  <a:lnTo>
                    <a:pt x="915" y="540"/>
                  </a:lnTo>
                  <a:lnTo>
                    <a:pt x="915" y="378"/>
                  </a:lnTo>
                  <a:close/>
                </a:path>
              </a:pathLst>
            </a:custGeom>
            <a:solidFill>
              <a:srgbClr val="5876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11" name="Freeform 11"/>
            <p:cNvSpPr>
              <a:spLocks/>
            </p:cNvSpPr>
            <p:nvPr userDrawn="1"/>
          </p:nvSpPr>
          <p:spPr bwMode="auto">
            <a:xfrm flipH="1">
              <a:off x="1453319" y="0"/>
              <a:ext cx="2912992" cy="3640138"/>
            </a:xfrm>
            <a:custGeom>
              <a:avLst/>
              <a:gdLst>
                <a:gd name="T0" fmla="*/ 1065 w 1834"/>
                <a:gd name="T1" fmla="*/ 1236 h 2293"/>
                <a:gd name="T2" fmla="*/ 1042 w 1834"/>
                <a:gd name="T3" fmla="*/ 1163 h 2293"/>
                <a:gd name="T4" fmla="*/ 1023 w 1834"/>
                <a:gd name="T5" fmla="*/ 1089 h 2293"/>
                <a:gd name="T6" fmla="*/ 1005 w 1834"/>
                <a:gd name="T7" fmla="*/ 1014 h 2293"/>
                <a:gd name="T8" fmla="*/ 992 w 1834"/>
                <a:gd name="T9" fmla="*/ 938 h 2293"/>
                <a:gd name="T10" fmla="*/ 979 w 1834"/>
                <a:gd name="T11" fmla="*/ 862 h 2293"/>
                <a:gd name="T12" fmla="*/ 970 w 1834"/>
                <a:gd name="T13" fmla="*/ 785 h 2293"/>
                <a:gd name="T14" fmla="*/ 965 w 1834"/>
                <a:gd name="T15" fmla="*/ 708 h 2293"/>
                <a:gd name="T16" fmla="*/ 961 w 1834"/>
                <a:gd name="T17" fmla="*/ 630 h 2293"/>
                <a:gd name="T18" fmla="*/ 961 w 1834"/>
                <a:gd name="T19" fmla="*/ 551 h 2293"/>
                <a:gd name="T20" fmla="*/ 963 w 1834"/>
                <a:gd name="T21" fmla="*/ 473 h 2293"/>
                <a:gd name="T22" fmla="*/ 969 w 1834"/>
                <a:gd name="T23" fmla="*/ 394 h 2293"/>
                <a:gd name="T24" fmla="*/ 978 w 1834"/>
                <a:gd name="T25" fmla="*/ 315 h 2293"/>
                <a:gd name="T26" fmla="*/ 990 w 1834"/>
                <a:gd name="T27" fmla="*/ 236 h 2293"/>
                <a:gd name="T28" fmla="*/ 1005 w 1834"/>
                <a:gd name="T29" fmla="*/ 158 h 2293"/>
                <a:gd name="T30" fmla="*/ 1023 w 1834"/>
                <a:gd name="T31" fmla="*/ 79 h 2293"/>
                <a:gd name="T32" fmla="*/ 1043 w 1834"/>
                <a:gd name="T33" fmla="*/ 0 h 2293"/>
                <a:gd name="T34" fmla="*/ 0 w 1834"/>
                <a:gd name="T35" fmla="*/ 0 h 2293"/>
                <a:gd name="T36" fmla="*/ 79 w 1834"/>
                <a:gd name="T37" fmla="*/ 174 h 2293"/>
                <a:gd name="T38" fmla="*/ 162 w 1834"/>
                <a:gd name="T39" fmla="*/ 345 h 2293"/>
                <a:gd name="T40" fmla="*/ 252 w 1834"/>
                <a:gd name="T41" fmla="*/ 512 h 2293"/>
                <a:gd name="T42" fmla="*/ 346 w 1834"/>
                <a:gd name="T43" fmla="*/ 675 h 2293"/>
                <a:gd name="T44" fmla="*/ 445 w 1834"/>
                <a:gd name="T45" fmla="*/ 835 h 2293"/>
                <a:gd name="T46" fmla="*/ 550 w 1834"/>
                <a:gd name="T47" fmla="*/ 989 h 2293"/>
                <a:gd name="T48" fmla="*/ 659 w 1834"/>
                <a:gd name="T49" fmla="*/ 1140 h 2293"/>
                <a:gd name="T50" fmla="*/ 773 w 1834"/>
                <a:gd name="T51" fmla="*/ 1286 h 2293"/>
                <a:gd name="T52" fmla="*/ 891 w 1834"/>
                <a:gd name="T53" fmla="*/ 1428 h 2293"/>
                <a:gd name="T54" fmla="*/ 1014 w 1834"/>
                <a:gd name="T55" fmla="*/ 1565 h 2293"/>
                <a:gd name="T56" fmla="*/ 1141 w 1834"/>
                <a:gd name="T57" fmla="*/ 1699 h 2293"/>
                <a:gd name="T58" fmla="*/ 1272 w 1834"/>
                <a:gd name="T59" fmla="*/ 1827 h 2293"/>
                <a:gd name="T60" fmla="*/ 1406 w 1834"/>
                <a:gd name="T61" fmla="*/ 1951 h 2293"/>
                <a:gd name="T62" fmla="*/ 1545 w 1834"/>
                <a:gd name="T63" fmla="*/ 2069 h 2293"/>
                <a:gd name="T64" fmla="*/ 1688 w 1834"/>
                <a:gd name="T65" fmla="*/ 2184 h 2293"/>
                <a:gd name="T66" fmla="*/ 1834 w 1834"/>
                <a:gd name="T67" fmla="*/ 2293 h 2293"/>
                <a:gd name="T68" fmla="*/ 1801 w 1834"/>
                <a:gd name="T69" fmla="*/ 2269 h 2293"/>
                <a:gd name="T70" fmla="*/ 1737 w 1834"/>
                <a:gd name="T71" fmla="*/ 2219 h 2293"/>
                <a:gd name="T72" fmla="*/ 1675 w 1834"/>
                <a:gd name="T73" fmla="*/ 2167 h 2293"/>
                <a:gd name="T74" fmla="*/ 1616 w 1834"/>
                <a:gd name="T75" fmla="*/ 2112 h 2293"/>
                <a:gd name="T76" fmla="*/ 1557 w 1834"/>
                <a:gd name="T77" fmla="*/ 2054 h 2293"/>
                <a:gd name="T78" fmla="*/ 1502 w 1834"/>
                <a:gd name="T79" fmla="*/ 1995 h 2293"/>
                <a:gd name="T80" fmla="*/ 1448 w 1834"/>
                <a:gd name="T81" fmla="*/ 1933 h 2293"/>
                <a:gd name="T82" fmla="*/ 1396 w 1834"/>
                <a:gd name="T83" fmla="*/ 1869 h 2293"/>
                <a:gd name="T84" fmla="*/ 1348 w 1834"/>
                <a:gd name="T85" fmla="*/ 1801 h 2293"/>
                <a:gd name="T86" fmla="*/ 1301 w 1834"/>
                <a:gd name="T87" fmla="*/ 1733 h 2293"/>
                <a:gd name="T88" fmla="*/ 1257 w 1834"/>
                <a:gd name="T89" fmla="*/ 1662 h 2293"/>
                <a:gd name="T90" fmla="*/ 1216 w 1834"/>
                <a:gd name="T91" fmla="*/ 1590 h 2293"/>
                <a:gd name="T92" fmla="*/ 1177 w 1834"/>
                <a:gd name="T93" fmla="*/ 1514 h 2293"/>
                <a:gd name="T94" fmla="*/ 1142 w 1834"/>
                <a:gd name="T95" fmla="*/ 1437 h 2293"/>
                <a:gd name="T96" fmla="*/ 1108 w 1834"/>
                <a:gd name="T97" fmla="*/ 1358 h 2293"/>
                <a:gd name="T98" fmla="*/ 1079 w 1834"/>
                <a:gd name="T99" fmla="*/ 1277 h 2293"/>
                <a:gd name="T100" fmla="*/ 1065 w 1834"/>
                <a:gd name="T101" fmla="*/ 1236 h 2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4" h="2293">
                  <a:moveTo>
                    <a:pt x="1065" y="1236"/>
                  </a:moveTo>
                  <a:lnTo>
                    <a:pt x="1065" y="1236"/>
                  </a:lnTo>
                  <a:lnTo>
                    <a:pt x="1053" y="1199"/>
                  </a:lnTo>
                  <a:lnTo>
                    <a:pt x="1042" y="1163"/>
                  </a:lnTo>
                  <a:lnTo>
                    <a:pt x="1032" y="1126"/>
                  </a:lnTo>
                  <a:lnTo>
                    <a:pt x="1023" y="1089"/>
                  </a:lnTo>
                  <a:lnTo>
                    <a:pt x="1014" y="1051"/>
                  </a:lnTo>
                  <a:lnTo>
                    <a:pt x="1005" y="1014"/>
                  </a:lnTo>
                  <a:lnTo>
                    <a:pt x="998" y="975"/>
                  </a:lnTo>
                  <a:lnTo>
                    <a:pt x="992" y="938"/>
                  </a:lnTo>
                  <a:lnTo>
                    <a:pt x="985" y="900"/>
                  </a:lnTo>
                  <a:lnTo>
                    <a:pt x="979" y="862"/>
                  </a:lnTo>
                  <a:lnTo>
                    <a:pt x="975" y="824"/>
                  </a:lnTo>
                  <a:lnTo>
                    <a:pt x="970" y="785"/>
                  </a:lnTo>
                  <a:lnTo>
                    <a:pt x="967" y="746"/>
                  </a:lnTo>
                  <a:lnTo>
                    <a:pt x="965" y="708"/>
                  </a:lnTo>
                  <a:lnTo>
                    <a:pt x="962" y="668"/>
                  </a:lnTo>
                  <a:lnTo>
                    <a:pt x="961" y="630"/>
                  </a:lnTo>
                  <a:lnTo>
                    <a:pt x="961" y="591"/>
                  </a:lnTo>
                  <a:lnTo>
                    <a:pt x="961" y="551"/>
                  </a:lnTo>
                  <a:lnTo>
                    <a:pt x="962" y="512"/>
                  </a:lnTo>
                  <a:lnTo>
                    <a:pt x="963" y="473"/>
                  </a:lnTo>
                  <a:lnTo>
                    <a:pt x="967" y="433"/>
                  </a:lnTo>
                  <a:lnTo>
                    <a:pt x="969" y="394"/>
                  </a:lnTo>
                  <a:lnTo>
                    <a:pt x="974" y="354"/>
                  </a:lnTo>
                  <a:lnTo>
                    <a:pt x="978" y="315"/>
                  </a:lnTo>
                  <a:lnTo>
                    <a:pt x="984" y="276"/>
                  </a:lnTo>
                  <a:lnTo>
                    <a:pt x="990" y="236"/>
                  </a:lnTo>
                  <a:lnTo>
                    <a:pt x="997" y="197"/>
                  </a:lnTo>
                  <a:lnTo>
                    <a:pt x="1005" y="158"/>
                  </a:lnTo>
                  <a:lnTo>
                    <a:pt x="1013" y="118"/>
                  </a:lnTo>
                  <a:lnTo>
                    <a:pt x="1023" y="79"/>
                  </a:lnTo>
                  <a:lnTo>
                    <a:pt x="1033" y="39"/>
                  </a:lnTo>
                  <a:lnTo>
                    <a:pt x="1043" y="0"/>
                  </a:lnTo>
                  <a:lnTo>
                    <a:pt x="0" y="0"/>
                  </a:lnTo>
                  <a:lnTo>
                    <a:pt x="0" y="0"/>
                  </a:lnTo>
                  <a:lnTo>
                    <a:pt x="38" y="88"/>
                  </a:lnTo>
                  <a:lnTo>
                    <a:pt x="79" y="174"/>
                  </a:lnTo>
                  <a:lnTo>
                    <a:pt x="120" y="260"/>
                  </a:lnTo>
                  <a:lnTo>
                    <a:pt x="162" y="345"/>
                  </a:lnTo>
                  <a:lnTo>
                    <a:pt x="207" y="430"/>
                  </a:lnTo>
                  <a:lnTo>
                    <a:pt x="252" y="512"/>
                  </a:lnTo>
                  <a:lnTo>
                    <a:pt x="298" y="594"/>
                  </a:lnTo>
                  <a:lnTo>
                    <a:pt x="346" y="675"/>
                  </a:lnTo>
                  <a:lnTo>
                    <a:pt x="396" y="755"/>
                  </a:lnTo>
                  <a:lnTo>
                    <a:pt x="445" y="835"/>
                  </a:lnTo>
                  <a:lnTo>
                    <a:pt x="497" y="912"/>
                  </a:lnTo>
                  <a:lnTo>
                    <a:pt x="550" y="989"/>
                  </a:lnTo>
                  <a:lnTo>
                    <a:pt x="604" y="1065"/>
                  </a:lnTo>
                  <a:lnTo>
                    <a:pt x="659" y="1140"/>
                  </a:lnTo>
                  <a:lnTo>
                    <a:pt x="716" y="1214"/>
                  </a:lnTo>
                  <a:lnTo>
                    <a:pt x="773" y="1286"/>
                  </a:lnTo>
                  <a:lnTo>
                    <a:pt x="832" y="1358"/>
                  </a:lnTo>
                  <a:lnTo>
                    <a:pt x="891" y="1428"/>
                  </a:lnTo>
                  <a:lnTo>
                    <a:pt x="952" y="1497"/>
                  </a:lnTo>
                  <a:lnTo>
                    <a:pt x="1014" y="1565"/>
                  </a:lnTo>
                  <a:lnTo>
                    <a:pt x="1077" y="1632"/>
                  </a:lnTo>
                  <a:lnTo>
                    <a:pt x="1141" y="1699"/>
                  </a:lnTo>
                  <a:lnTo>
                    <a:pt x="1206" y="1763"/>
                  </a:lnTo>
                  <a:lnTo>
                    <a:pt x="1272" y="1827"/>
                  </a:lnTo>
                  <a:lnTo>
                    <a:pt x="1339" y="1889"/>
                  </a:lnTo>
                  <a:lnTo>
                    <a:pt x="1406" y="1951"/>
                  </a:lnTo>
                  <a:lnTo>
                    <a:pt x="1475" y="2010"/>
                  </a:lnTo>
                  <a:lnTo>
                    <a:pt x="1545" y="2069"/>
                  </a:lnTo>
                  <a:lnTo>
                    <a:pt x="1616" y="2127"/>
                  </a:lnTo>
                  <a:lnTo>
                    <a:pt x="1688" y="2184"/>
                  </a:lnTo>
                  <a:lnTo>
                    <a:pt x="1760" y="2239"/>
                  </a:lnTo>
                  <a:lnTo>
                    <a:pt x="1834" y="2293"/>
                  </a:lnTo>
                  <a:lnTo>
                    <a:pt x="1834" y="2293"/>
                  </a:lnTo>
                  <a:lnTo>
                    <a:pt x="1801" y="2269"/>
                  </a:lnTo>
                  <a:lnTo>
                    <a:pt x="1769" y="2244"/>
                  </a:lnTo>
                  <a:lnTo>
                    <a:pt x="1737" y="2219"/>
                  </a:lnTo>
                  <a:lnTo>
                    <a:pt x="1706" y="2193"/>
                  </a:lnTo>
                  <a:lnTo>
                    <a:pt x="1675" y="2167"/>
                  </a:lnTo>
                  <a:lnTo>
                    <a:pt x="1645" y="2139"/>
                  </a:lnTo>
                  <a:lnTo>
                    <a:pt x="1616" y="2112"/>
                  </a:lnTo>
                  <a:lnTo>
                    <a:pt x="1586" y="2084"/>
                  </a:lnTo>
                  <a:lnTo>
                    <a:pt x="1557" y="2054"/>
                  </a:lnTo>
                  <a:lnTo>
                    <a:pt x="1529" y="2025"/>
                  </a:lnTo>
                  <a:lnTo>
                    <a:pt x="1502" y="1995"/>
                  </a:lnTo>
                  <a:lnTo>
                    <a:pt x="1475" y="1963"/>
                  </a:lnTo>
                  <a:lnTo>
                    <a:pt x="1448" y="1933"/>
                  </a:lnTo>
                  <a:lnTo>
                    <a:pt x="1422" y="1900"/>
                  </a:lnTo>
                  <a:lnTo>
                    <a:pt x="1396" y="1869"/>
                  </a:lnTo>
                  <a:lnTo>
                    <a:pt x="1372" y="1835"/>
                  </a:lnTo>
                  <a:lnTo>
                    <a:pt x="1348" y="1801"/>
                  </a:lnTo>
                  <a:lnTo>
                    <a:pt x="1324" y="1767"/>
                  </a:lnTo>
                  <a:lnTo>
                    <a:pt x="1301" y="1733"/>
                  </a:lnTo>
                  <a:lnTo>
                    <a:pt x="1279" y="1698"/>
                  </a:lnTo>
                  <a:lnTo>
                    <a:pt x="1257" y="1662"/>
                  </a:lnTo>
                  <a:lnTo>
                    <a:pt x="1237" y="1626"/>
                  </a:lnTo>
                  <a:lnTo>
                    <a:pt x="1216" y="1590"/>
                  </a:lnTo>
                  <a:lnTo>
                    <a:pt x="1196" y="1551"/>
                  </a:lnTo>
                  <a:lnTo>
                    <a:pt x="1177" y="1514"/>
                  </a:lnTo>
                  <a:lnTo>
                    <a:pt x="1159" y="1476"/>
                  </a:lnTo>
                  <a:lnTo>
                    <a:pt x="1142" y="1437"/>
                  </a:lnTo>
                  <a:lnTo>
                    <a:pt x="1125" y="1398"/>
                  </a:lnTo>
                  <a:lnTo>
                    <a:pt x="1108" y="1358"/>
                  </a:lnTo>
                  <a:lnTo>
                    <a:pt x="1094" y="1319"/>
                  </a:lnTo>
                  <a:lnTo>
                    <a:pt x="1079" y="1277"/>
                  </a:lnTo>
                  <a:lnTo>
                    <a:pt x="1065" y="1236"/>
                  </a:lnTo>
                  <a:lnTo>
                    <a:pt x="1065" y="1236"/>
                  </a:lnTo>
                  <a:close/>
                </a:path>
              </a:pathLst>
            </a:custGeom>
            <a:solidFill>
              <a:srgbClr val="5876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12" name="Freeform 12"/>
            <p:cNvSpPr>
              <a:spLocks/>
            </p:cNvSpPr>
            <p:nvPr userDrawn="1"/>
          </p:nvSpPr>
          <p:spPr bwMode="auto">
            <a:xfrm flipH="1">
              <a:off x="1453319" y="3640138"/>
              <a:ext cx="1605799" cy="1503363"/>
            </a:xfrm>
            <a:custGeom>
              <a:avLst/>
              <a:gdLst>
                <a:gd name="T0" fmla="*/ 603 w 1011"/>
                <a:gd name="T1" fmla="*/ 947 h 947"/>
                <a:gd name="T2" fmla="*/ 603 w 1011"/>
                <a:gd name="T3" fmla="*/ 947 h 947"/>
                <a:gd name="T4" fmla="*/ 633 w 1011"/>
                <a:gd name="T5" fmla="*/ 890 h 947"/>
                <a:gd name="T6" fmla="*/ 663 w 1011"/>
                <a:gd name="T7" fmla="*/ 832 h 947"/>
                <a:gd name="T8" fmla="*/ 693 w 1011"/>
                <a:gd name="T9" fmla="*/ 775 h 947"/>
                <a:gd name="T10" fmla="*/ 722 w 1011"/>
                <a:gd name="T11" fmla="*/ 716 h 947"/>
                <a:gd name="T12" fmla="*/ 750 w 1011"/>
                <a:gd name="T13" fmla="*/ 658 h 947"/>
                <a:gd name="T14" fmla="*/ 777 w 1011"/>
                <a:gd name="T15" fmla="*/ 599 h 947"/>
                <a:gd name="T16" fmla="*/ 803 w 1011"/>
                <a:gd name="T17" fmla="*/ 541 h 947"/>
                <a:gd name="T18" fmla="*/ 829 w 1011"/>
                <a:gd name="T19" fmla="*/ 481 h 947"/>
                <a:gd name="T20" fmla="*/ 854 w 1011"/>
                <a:gd name="T21" fmla="*/ 423 h 947"/>
                <a:gd name="T22" fmla="*/ 878 w 1011"/>
                <a:gd name="T23" fmla="*/ 363 h 947"/>
                <a:gd name="T24" fmla="*/ 903 w 1011"/>
                <a:gd name="T25" fmla="*/ 302 h 947"/>
                <a:gd name="T26" fmla="*/ 925 w 1011"/>
                <a:gd name="T27" fmla="*/ 243 h 947"/>
                <a:gd name="T28" fmla="*/ 948 w 1011"/>
                <a:gd name="T29" fmla="*/ 182 h 947"/>
                <a:gd name="T30" fmla="*/ 969 w 1011"/>
                <a:gd name="T31" fmla="*/ 121 h 947"/>
                <a:gd name="T32" fmla="*/ 990 w 1011"/>
                <a:gd name="T33" fmla="*/ 61 h 947"/>
                <a:gd name="T34" fmla="*/ 1011 w 1011"/>
                <a:gd name="T35" fmla="*/ 0 h 947"/>
                <a:gd name="T36" fmla="*/ 1011 w 1011"/>
                <a:gd name="T37" fmla="*/ 0 h 947"/>
                <a:gd name="T38" fmla="*/ 1011 w 1011"/>
                <a:gd name="T39" fmla="*/ 0 h 947"/>
                <a:gd name="T40" fmla="*/ 939 w 1011"/>
                <a:gd name="T41" fmla="*/ 53 h 947"/>
                <a:gd name="T42" fmla="*/ 868 w 1011"/>
                <a:gd name="T43" fmla="*/ 107 h 947"/>
                <a:gd name="T44" fmla="*/ 799 w 1011"/>
                <a:gd name="T45" fmla="*/ 161 h 947"/>
                <a:gd name="T46" fmla="*/ 731 w 1011"/>
                <a:gd name="T47" fmla="*/ 217 h 947"/>
                <a:gd name="T48" fmla="*/ 664 w 1011"/>
                <a:gd name="T49" fmla="*/ 273 h 947"/>
                <a:gd name="T50" fmla="*/ 598 w 1011"/>
                <a:gd name="T51" fmla="*/ 329 h 947"/>
                <a:gd name="T52" fmla="*/ 533 w 1011"/>
                <a:gd name="T53" fmla="*/ 388 h 947"/>
                <a:gd name="T54" fmla="*/ 470 w 1011"/>
                <a:gd name="T55" fmla="*/ 446 h 947"/>
                <a:gd name="T56" fmla="*/ 407 w 1011"/>
                <a:gd name="T57" fmla="*/ 507 h 947"/>
                <a:gd name="T58" fmla="*/ 345 w 1011"/>
                <a:gd name="T59" fmla="*/ 567 h 947"/>
                <a:gd name="T60" fmla="*/ 284 w 1011"/>
                <a:gd name="T61" fmla="*/ 629 h 947"/>
                <a:gd name="T62" fmla="*/ 226 w 1011"/>
                <a:gd name="T63" fmla="*/ 691 h 947"/>
                <a:gd name="T64" fmla="*/ 167 w 1011"/>
                <a:gd name="T65" fmla="*/ 754 h 947"/>
                <a:gd name="T66" fmla="*/ 110 w 1011"/>
                <a:gd name="T67" fmla="*/ 818 h 947"/>
                <a:gd name="T68" fmla="*/ 54 w 1011"/>
                <a:gd name="T69" fmla="*/ 882 h 947"/>
                <a:gd name="T70" fmla="*/ 0 w 1011"/>
                <a:gd name="T71" fmla="*/ 947 h 947"/>
                <a:gd name="T72" fmla="*/ 603 w 1011"/>
                <a:gd name="T73" fmla="*/ 947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1" h="947">
                  <a:moveTo>
                    <a:pt x="603" y="947"/>
                  </a:moveTo>
                  <a:lnTo>
                    <a:pt x="603" y="947"/>
                  </a:lnTo>
                  <a:lnTo>
                    <a:pt x="633" y="890"/>
                  </a:lnTo>
                  <a:lnTo>
                    <a:pt x="663" y="832"/>
                  </a:lnTo>
                  <a:lnTo>
                    <a:pt x="693" y="775"/>
                  </a:lnTo>
                  <a:lnTo>
                    <a:pt x="722" y="716"/>
                  </a:lnTo>
                  <a:lnTo>
                    <a:pt x="750" y="658"/>
                  </a:lnTo>
                  <a:lnTo>
                    <a:pt x="777" y="599"/>
                  </a:lnTo>
                  <a:lnTo>
                    <a:pt x="803" y="541"/>
                  </a:lnTo>
                  <a:lnTo>
                    <a:pt x="829" y="481"/>
                  </a:lnTo>
                  <a:lnTo>
                    <a:pt x="854" y="423"/>
                  </a:lnTo>
                  <a:lnTo>
                    <a:pt x="878" y="363"/>
                  </a:lnTo>
                  <a:lnTo>
                    <a:pt x="903" y="302"/>
                  </a:lnTo>
                  <a:lnTo>
                    <a:pt x="925" y="243"/>
                  </a:lnTo>
                  <a:lnTo>
                    <a:pt x="948" y="182"/>
                  </a:lnTo>
                  <a:lnTo>
                    <a:pt x="969" y="121"/>
                  </a:lnTo>
                  <a:lnTo>
                    <a:pt x="990" y="61"/>
                  </a:lnTo>
                  <a:lnTo>
                    <a:pt x="1011" y="0"/>
                  </a:lnTo>
                  <a:lnTo>
                    <a:pt x="1011" y="0"/>
                  </a:lnTo>
                  <a:lnTo>
                    <a:pt x="1011" y="0"/>
                  </a:lnTo>
                  <a:lnTo>
                    <a:pt x="939" y="53"/>
                  </a:lnTo>
                  <a:lnTo>
                    <a:pt x="868" y="107"/>
                  </a:lnTo>
                  <a:lnTo>
                    <a:pt x="799" y="161"/>
                  </a:lnTo>
                  <a:lnTo>
                    <a:pt x="731" y="217"/>
                  </a:lnTo>
                  <a:lnTo>
                    <a:pt x="664" y="273"/>
                  </a:lnTo>
                  <a:lnTo>
                    <a:pt x="598" y="329"/>
                  </a:lnTo>
                  <a:lnTo>
                    <a:pt x="533" y="388"/>
                  </a:lnTo>
                  <a:lnTo>
                    <a:pt x="470" y="446"/>
                  </a:lnTo>
                  <a:lnTo>
                    <a:pt x="407" y="507"/>
                  </a:lnTo>
                  <a:lnTo>
                    <a:pt x="345" y="567"/>
                  </a:lnTo>
                  <a:lnTo>
                    <a:pt x="284" y="629"/>
                  </a:lnTo>
                  <a:lnTo>
                    <a:pt x="226" y="691"/>
                  </a:lnTo>
                  <a:lnTo>
                    <a:pt x="167" y="754"/>
                  </a:lnTo>
                  <a:lnTo>
                    <a:pt x="110" y="818"/>
                  </a:lnTo>
                  <a:lnTo>
                    <a:pt x="54" y="882"/>
                  </a:lnTo>
                  <a:lnTo>
                    <a:pt x="0" y="947"/>
                  </a:lnTo>
                  <a:lnTo>
                    <a:pt x="603" y="947"/>
                  </a:lnTo>
                  <a:close/>
                </a:path>
              </a:pathLst>
            </a:custGeom>
            <a:solidFill>
              <a:srgbClr val="5876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grpSp>
      <p:grpSp>
        <p:nvGrpSpPr>
          <p:cNvPr id="51" name="Group 50"/>
          <p:cNvGrpSpPr/>
          <p:nvPr/>
        </p:nvGrpSpPr>
        <p:grpSpPr>
          <a:xfrm>
            <a:off x="325260" y="4430942"/>
            <a:ext cx="1542966" cy="450629"/>
            <a:chOff x="5743821" y="366879"/>
            <a:chExt cx="3076574" cy="898527"/>
          </a:xfrm>
        </p:grpSpPr>
        <p:sp>
          <p:nvSpPr>
            <p:cNvPr id="52" name="Freeform 5"/>
            <p:cNvSpPr>
              <a:spLocks/>
            </p:cNvSpPr>
            <p:nvPr userDrawn="1"/>
          </p:nvSpPr>
          <p:spPr bwMode="auto">
            <a:xfrm>
              <a:off x="6569320" y="633580"/>
              <a:ext cx="160338" cy="141289"/>
            </a:xfrm>
            <a:custGeom>
              <a:avLst/>
              <a:gdLst>
                <a:gd name="T0" fmla="*/ 623 w 1210"/>
                <a:gd name="T1" fmla="*/ 1065 h 1065"/>
                <a:gd name="T2" fmla="*/ 211 w 1210"/>
                <a:gd name="T3" fmla="*/ 202 h 1065"/>
                <a:gd name="T4" fmla="*/ 194 w 1210"/>
                <a:gd name="T5" fmla="*/ 163 h 1065"/>
                <a:gd name="T6" fmla="*/ 177 w 1210"/>
                <a:gd name="T7" fmla="*/ 131 h 1065"/>
                <a:gd name="T8" fmla="*/ 160 w 1210"/>
                <a:gd name="T9" fmla="*/ 105 h 1065"/>
                <a:gd name="T10" fmla="*/ 139 w 1210"/>
                <a:gd name="T11" fmla="*/ 84 h 1065"/>
                <a:gd name="T12" fmla="*/ 115 w 1210"/>
                <a:gd name="T13" fmla="*/ 69 h 1065"/>
                <a:gd name="T14" fmla="*/ 84 w 1210"/>
                <a:gd name="T15" fmla="*/ 59 h 1065"/>
                <a:gd name="T16" fmla="*/ 47 w 1210"/>
                <a:gd name="T17" fmla="*/ 52 h 1065"/>
                <a:gd name="T18" fmla="*/ 0 w 1210"/>
                <a:gd name="T19" fmla="*/ 50 h 1065"/>
                <a:gd name="T20" fmla="*/ 566 w 1210"/>
                <a:gd name="T21" fmla="*/ 0 h 1065"/>
                <a:gd name="T22" fmla="*/ 566 w 1210"/>
                <a:gd name="T23" fmla="*/ 50 h 1065"/>
                <a:gd name="T24" fmla="*/ 516 w 1210"/>
                <a:gd name="T25" fmla="*/ 52 h 1065"/>
                <a:gd name="T26" fmla="*/ 477 w 1210"/>
                <a:gd name="T27" fmla="*/ 58 h 1065"/>
                <a:gd name="T28" fmla="*/ 448 w 1210"/>
                <a:gd name="T29" fmla="*/ 68 h 1065"/>
                <a:gd name="T30" fmla="*/ 430 w 1210"/>
                <a:gd name="T31" fmla="*/ 81 h 1065"/>
                <a:gd name="T32" fmla="*/ 421 w 1210"/>
                <a:gd name="T33" fmla="*/ 99 h 1065"/>
                <a:gd name="T34" fmla="*/ 419 w 1210"/>
                <a:gd name="T35" fmla="*/ 122 h 1065"/>
                <a:gd name="T36" fmla="*/ 425 w 1210"/>
                <a:gd name="T37" fmla="*/ 150 h 1065"/>
                <a:gd name="T38" fmla="*/ 437 w 1210"/>
                <a:gd name="T39" fmla="*/ 181 h 1065"/>
                <a:gd name="T40" fmla="*/ 922 w 1210"/>
                <a:gd name="T41" fmla="*/ 181 h 1065"/>
                <a:gd name="T42" fmla="*/ 928 w 1210"/>
                <a:gd name="T43" fmla="*/ 165 h 1065"/>
                <a:gd name="T44" fmla="*/ 937 w 1210"/>
                <a:gd name="T45" fmla="*/ 134 h 1065"/>
                <a:gd name="T46" fmla="*/ 938 w 1210"/>
                <a:gd name="T47" fmla="*/ 110 h 1065"/>
                <a:gd name="T48" fmla="*/ 932 w 1210"/>
                <a:gd name="T49" fmla="*/ 89 h 1065"/>
                <a:gd name="T50" fmla="*/ 918 w 1210"/>
                <a:gd name="T51" fmla="*/ 74 h 1065"/>
                <a:gd name="T52" fmla="*/ 894 w 1210"/>
                <a:gd name="T53" fmla="*/ 62 h 1065"/>
                <a:gd name="T54" fmla="*/ 860 w 1210"/>
                <a:gd name="T55" fmla="*/ 54 h 1065"/>
                <a:gd name="T56" fmla="*/ 817 w 1210"/>
                <a:gd name="T57" fmla="*/ 50 h 1065"/>
                <a:gd name="T58" fmla="*/ 792 w 1210"/>
                <a:gd name="T59" fmla="*/ 0 h 1065"/>
                <a:gd name="T60" fmla="*/ 1210 w 1210"/>
                <a:gd name="T61" fmla="*/ 50 h 1065"/>
                <a:gd name="T62" fmla="*/ 1189 w 1210"/>
                <a:gd name="T63" fmla="*/ 50 h 1065"/>
                <a:gd name="T64" fmla="*/ 1151 w 1210"/>
                <a:gd name="T65" fmla="*/ 53 h 1065"/>
                <a:gd name="T66" fmla="*/ 1119 w 1210"/>
                <a:gd name="T67" fmla="*/ 61 h 1065"/>
                <a:gd name="T68" fmla="*/ 1091 w 1210"/>
                <a:gd name="T69" fmla="*/ 73 h 1065"/>
                <a:gd name="T70" fmla="*/ 1068 w 1210"/>
                <a:gd name="T71" fmla="*/ 89 h 1065"/>
                <a:gd name="T72" fmla="*/ 1046 w 1210"/>
                <a:gd name="T73" fmla="*/ 113 h 1065"/>
                <a:gd name="T74" fmla="*/ 1027 w 1210"/>
                <a:gd name="T75" fmla="*/ 142 h 1065"/>
                <a:gd name="T76" fmla="*/ 1008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4" y="163"/>
                  </a:lnTo>
                  <a:lnTo>
                    <a:pt x="185" y="146"/>
                  </a:lnTo>
                  <a:lnTo>
                    <a:pt x="177" y="131"/>
                  </a:lnTo>
                  <a:lnTo>
                    <a:pt x="168" y="117"/>
                  </a:lnTo>
                  <a:lnTo>
                    <a:pt x="160" y="105"/>
                  </a:lnTo>
                  <a:lnTo>
                    <a:pt x="150" y="93"/>
                  </a:lnTo>
                  <a:lnTo>
                    <a:pt x="139" y="84"/>
                  </a:lnTo>
                  <a:lnTo>
                    <a:pt x="128" y="76"/>
                  </a:lnTo>
                  <a:lnTo>
                    <a:pt x="115" y="69"/>
                  </a:lnTo>
                  <a:lnTo>
                    <a:pt x="101" y="63"/>
                  </a:lnTo>
                  <a:lnTo>
                    <a:pt x="84" y="59"/>
                  </a:lnTo>
                  <a:lnTo>
                    <a:pt x="67" y="54"/>
                  </a:lnTo>
                  <a:lnTo>
                    <a:pt x="47" y="52"/>
                  </a:lnTo>
                  <a:lnTo>
                    <a:pt x="25" y="50"/>
                  </a:lnTo>
                  <a:lnTo>
                    <a:pt x="0" y="50"/>
                  </a:lnTo>
                  <a:lnTo>
                    <a:pt x="0" y="0"/>
                  </a:lnTo>
                  <a:lnTo>
                    <a:pt x="566" y="0"/>
                  </a:lnTo>
                  <a:lnTo>
                    <a:pt x="566" y="50"/>
                  </a:lnTo>
                  <a:lnTo>
                    <a:pt x="566" y="50"/>
                  </a:lnTo>
                  <a:lnTo>
                    <a:pt x="539" y="50"/>
                  </a:lnTo>
                  <a:lnTo>
                    <a:pt x="516" y="52"/>
                  </a:lnTo>
                  <a:lnTo>
                    <a:pt x="494" y="54"/>
                  </a:lnTo>
                  <a:lnTo>
                    <a:pt x="477" y="58"/>
                  </a:lnTo>
                  <a:lnTo>
                    <a:pt x="460" y="63"/>
                  </a:lnTo>
                  <a:lnTo>
                    <a:pt x="448" y="68"/>
                  </a:lnTo>
                  <a:lnTo>
                    <a:pt x="438" y="74"/>
                  </a:lnTo>
                  <a:lnTo>
                    <a:pt x="430" y="81"/>
                  </a:lnTo>
                  <a:lnTo>
                    <a:pt x="424" y="90"/>
                  </a:lnTo>
                  <a:lnTo>
                    <a:pt x="421" y="99"/>
                  </a:lnTo>
                  <a:lnTo>
                    <a:pt x="419" y="111"/>
                  </a:lnTo>
                  <a:lnTo>
                    <a:pt x="419" y="122"/>
                  </a:lnTo>
                  <a:lnTo>
                    <a:pt x="421" y="135"/>
                  </a:lnTo>
                  <a:lnTo>
                    <a:pt x="425" y="150"/>
                  </a:lnTo>
                  <a:lnTo>
                    <a:pt x="430" y="165"/>
                  </a:lnTo>
                  <a:lnTo>
                    <a:pt x="437" y="181"/>
                  </a:lnTo>
                  <a:lnTo>
                    <a:pt x="678" y="742"/>
                  </a:lnTo>
                  <a:lnTo>
                    <a:pt x="922" y="181"/>
                  </a:lnTo>
                  <a:lnTo>
                    <a:pt x="922" y="181"/>
                  </a:lnTo>
                  <a:lnTo>
                    <a:pt x="928" y="165"/>
                  </a:lnTo>
                  <a:lnTo>
                    <a:pt x="933" y="149"/>
                  </a:lnTo>
                  <a:lnTo>
                    <a:pt x="937" y="134"/>
                  </a:lnTo>
                  <a:lnTo>
                    <a:pt x="938" y="122"/>
                  </a:lnTo>
                  <a:lnTo>
                    <a:pt x="938" y="110"/>
                  </a:lnTo>
                  <a:lnTo>
                    <a:pt x="936" y="98"/>
                  </a:lnTo>
                  <a:lnTo>
                    <a:pt x="932" y="89"/>
                  </a:lnTo>
                  <a:lnTo>
                    <a:pt x="926" y="81"/>
                  </a:lnTo>
                  <a:lnTo>
                    <a:pt x="918" y="74"/>
                  </a:lnTo>
                  <a:lnTo>
                    <a:pt x="906" y="67"/>
                  </a:lnTo>
                  <a:lnTo>
                    <a:pt x="894" y="62"/>
                  </a:lnTo>
                  <a:lnTo>
                    <a:pt x="879" y="58"/>
                  </a:lnTo>
                  <a:lnTo>
                    <a:pt x="860" y="54"/>
                  </a:lnTo>
                  <a:lnTo>
                    <a:pt x="841" y="52"/>
                  </a:lnTo>
                  <a:lnTo>
                    <a:pt x="817" y="50"/>
                  </a:lnTo>
                  <a:lnTo>
                    <a:pt x="792" y="50"/>
                  </a:lnTo>
                  <a:lnTo>
                    <a:pt x="792" y="0"/>
                  </a:lnTo>
                  <a:lnTo>
                    <a:pt x="1210" y="0"/>
                  </a:lnTo>
                  <a:lnTo>
                    <a:pt x="1210" y="50"/>
                  </a:lnTo>
                  <a:lnTo>
                    <a:pt x="1210" y="50"/>
                  </a:lnTo>
                  <a:lnTo>
                    <a:pt x="1189" y="50"/>
                  </a:lnTo>
                  <a:lnTo>
                    <a:pt x="1169" y="51"/>
                  </a:lnTo>
                  <a:lnTo>
                    <a:pt x="1151" y="53"/>
                  </a:lnTo>
                  <a:lnTo>
                    <a:pt x="1134" y="57"/>
                  </a:lnTo>
                  <a:lnTo>
                    <a:pt x="1119" y="61"/>
                  </a:lnTo>
                  <a:lnTo>
                    <a:pt x="1105" y="66"/>
                  </a:lnTo>
                  <a:lnTo>
                    <a:pt x="1091" y="73"/>
                  </a:lnTo>
                  <a:lnTo>
                    <a:pt x="1079" y="80"/>
                  </a:lnTo>
                  <a:lnTo>
                    <a:pt x="1068" y="89"/>
                  </a:lnTo>
                  <a:lnTo>
                    <a:pt x="1057" y="100"/>
                  </a:lnTo>
                  <a:lnTo>
                    <a:pt x="1046" y="113"/>
                  </a:lnTo>
                  <a:lnTo>
                    <a:pt x="1036" y="127"/>
                  </a:lnTo>
                  <a:lnTo>
                    <a:pt x="1027" y="142"/>
                  </a:lnTo>
                  <a:lnTo>
                    <a:pt x="1017" y="161"/>
                  </a:lnTo>
                  <a:lnTo>
                    <a:pt x="1008" y="180"/>
                  </a:lnTo>
                  <a:lnTo>
                    <a:pt x="997" y="202"/>
                  </a:lnTo>
                  <a:lnTo>
                    <a:pt x="997"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53" name="Freeform 6"/>
            <p:cNvSpPr>
              <a:spLocks noEditPoints="1"/>
            </p:cNvSpPr>
            <p:nvPr userDrawn="1"/>
          </p:nvSpPr>
          <p:spPr bwMode="auto">
            <a:xfrm>
              <a:off x="6712196" y="630404"/>
              <a:ext cx="160338" cy="139699"/>
            </a:xfrm>
            <a:custGeom>
              <a:avLst/>
              <a:gdLst>
                <a:gd name="T0" fmla="*/ 289 w 1210"/>
                <a:gd name="T1" fmla="*/ 883 h 1064"/>
                <a:gd name="T2" fmla="*/ 276 w 1210"/>
                <a:gd name="T3" fmla="*/ 916 h 1064"/>
                <a:gd name="T4" fmla="*/ 271 w 1210"/>
                <a:gd name="T5" fmla="*/ 943 h 1064"/>
                <a:gd name="T6" fmla="*/ 274 w 1210"/>
                <a:gd name="T7" fmla="*/ 966 h 1064"/>
                <a:gd name="T8" fmla="*/ 284 w 1210"/>
                <a:gd name="T9" fmla="*/ 983 h 1064"/>
                <a:gd name="T10" fmla="*/ 303 w 1210"/>
                <a:gd name="T11" fmla="*/ 998 h 1064"/>
                <a:gd name="T12" fmla="*/ 331 w 1210"/>
                <a:gd name="T13" fmla="*/ 1007 h 1064"/>
                <a:gd name="T14" fmla="*/ 369 w 1210"/>
                <a:gd name="T15" fmla="*/ 1013 h 1064"/>
                <a:gd name="T16" fmla="*/ 417 w 1210"/>
                <a:gd name="T17" fmla="*/ 1014 h 1064"/>
                <a:gd name="T18" fmla="*/ 0 w 1210"/>
                <a:gd name="T19" fmla="*/ 1064 h 1064"/>
                <a:gd name="T20" fmla="*/ 0 w 1210"/>
                <a:gd name="T21" fmla="*/ 1014 h 1064"/>
                <a:gd name="T22" fmla="*/ 41 w 1210"/>
                <a:gd name="T23" fmla="*/ 1013 h 1064"/>
                <a:gd name="T24" fmla="*/ 76 w 1210"/>
                <a:gd name="T25" fmla="*/ 1008 h 1064"/>
                <a:gd name="T26" fmla="*/ 106 w 1210"/>
                <a:gd name="T27" fmla="*/ 999 h 1064"/>
                <a:gd name="T28" fmla="*/ 131 w 1210"/>
                <a:gd name="T29" fmla="*/ 984 h 1064"/>
                <a:gd name="T30" fmla="*/ 153 w 1210"/>
                <a:gd name="T31" fmla="*/ 964 h 1064"/>
                <a:gd name="T32" fmla="*/ 173 w 1210"/>
                <a:gd name="T33" fmla="*/ 938 h 1064"/>
                <a:gd name="T34" fmla="*/ 192 w 1210"/>
                <a:gd name="T35" fmla="*/ 904 h 1064"/>
                <a:gd name="T36" fmla="*/ 212 w 1210"/>
                <a:gd name="T37" fmla="*/ 863 h 1064"/>
                <a:gd name="T38" fmla="*/ 623 w 1210"/>
                <a:gd name="T39" fmla="*/ 0 h 1064"/>
                <a:gd name="T40" fmla="*/ 999 w 1210"/>
                <a:gd name="T41" fmla="*/ 863 h 1064"/>
                <a:gd name="T42" fmla="*/ 1025 w 1210"/>
                <a:gd name="T43" fmla="*/ 918 h 1064"/>
                <a:gd name="T44" fmla="*/ 1041 w 1210"/>
                <a:gd name="T45" fmla="*/ 946 h 1064"/>
                <a:gd name="T46" fmla="*/ 1060 w 1210"/>
                <a:gd name="T47" fmla="*/ 970 h 1064"/>
                <a:gd name="T48" fmla="*/ 1082 w 1210"/>
                <a:gd name="T49" fmla="*/ 988 h 1064"/>
                <a:gd name="T50" fmla="*/ 1110 w 1210"/>
                <a:gd name="T51" fmla="*/ 1002 h 1064"/>
                <a:gd name="T52" fmla="*/ 1142 w 1210"/>
                <a:gd name="T53" fmla="*/ 1010 h 1064"/>
                <a:gd name="T54" fmla="*/ 1185 w 1210"/>
                <a:gd name="T55" fmla="*/ 1014 h 1064"/>
                <a:gd name="T56" fmla="*/ 1210 w 1210"/>
                <a:gd name="T57" fmla="*/ 1064 h 1064"/>
                <a:gd name="T58" fmla="*/ 647 w 1210"/>
                <a:gd name="T59" fmla="*/ 1014 h 1064"/>
                <a:gd name="T60" fmla="*/ 674 w 1210"/>
                <a:gd name="T61" fmla="*/ 1014 h 1064"/>
                <a:gd name="T62" fmla="*/ 719 w 1210"/>
                <a:gd name="T63" fmla="*/ 1010 h 1064"/>
                <a:gd name="T64" fmla="*/ 752 w 1210"/>
                <a:gd name="T65" fmla="*/ 1003 h 1064"/>
                <a:gd name="T66" fmla="*/ 775 w 1210"/>
                <a:gd name="T67" fmla="*/ 990 h 1064"/>
                <a:gd name="T68" fmla="*/ 790 w 1210"/>
                <a:gd name="T69" fmla="*/ 974 h 1064"/>
                <a:gd name="T70" fmla="*/ 795 w 1210"/>
                <a:gd name="T71" fmla="*/ 954 h 1064"/>
                <a:gd name="T72" fmla="*/ 793 w 1210"/>
                <a:gd name="T73" fmla="*/ 929 h 1064"/>
                <a:gd name="T74" fmla="*/ 783 w 1210"/>
                <a:gd name="T75" fmla="*/ 899 h 1064"/>
                <a:gd name="T76" fmla="*/ 704 w 1210"/>
                <a:gd name="T77" fmla="*/ 719 h 1064"/>
                <a:gd name="T78" fmla="*/ 289 w 1210"/>
                <a:gd name="T79" fmla="*/ 883 h 1064"/>
                <a:gd name="T80" fmla="*/ 394 w 1210"/>
                <a:gd name="T81" fmla="*/ 642 h 1064"/>
                <a:gd name="T82" fmla="*/ 533 w 1210"/>
                <a:gd name="T83" fmla="*/ 318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10" h="1064">
                  <a:moveTo>
                    <a:pt x="289" y="883"/>
                  </a:moveTo>
                  <a:lnTo>
                    <a:pt x="289" y="883"/>
                  </a:lnTo>
                  <a:lnTo>
                    <a:pt x="281" y="900"/>
                  </a:lnTo>
                  <a:lnTo>
                    <a:pt x="276" y="916"/>
                  </a:lnTo>
                  <a:lnTo>
                    <a:pt x="273" y="930"/>
                  </a:lnTo>
                  <a:lnTo>
                    <a:pt x="271" y="943"/>
                  </a:lnTo>
                  <a:lnTo>
                    <a:pt x="272" y="955"/>
                  </a:lnTo>
                  <a:lnTo>
                    <a:pt x="274" y="966"/>
                  </a:lnTo>
                  <a:lnTo>
                    <a:pt x="278" y="975"/>
                  </a:lnTo>
                  <a:lnTo>
                    <a:pt x="284" y="983"/>
                  </a:lnTo>
                  <a:lnTo>
                    <a:pt x="293" y="991"/>
                  </a:lnTo>
                  <a:lnTo>
                    <a:pt x="303" y="998"/>
                  </a:lnTo>
                  <a:lnTo>
                    <a:pt x="316" y="1003"/>
                  </a:lnTo>
                  <a:lnTo>
                    <a:pt x="331" y="1007"/>
                  </a:lnTo>
                  <a:lnTo>
                    <a:pt x="349" y="1010"/>
                  </a:lnTo>
                  <a:lnTo>
                    <a:pt x="369" y="1013"/>
                  </a:lnTo>
                  <a:lnTo>
                    <a:pt x="392" y="1014"/>
                  </a:lnTo>
                  <a:lnTo>
                    <a:pt x="417" y="1014"/>
                  </a:lnTo>
                  <a:lnTo>
                    <a:pt x="417" y="1064"/>
                  </a:lnTo>
                  <a:lnTo>
                    <a:pt x="0" y="1064"/>
                  </a:lnTo>
                  <a:lnTo>
                    <a:pt x="0" y="1014"/>
                  </a:lnTo>
                  <a:lnTo>
                    <a:pt x="0" y="1014"/>
                  </a:lnTo>
                  <a:lnTo>
                    <a:pt x="22" y="1014"/>
                  </a:lnTo>
                  <a:lnTo>
                    <a:pt x="41" y="1013"/>
                  </a:lnTo>
                  <a:lnTo>
                    <a:pt x="59" y="1011"/>
                  </a:lnTo>
                  <a:lnTo>
                    <a:pt x="76" y="1008"/>
                  </a:lnTo>
                  <a:lnTo>
                    <a:pt x="91" y="1004"/>
                  </a:lnTo>
                  <a:lnTo>
                    <a:pt x="106" y="999"/>
                  </a:lnTo>
                  <a:lnTo>
                    <a:pt x="119" y="992"/>
                  </a:lnTo>
                  <a:lnTo>
                    <a:pt x="131" y="984"/>
                  </a:lnTo>
                  <a:lnTo>
                    <a:pt x="142" y="975"/>
                  </a:lnTo>
                  <a:lnTo>
                    <a:pt x="153" y="964"/>
                  </a:lnTo>
                  <a:lnTo>
                    <a:pt x="164" y="952"/>
                  </a:lnTo>
                  <a:lnTo>
                    <a:pt x="173" y="938"/>
                  </a:lnTo>
                  <a:lnTo>
                    <a:pt x="183" y="922"/>
                  </a:lnTo>
                  <a:lnTo>
                    <a:pt x="192" y="904"/>
                  </a:lnTo>
                  <a:lnTo>
                    <a:pt x="203" y="884"/>
                  </a:lnTo>
                  <a:lnTo>
                    <a:pt x="212" y="863"/>
                  </a:lnTo>
                  <a:lnTo>
                    <a:pt x="586" y="0"/>
                  </a:lnTo>
                  <a:lnTo>
                    <a:pt x="623" y="0"/>
                  </a:lnTo>
                  <a:lnTo>
                    <a:pt x="999" y="863"/>
                  </a:lnTo>
                  <a:lnTo>
                    <a:pt x="999" y="863"/>
                  </a:lnTo>
                  <a:lnTo>
                    <a:pt x="1017" y="900"/>
                  </a:lnTo>
                  <a:lnTo>
                    <a:pt x="1025" y="918"/>
                  </a:lnTo>
                  <a:lnTo>
                    <a:pt x="1033" y="933"/>
                  </a:lnTo>
                  <a:lnTo>
                    <a:pt x="1041" y="946"/>
                  </a:lnTo>
                  <a:lnTo>
                    <a:pt x="1050" y="959"/>
                  </a:lnTo>
                  <a:lnTo>
                    <a:pt x="1060" y="970"/>
                  </a:lnTo>
                  <a:lnTo>
                    <a:pt x="1071" y="980"/>
                  </a:lnTo>
                  <a:lnTo>
                    <a:pt x="1082" y="988"/>
                  </a:lnTo>
                  <a:lnTo>
                    <a:pt x="1095" y="995"/>
                  </a:lnTo>
                  <a:lnTo>
                    <a:pt x="1110" y="1002"/>
                  </a:lnTo>
                  <a:lnTo>
                    <a:pt x="1125" y="1006"/>
                  </a:lnTo>
                  <a:lnTo>
                    <a:pt x="1142" y="1010"/>
                  </a:lnTo>
                  <a:lnTo>
                    <a:pt x="1163" y="1012"/>
                  </a:lnTo>
                  <a:lnTo>
                    <a:pt x="1185" y="1014"/>
                  </a:lnTo>
                  <a:lnTo>
                    <a:pt x="1210" y="1014"/>
                  </a:lnTo>
                  <a:lnTo>
                    <a:pt x="1210" y="1064"/>
                  </a:lnTo>
                  <a:lnTo>
                    <a:pt x="647" y="1064"/>
                  </a:lnTo>
                  <a:lnTo>
                    <a:pt x="647" y="1014"/>
                  </a:lnTo>
                  <a:lnTo>
                    <a:pt x="647" y="1014"/>
                  </a:lnTo>
                  <a:lnTo>
                    <a:pt x="674" y="1014"/>
                  </a:lnTo>
                  <a:lnTo>
                    <a:pt x="698" y="1012"/>
                  </a:lnTo>
                  <a:lnTo>
                    <a:pt x="719" y="1010"/>
                  </a:lnTo>
                  <a:lnTo>
                    <a:pt x="736" y="1007"/>
                  </a:lnTo>
                  <a:lnTo>
                    <a:pt x="752" y="1003"/>
                  </a:lnTo>
                  <a:lnTo>
                    <a:pt x="765" y="996"/>
                  </a:lnTo>
                  <a:lnTo>
                    <a:pt x="775" y="990"/>
                  </a:lnTo>
                  <a:lnTo>
                    <a:pt x="783" y="983"/>
                  </a:lnTo>
                  <a:lnTo>
                    <a:pt x="790" y="974"/>
                  </a:lnTo>
                  <a:lnTo>
                    <a:pt x="793" y="965"/>
                  </a:lnTo>
                  <a:lnTo>
                    <a:pt x="795" y="954"/>
                  </a:lnTo>
                  <a:lnTo>
                    <a:pt x="795" y="942"/>
                  </a:lnTo>
                  <a:lnTo>
                    <a:pt x="793" y="929"/>
                  </a:lnTo>
                  <a:lnTo>
                    <a:pt x="789" y="915"/>
                  </a:lnTo>
                  <a:lnTo>
                    <a:pt x="783" y="899"/>
                  </a:lnTo>
                  <a:lnTo>
                    <a:pt x="776" y="883"/>
                  </a:lnTo>
                  <a:lnTo>
                    <a:pt x="704" y="719"/>
                  </a:lnTo>
                  <a:lnTo>
                    <a:pt x="359" y="719"/>
                  </a:lnTo>
                  <a:lnTo>
                    <a:pt x="289" y="883"/>
                  </a:lnTo>
                  <a:close/>
                  <a:moveTo>
                    <a:pt x="533" y="318"/>
                  </a:moveTo>
                  <a:lnTo>
                    <a:pt x="394" y="642"/>
                  </a:lnTo>
                  <a:lnTo>
                    <a:pt x="671" y="642"/>
                  </a:lnTo>
                  <a:lnTo>
                    <a:pt x="533" y="3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54" name="Freeform 7"/>
            <p:cNvSpPr>
              <a:spLocks/>
            </p:cNvSpPr>
            <p:nvPr userDrawn="1"/>
          </p:nvSpPr>
          <p:spPr bwMode="auto">
            <a:xfrm>
              <a:off x="6889995" y="633580"/>
              <a:ext cx="131763" cy="136525"/>
            </a:xfrm>
            <a:custGeom>
              <a:avLst/>
              <a:gdLst>
                <a:gd name="T0" fmla="*/ 0 w 1002"/>
                <a:gd name="T1" fmla="*/ 0 h 1035"/>
                <a:gd name="T2" fmla="*/ 545 w 1002"/>
                <a:gd name="T3" fmla="*/ 50 h 1035"/>
                <a:gd name="T4" fmla="*/ 519 w 1002"/>
                <a:gd name="T5" fmla="*/ 50 h 1035"/>
                <a:gd name="T6" fmla="*/ 476 w 1002"/>
                <a:gd name="T7" fmla="*/ 54 h 1035"/>
                <a:gd name="T8" fmla="*/ 443 w 1002"/>
                <a:gd name="T9" fmla="*/ 63 h 1035"/>
                <a:gd name="T10" fmla="*/ 424 w 1002"/>
                <a:gd name="T11" fmla="*/ 73 h 1035"/>
                <a:gd name="T12" fmla="*/ 413 w 1002"/>
                <a:gd name="T13" fmla="*/ 81 h 1035"/>
                <a:gd name="T14" fmla="*/ 405 w 1002"/>
                <a:gd name="T15" fmla="*/ 92 h 1035"/>
                <a:gd name="T16" fmla="*/ 394 w 1002"/>
                <a:gd name="T17" fmla="*/ 113 h 1035"/>
                <a:gd name="T18" fmla="*/ 385 w 1002"/>
                <a:gd name="T19" fmla="*/ 148 h 1035"/>
                <a:gd name="T20" fmla="*/ 380 w 1002"/>
                <a:gd name="T21" fmla="*/ 194 h 1035"/>
                <a:gd name="T22" fmla="*/ 379 w 1002"/>
                <a:gd name="T23" fmla="*/ 252 h 1035"/>
                <a:gd name="T24" fmla="*/ 379 w 1002"/>
                <a:gd name="T25" fmla="*/ 756 h 1035"/>
                <a:gd name="T26" fmla="*/ 380 w 1002"/>
                <a:gd name="T27" fmla="*/ 814 h 1035"/>
                <a:gd name="T28" fmla="*/ 385 w 1002"/>
                <a:gd name="T29" fmla="*/ 860 h 1035"/>
                <a:gd name="T30" fmla="*/ 394 w 1002"/>
                <a:gd name="T31" fmla="*/ 896 h 1035"/>
                <a:gd name="T32" fmla="*/ 405 w 1002"/>
                <a:gd name="T33" fmla="*/ 915 h 1035"/>
                <a:gd name="T34" fmla="*/ 413 w 1002"/>
                <a:gd name="T35" fmla="*/ 927 h 1035"/>
                <a:gd name="T36" fmla="*/ 424 w 1002"/>
                <a:gd name="T37" fmla="*/ 936 h 1035"/>
                <a:gd name="T38" fmla="*/ 443 w 1002"/>
                <a:gd name="T39" fmla="*/ 946 h 1035"/>
                <a:gd name="T40" fmla="*/ 476 w 1002"/>
                <a:gd name="T41" fmla="*/ 954 h 1035"/>
                <a:gd name="T42" fmla="*/ 519 w 1002"/>
                <a:gd name="T43" fmla="*/ 957 h 1035"/>
                <a:gd name="T44" fmla="*/ 743 w 1002"/>
                <a:gd name="T45" fmla="*/ 957 h 1035"/>
                <a:gd name="T46" fmla="*/ 772 w 1002"/>
                <a:gd name="T47" fmla="*/ 957 h 1035"/>
                <a:gd name="T48" fmla="*/ 819 w 1002"/>
                <a:gd name="T49" fmla="*/ 953 h 1035"/>
                <a:gd name="T50" fmla="*/ 855 w 1002"/>
                <a:gd name="T51" fmla="*/ 946 h 1035"/>
                <a:gd name="T52" fmla="*/ 883 w 1002"/>
                <a:gd name="T53" fmla="*/ 934 h 1035"/>
                <a:gd name="T54" fmla="*/ 904 w 1002"/>
                <a:gd name="T55" fmla="*/ 917 h 1035"/>
                <a:gd name="T56" fmla="*/ 919 w 1002"/>
                <a:gd name="T57" fmla="*/ 897 h 1035"/>
                <a:gd name="T58" fmla="*/ 930 w 1002"/>
                <a:gd name="T59" fmla="*/ 872 h 1035"/>
                <a:gd name="T60" fmla="*/ 943 w 1002"/>
                <a:gd name="T61" fmla="*/ 826 h 1035"/>
                <a:gd name="T62" fmla="*/ 1002 w 1002"/>
                <a:gd name="T63" fmla="*/ 792 h 1035"/>
                <a:gd name="T64" fmla="*/ 0 w 1002"/>
                <a:gd name="T65" fmla="*/ 1035 h 1035"/>
                <a:gd name="T66" fmla="*/ 0 w 1002"/>
                <a:gd name="T67" fmla="*/ 985 h 1035"/>
                <a:gd name="T68" fmla="*/ 48 w 1002"/>
                <a:gd name="T69" fmla="*/ 984 h 1035"/>
                <a:gd name="T70" fmla="*/ 86 w 1002"/>
                <a:gd name="T71" fmla="*/ 978 h 1035"/>
                <a:gd name="T72" fmla="*/ 114 w 1002"/>
                <a:gd name="T73" fmla="*/ 966 h 1035"/>
                <a:gd name="T74" fmla="*/ 125 w 1002"/>
                <a:gd name="T75" fmla="*/ 958 h 1035"/>
                <a:gd name="T76" fmla="*/ 136 w 1002"/>
                <a:gd name="T77" fmla="*/ 949 h 1035"/>
                <a:gd name="T78" fmla="*/ 143 w 1002"/>
                <a:gd name="T79" fmla="*/ 937 h 1035"/>
                <a:gd name="T80" fmla="*/ 154 w 1002"/>
                <a:gd name="T81" fmla="*/ 906 h 1035"/>
                <a:gd name="T82" fmla="*/ 161 w 1002"/>
                <a:gd name="T83" fmla="*/ 866 h 1035"/>
                <a:gd name="T84" fmla="*/ 163 w 1002"/>
                <a:gd name="T85" fmla="*/ 814 h 1035"/>
                <a:gd name="T86" fmla="*/ 163 w 1002"/>
                <a:gd name="T87" fmla="*/ 252 h 1035"/>
                <a:gd name="T88" fmla="*/ 163 w 1002"/>
                <a:gd name="T89" fmla="*/ 221 h 1035"/>
                <a:gd name="T90" fmla="*/ 161 w 1002"/>
                <a:gd name="T91" fmla="*/ 169 h 1035"/>
                <a:gd name="T92" fmla="*/ 154 w 1002"/>
                <a:gd name="T93" fmla="*/ 129 h 1035"/>
                <a:gd name="T94" fmla="*/ 143 w 1002"/>
                <a:gd name="T95" fmla="*/ 98 h 1035"/>
                <a:gd name="T96" fmla="*/ 136 w 1002"/>
                <a:gd name="T97" fmla="*/ 86 h 1035"/>
                <a:gd name="T98" fmla="*/ 125 w 1002"/>
                <a:gd name="T99" fmla="*/ 77 h 1035"/>
                <a:gd name="T100" fmla="*/ 114 w 1002"/>
                <a:gd name="T101" fmla="*/ 69 h 1035"/>
                <a:gd name="T102" fmla="*/ 86 w 1002"/>
                <a:gd name="T103" fmla="*/ 58 h 1035"/>
                <a:gd name="T104" fmla="*/ 48 w 1002"/>
                <a:gd name="T105" fmla="*/ 51 h 1035"/>
                <a:gd name="T106" fmla="*/ 0 w 1002"/>
                <a:gd name="T107" fmla="*/ 5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2" h="1035">
                  <a:moveTo>
                    <a:pt x="0" y="50"/>
                  </a:moveTo>
                  <a:lnTo>
                    <a:pt x="0" y="0"/>
                  </a:lnTo>
                  <a:lnTo>
                    <a:pt x="545" y="0"/>
                  </a:lnTo>
                  <a:lnTo>
                    <a:pt x="545" y="50"/>
                  </a:lnTo>
                  <a:lnTo>
                    <a:pt x="545" y="50"/>
                  </a:lnTo>
                  <a:lnTo>
                    <a:pt x="519" y="50"/>
                  </a:lnTo>
                  <a:lnTo>
                    <a:pt x="497" y="51"/>
                  </a:lnTo>
                  <a:lnTo>
                    <a:pt x="476" y="54"/>
                  </a:lnTo>
                  <a:lnTo>
                    <a:pt x="459" y="58"/>
                  </a:lnTo>
                  <a:lnTo>
                    <a:pt x="443" y="63"/>
                  </a:lnTo>
                  <a:lnTo>
                    <a:pt x="429" y="69"/>
                  </a:lnTo>
                  <a:lnTo>
                    <a:pt x="424" y="73"/>
                  </a:lnTo>
                  <a:lnTo>
                    <a:pt x="418" y="77"/>
                  </a:lnTo>
                  <a:lnTo>
                    <a:pt x="413" y="81"/>
                  </a:lnTo>
                  <a:lnTo>
                    <a:pt x="409" y="86"/>
                  </a:lnTo>
                  <a:lnTo>
                    <a:pt x="405" y="92"/>
                  </a:lnTo>
                  <a:lnTo>
                    <a:pt x="400" y="98"/>
                  </a:lnTo>
                  <a:lnTo>
                    <a:pt x="394" y="113"/>
                  </a:lnTo>
                  <a:lnTo>
                    <a:pt x="389" y="129"/>
                  </a:lnTo>
                  <a:lnTo>
                    <a:pt x="385" y="148"/>
                  </a:lnTo>
                  <a:lnTo>
                    <a:pt x="382" y="169"/>
                  </a:lnTo>
                  <a:lnTo>
                    <a:pt x="380" y="194"/>
                  </a:lnTo>
                  <a:lnTo>
                    <a:pt x="379" y="221"/>
                  </a:lnTo>
                  <a:lnTo>
                    <a:pt x="379" y="252"/>
                  </a:lnTo>
                  <a:lnTo>
                    <a:pt x="379" y="756"/>
                  </a:lnTo>
                  <a:lnTo>
                    <a:pt x="379" y="756"/>
                  </a:lnTo>
                  <a:lnTo>
                    <a:pt x="379" y="787"/>
                  </a:lnTo>
                  <a:lnTo>
                    <a:pt x="380" y="814"/>
                  </a:lnTo>
                  <a:lnTo>
                    <a:pt x="382" y="839"/>
                  </a:lnTo>
                  <a:lnTo>
                    <a:pt x="385" y="860"/>
                  </a:lnTo>
                  <a:lnTo>
                    <a:pt x="389" y="879"/>
                  </a:lnTo>
                  <a:lnTo>
                    <a:pt x="394" y="896"/>
                  </a:lnTo>
                  <a:lnTo>
                    <a:pt x="400" y="909"/>
                  </a:lnTo>
                  <a:lnTo>
                    <a:pt x="405" y="915"/>
                  </a:lnTo>
                  <a:lnTo>
                    <a:pt x="409" y="921"/>
                  </a:lnTo>
                  <a:lnTo>
                    <a:pt x="413" y="927"/>
                  </a:lnTo>
                  <a:lnTo>
                    <a:pt x="418" y="932"/>
                  </a:lnTo>
                  <a:lnTo>
                    <a:pt x="424" y="936"/>
                  </a:lnTo>
                  <a:lnTo>
                    <a:pt x="429" y="939"/>
                  </a:lnTo>
                  <a:lnTo>
                    <a:pt x="443" y="946"/>
                  </a:lnTo>
                  <a:lnTo>
                    <a:pt x="459" y="950"/>
                  </a:lnTo>
                  <a:lnTo>
                    <a:pt x="476" y="954"/>
                  </a:lnTo>
                  <a:lnTo>
                    <a:pt x="497" y="956"/>
                  </a:lnTo>
                  <a:lnTo>
                    <a:pt x="519" y="957"/>
                  </a:lnTo>
                  <a:lnTo>
                    <a:pt x="545" y="957"/>
                  </a:lnTo>
                  <a:lnTo>
                    <a:pt x="743" y="957"/>
                  </a:lnTo>
                  <a:lnTo>
                    <a:pt x="743" y="957"/>
                  </a:lnTo>
                  <a:lnTo>
                    <a:pt x="772" y="957"/>
                  </a:lnTo>
                  <a:lnTo>
                    <a:pt x="796" y="955"/>
                  </a:lnTo>
                  <a:lnTo>
                    <a:pt x="819" y="953"/>
                  </a:lnTo>
                  <a:lnTo>
                    <a:pt x="838" y="950"/>
                  </a:lnTo>
                  <a:lnTo>
                    <a:pt x="855" y="946"/>
                  </a:lnTo>
                  <a:lnTo>
                    <a:pt x="871" y="940"/>
                  </a:lnTo>
                  <a:lnTo>
                    <a:pt x="883" y="934"/>
                  </a:lnTo>
                  <a:lnTo>
                    <a:pt x="894" y="927"/>
                  </a:lnTo>
                  <a:lnTo>
                    <a:pt x="904" y="917"/>
                  </a:lnTo>
                  <a:lnTo>
                    <a:pt x="912" y="908"/>
                  </a:lnTo>
                  <a:lnTo>
                    <a:pt x="919" y="897"/>
                  </a:lnTo>
                  <a:lnTo>
                    <a:pt x="925" y="886"/>
                  </a:lnTo>
                  <a:lnTo>
                    <a:pt x="930" y="872"/>
                  </a:lnTo>
                  <a:lnTo>
                    <a:pt x="935" y="858"/>
                  </a:lnTo>
                  <a:lnTo>
                    <a:pt x="943" y="826"/>
                  </a:lnTo>
                  <a:lnTo>
                    <a:pt x="952" y="792"/>
                  </a:lnTo>
                  <a:lnTo>
                    <a:pt x="1002" y="792"/>
                  </a:lnTo>
                  <a:lnTo>
                    <a:pt x="988" y="1035"/>
                  </a:lnTo>
                  <a:lnTo>
                    <a:pt x="0" y="1035"/>
                  </a:lnTo>
                  <a:lnTo>
                    <a:pt x="0" y="985"/>
                  </a:lnTo>
                  <a:lnTo>
                    <a:pt x="0" y="985"/>
                  </a:lnTo>
                  <a:lnTo>
                    <a:pt x="25" y="985"/>
                  </a:lnTo>
                  <a:lnTo>
                    <a:pt x="48" y="984"/>
                  </a:lnTo>
                  <a:lnTo>
                    <a:pt x="68" y="982"/>
                  </a:lnTo>
                  <a:lnTo>
                    <a:pt x="86" y="978"/>
                  </a:lnTo>
                  <a:lnTo>
                    <a:pt x="101" y="973"/>
                  </a:lnTo>
                  <a:lnTo>
                    <a:pt x="114" y="966"/>
                  </a:lnTo>
                  <a:lnTo>
                    <a:pt x="120" y="963"/>
                  </a:lnTo>
                  <a:lnTo>
                    <a:pt x="125"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5" y="77"/>
                  </a:lnTo>
                  <a:lnTo>
                    <a:pt x="120" y="73"/>
                  </a:lnTo>
                  <a:lnTo>
                    <a:pt x="114" y="69"/>
                  </a:lnTo>
                  <a:lnTo>
                    <a:pt x="101" y="63"/>
                  </a:lnTo>
                  <a:lnTo>
                    <a:pt x="86" y="58"/>
                  </a:lnTo>
                  <a:lnTo>
                    <a:pt x="68" y="54"/>
                  </a:lnTo>
                  <a:lnTo>
                    <a:pt x="48" y="51"/>
                  </a:lnTo>
                  <a:lnTo>
                    <a:pt x="25" y="50"/>
                  </a:lnTo>
                  <a:lnTo>
                    <a:pt x="0" y="50"/>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55" name="Freeform 8"/>
            <p:cNvSpPr>
              <a:spLocks/>
            </p:cNvSpPr>
            <p:nvPr userDrawn="1"/>
          </p:nvSpPr>
          <p:spPr bwMode="auto">
            <a:xfrm>
              <a:off x="7023345" y="633580"/>
              <a:ext cx="142875" cy="136525"/>
            </a:xfrm>
            <a:custGeom>
              <a:avLst/>
              <a:gdLst>
                <a:gd name="T0" fmla="*/ 1028 w 1078"/>
                <a:gd name="T1" fmla="*/ 244 h 1035"/>
                <a:gd name="T2" fmla="*/ 1019 w 1078"/>
                <a:gd name="T3" fmla="*/ 209 h 1035"/>
                <a:gd name="T4" fmla="*/ 1006 w 1078"/>
                <a:gd name="T5" fmla="*/ 163 h 1035"/>
                <a:gd name="T6" fmla="*/ 995 w 1078"/>
                <a:gd name="T7" fmla="*/ 138 h 1035"/>
                <a:gd name="T8" fmla="*/ 979 w 1078"/>
                <a:gd name="T9" fmla="*/ 118 h 1035"/>
                <a:gd name="T10" fmla="*/ 959 w 1078"/>
                <a:gd name="T11" fmla="*/ 101 h 1035"/>
                <a:gd name="T12" fmla="*/ 931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1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6 w 1078"/>
                <a:gd name="T39" fmla="*/ 985 h 1035"/>
                <a:gd name="T40" fmla="*/ 812 w 1078"/>
                <a:gd name="T41" fmla="*/ 1035 h 1035"/>
                <a:gd name="T42" fmla="*/ 267 w 1078"/>
                <a:gd name="T43" fmla="*/ 985 h 1035"/>
                <a:gd name="T44" fmla="*/ 292 w 1078"/>
                <a:gd name="T45" fmla="*/ 985 h 1035"/>
                <a:gd name="T46" fmla="*/ 335 w 1078"/>
                <a:gd name="T47" fmla="*/ 982 h 1035"/>
                <a:gd name="T48" fmla="*/ 368 w 1078"/>
                <a:gd name="T49" fmla="*/ 973 h 1035"/>
                <a:gd name="T50" fmla="*/ 387 w 1078"/>
                <a:gd name="T51" fmla="*/ 963 h 1035"/>
                <a:gd name="T52" fmla="*/ 398 w 1078"/>
                <a:gd name="T53" fmla="*/ 954 h 1035"/>
                <a:gd name="T54" fmla="*/ 407 w 1078"/>
                <a:gd name="T55" fmla="*/ 943 h 1035"/>
                <a:gd name="T56" fmla="*/ 417 w 1078"/>
                <a:gd name="T57" fmla="*/ 923 h 1035"/>
                <a:gd name="T58" fmla="*/ 425 w 1078"/>
                <a:gd name="T59" fmla="*/ 888 h 1035"/>
                <a:gd name="T60" fmla="*/ 429 w 1078"/>
                <a:gd name="T61" fmla="*/ 842 h 1035"/>
                <a:gd name="T62" fmla="*/ 431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4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19" y="209"/>
                  </a:lnTo>
                  <a:lnTo>
                    <a:pt x="1019" y="209"/>
                  </a:lnTo>
                  <a:lnTo>
                    <a:pt x="1011" y="177"/>
                  </a:lnTo>
                  <a:lnTo>
                    <a:pt x="1006" y="163"/>
                  </a:lnTo>
                  <a:lnTo>
                    <a:pt x="1001" y="150"/>
                  </a:lnTo>
                  <a:lnTo>
                    <a:pt x="995" y="138"/>
                  </a:lnTo>
                  <a:lnTo>
                    <a:pt x="988" y="127"/>
                  </a:lnTo>
                  <a:lnTo>
                    <a:pt x="979" y="118"/>
                  </a:lnTo>
                  <a:lnTo>
                    <a:pt x="970" y="109"/>
                  </a:lnTo>
                  <a:lnTo>
                    <a:pt x="959" y="101"/>
                  </a:lnTo>
                  <a:lnTo>
                    <a:pt x="946" y="95"/>
                  </a:lnTo>
                  <a:lnTo>
                    <a:pt x="931"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6" y="906"/>
                  </a:lnTo>
                  <a:lnTo>
                    <a:pt x="661"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6" y="985"/>
                  </a:lnTo>
                  <a:lnTo>
                    <a:pt x="812" y="985"/>
                  </a:lnTo>
                  <a:lnTo>
                    <a:pt x="812" y="1035"/>
                  </a:lnTo>
                  <a:lnTo>
                    <a:pt x="267" y="1035"/>
                  </a:lnTo>
                  <a:lnTo>
                    <a:pt x="267" y="985"/>
                  </a:lnTo>
                  <a:lnTo>
                    <a:pt x="267" y="985"/>
                  </a:lnTo>
                  <a:lnTo>
                    <a:pt x="292" y="985"/>
                  </a:lnTo>
                  <a:lnTo>
                    <a:pt x="315" y="984"/>
                  </a:lnTo>
                  <a:lnTo>
                    <a:pt x="335" y="982"/>
                  </a:lnTo>
                  <a:lnTo>
                    <a:pt x="353" y="978"/>
                  </a:lnTo>
                  <a:lnTo>
                    <a:pt x="368" y="973"/>
                  </a:lnTo>
                  <a:lnTo>
                    <a:pt x="381" y="966"/>
                  </a:lnTo>
                  <a:lnTo>
                    <a:pt x="387" y="963"/>
                  </a:lnTo>
                  <a:lnTo>
                    <a:pt x="394" y="958"/>
                  </a:lnTo>
                  <a:lnTo>
                    <a:pt x="398" y="954"/>
                  </a:lnTo>
                  <a:lnTo>
                    <a:pt x="403" y="949"/>
                  </a:lnTo>
                  <a:lnTo>
                    <a:pt x="407" y="943"/>
                  </a:lnTo>
                  <a:lnTo>
                    <a:pt x="411" y="937"/>
                  </a:lnTo>
                  <a:lnTo>
                    <a:pt x="417" y="923"/>
                  </a:lnTo>
                  <a:lnTo>
                    <a:pt x="422" y="906"/>
                  </a:lnTo>
                  <a:lnTo>
                    <a:pt x="425" y="888"/>
                  </a:lnTo>
                  <a:lnTo>
                    <a:pt x="428" y="866"/>
                  </a:lnTo>
                  <a:lnTo>
                    <a:pt x="429" y="842"/>
                  </a:lnTo>
                  <a:lnTo>
                    <a:pt x="430" y="814"/>
                  </a:lnTo>
                  <a:lnTo>
                    <a:pt x="431" y="783"/>
                  </a:lnTo>
                  <a:lnTo>
                    <a:pt x="431" y="78"/>
                  </a:lnTo>
                  <a:lnTo>
                    <a:pt x="259" y="78"/>
                  </a:lnTo>
                  <a:lnTo>
                    <a:pt x="259" y="78"/>
                  </a:lnTo>
                  <a:lnTo>
                    <a:pt x="231" y="78"/>
                  </a:lnTo>
                  <a:lnTo>
                    <a:pt x="205" y="80"/>
                  </a:lnTo>
                  <a:lnTo>
                    <a:pt x="184" y="82"/>
                  </a:lnTo>
                  <a:lnTo>
                    <a:pt x="165" y="85"/>
                  </a:lnTo>
                  <a:lnTo>
                    <a:pt x="147" y="90"/>
                  </a:lnTo>
                  <a:lnTo>
                    <a:pt x="133" y="95"/>
                  </a:lnTo>
                  <a:lnTo>
                    <a:pt x="120" y="101"/>
                  </a:lnTo>
                  <a:lnTo>
                    <a:pt x="108" y="109"/>
                  </a:lnTo>
                  <a:lnTo>
                    <a:pt x="99" y="118"/>
                  </a:lnTo>
                  <a:lnTo>
                    <a:pt x="91" y="127"/>
                  </a:lnTo>
                  <a:lnTo>
                    <a:pt x="85" y="138"/>
                  </a:lnTo>
                  <a:lnTo>
                    <a:pt x="79" y="150"/>
                  </a:lnTo>
                  <a:lnTo>
                    <a:pt x="74" y="163"/>
                  </a:lnTo>
                  <a:lnTo>
                    <a:pt x="68" y="177"/>
                  </a:lnTo>
                  <a:lnTo>
                    <a:pt x="60" y="209"/>
                  </a:lnTo>
                  <a:lnTo>
                    <a:pt x="51" y="244"/>
                  </a:lnTo>
                  <a:lnTo>
                    <a:pt x="0" y="244"/>
                  </a:lnTo>
                  <a:lnTo>
                    <a:pt x="15" y="0"/>
                  </a:lnTo>
                  <a:lnTo>
                    <a:pt x="1064" y="0"/>
                  </a:lnTo>
                  <a:lnTo>
                    <a:pt x="1078" y="2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56" name="Freeform 9"/>
            <p:cNvSpPr>
              <a:spLocks/>
            </p:cNvSpPr>
            <p:nvPr userDrawn="1"/>
          </p:nvSpPr>
          <p:spPr bwMode="auto">
            <a:xfrm>
              <a:off x="7193208" y="633580"/>
              <a:ext cx="73026" cy="136525"/>
            </a:xfrm>
            <a:custGeom>
              <a:avLst/>
              <a:gdLst>
                <a:gd name="T0" fmla="*/ 0 w 545"/>
                <a:gd name="T1" fmla="*/ 985 h 1035"/>
                <a:gd name="T2" fmla="*/ 26 w 545"/>
                <a:gd name="T3" fmla="*/ 985 h 1035"/>
                <a:gd name="T4" fmla="*/ 69 w 545"/>
                <a:gd name="T5" fmla="*/ 982 h 1035"/>
                <a:gd name="T6" fmla="*/ 102 w 545"/>
                <a:gd name="T7" fmla="*/ 973 h 1035"/>
                <a:gd name="T8" fmla="*/ 121 w 545"/>
                <a:gd name="T9" fmla="*/ 963 h 1035"/>
                <a:gd name="T10" fmla="*/ 131 w 545"/>
                <a:gd name="T11" fmla="*/ 954 h 1035"/>
                <a:gd name="T12" fmla="*/ 140 w 545"/>
                <a:gd name="T13" fmla="*/ 943 h 1035"/>
                <a:gd name="T14" fmla="*/ 151 w 545"/>
                <a:gd name="T15" fmla="*/ 923 h 1035"/>
                <a:gd name="T16" fmla="*/ 159 w 545"/>
                <a:gd name="T17" fmla="*/ 888 h 1035"/>
                <a:gd name="T18" fmla="*/ 163 w 545"/>
                <a:gd name="T19" fmla="*/ 842 h 1035"/>
                <a:gd name="T20" fmla="*/ 164 w 545"/>
                <a:gd name="T21" fmla="*/ 783 h 1035"/>
                <a:gd name="T22" fmla="*/ 164 w 545"/>
                <a:gd name="T23" fmla="*/ 252 h 1035"/>
                <a:gd name="T24" fmla="*/ 163 w 545"/>
                <a:gd name="T25" fmla="*/ 194 h 1035"/>
                <a:gd name="T26" fmla="*/ 159 w 545"/>
                <a:gd name="T27" fmla="*/ 148 h 1035"/>
                <a:gd name="T28" fmla="*/ 151 w 545"/>
                <a:gd name="T29" fmla="*/ 113 h 1035"/>
                <a:gd name="T30" fmla="*/ 140 w 545"/>
                <a:gd name="T31" fmla="*/ 92 h 1035"/>
                <a:gd name="T32" fmla="*/ 131 w 545"/>
                <a:gd name="T33" fmla="*/ 81 h 1035"/>
                <a:gd name="T34" fmla="*/ 121 w 545"/>
                <a:gd name="T35" fmla="*/ 73 h 1035"/>
                <a:gd name="T36" fmla="*/ 102 w 545"/>
                <a:gd name="T37" fmla="*/ 63 h 1035"/>
                <a:gd name="T38" fmla="*/ 69 w 545"/>
                <a:gd name="T39" fmla="*/ 54 h 1035"/>
                <a:gd name="T40" fmla="*/ 26 w 545"/>
                <a:gd name="T41" fmla="*/ 50 h 1035"/>
                <a:gd name="T42" fmla="*/ 0 w 545"/>
                <a:gd name="T43" fmla="*/ 0 h 1035"/>
                <a:gd name="T44" fmla="*/ 545 w 545"/>
                <a:gd name="T45" fmla="*/ 50 h 1035"/>
                <a:gd name="T46" fmla="*/ 520 w 545"/>
                <a:gd name="T47" fmla="*/ 50 h 1035"/>
                <a:gd name="T48" fmla="*/ 477 w 545"/>
                <a:gd name="T49" fmla="*/ 54 h 1035"/>
                <a:gd name="T50" fmla="*/ 444 w 545"/>
                <a:gd name="T51" fmla="*/ 63 h 1035"/>
                <a:gd name="T52" fmla="*/ 425 w 545"/>
                <a:gd name="T53" fmla="*/ 73 h 1035"/>
                <a:gd name="T54" fmla="*/ 413 w 545"/>
                <a:gd name="T55" fmla="*/ 81 h 1035"/>
                <a:gd name="T56" fmla="*/ 405 w 545"/>
                <a:gd name="T57" fmla="*/ 92 h 1035"/>
                <a:gd name="T58" fmla="*/ 395 w 545"/>
                <a:gd name="T59" fmla="*/ 113 h 1035"/>
                <a:gd name="T60" fmla="*/ 386 w 545"/>
                <a:gd name="T61" fmla="*/ 148 h 1035"/>
                <a:gd name="T62" fmla="*/ 381 w 545"/>
                <a:gd name="T63" fmla="*/ 194 h 1035"/>
                <a:gd name="T64" fmla="*/ 380 w 545"/>
                <a:gd name="T65" fmla="*/ 252 h 1035"/>
                <a:gd name="T66" fmla="*/ 380 w 545"/>
                <a:gd name="T67" fmla="*/ 783 h 1035"/>
                <a:gd name="T68" fmla="*/ 381 w 545"/>
                <a:gd name="T69" fmla="*/ 842 h 1035"/>
                <a:gd name="T70" fmla="*/ 386 w 545"/>
                <a:gd name="T71" fmla="*/ 888 h 1035"/>
                <a:gd name="T72" fmla="*/ 395 w 545"/>
                <a:gd name="T73" fmla="*/ 923 h 1035"/>
                <a:gd name="T74" fmla="*/ 405 w 545"/>
                <a:gd name="T75" fmla="*/ 943 h 1035"/>
                <a:gd name="T76" fmla="*/ 413 w 545"/>
                <a:gd name="T77" fmla="*/ 954 h 1035"/>
                <a:gd name="T78" fmla="*/ 425 w 545"/>
                <a:gd name="T79" fmla="*/ 963 h 1035"/>
                <a:gd name="T80" fmla="*/ 444 w 545"/>
                <a:gd name="T81" fmla="*/ 973 h 1035"/>
                <a:gd name="T82" fmla="*/ 477 w 545"/>
                <a:gd name="T83" fmla="*/ 982 h 1035"/>
                <a:gd name="T84" fmla="*/ 520 w 545"/>
                <a:gd name="T85" fmla="*/ 985 h 1035"/>
                <a:gd name="T86" fmla="*/ 545 w 545"/>
                <a:gd name="T87"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5" h="1035">
                  <a:moveTo>
                    <a:pt x="0" y="1035"/>
                  </a:moveTo>
                  <a:lnTo>
                    <a:pt x="0" y="985"/>
                  </a:lnTo>
                  <a:lnTo>
                    <a:pt x="0" y="985"/>
                  </a:lnTo>
                  <a:lnTo>
                    <a:pt x="26" y="985"/>
                  </a:lnTo>
                  <a:lnTo>
                    <a:pt x="48" y="984"/>
                  </a:lnTo>
                  <a:lnTo>
                    <a:pt x="69" y="982"/>
                  </a:lnTo>
                  <a:lnTo>
                    <a:pt x="86" y="978"/>
                  </a:lnTo>
                  <a:lnTo>
                    <a:pt x="102" y="973"/>
                  </a:lnTo>
                  <a:lnTo>
                    <a:pt x="115" y="966"/>
                  </a:lnTo>
                  <a:lnTo>
                    <a:pt x="121" y="963"/>
                  </a:lnTo>
                  <a:lnTo>
                    <a:pt x="126" y="958"/>
                  </a:lnTo>
                  <a:lnTo>
                    <a:pt x="131" y="954"/>
                  </a:lnTo>
                  <a:lnTo>
                    <a:pt x="136" y="949"/>
                  </a:lnTo>
                  <a:lnTo>
                    <a:pt x="140" y="943"/>
                  </a:lnTo>
                  <a:lnTo>
                    <a:pt x="143" y="937"/>
                  </a:lnTo>
                  <a:lnTo>
                    <a:pt x="151" y="923"/>
                  </a:lnTo>
                  <a:lnTo>
                    <a:pt x="155" y="906"/>
                  </a:lnTo>
                  <a:lnTo>
                    <a:pt x="159" y="888"/>
                  </a:lnTo>
                  <a:lnTo>
                    <a:pt x="162" y="866"/>
                  </a:lnTo>
                  <a:lnTo>
                    <a:pt x="163" y="842"/>
                  </a:lnTo>
                  <a:lnTo>
                    <a:pt x="164" y="814"/>
                  </a:lnTo>
                  <a:lnTo>
                    <a:pt x="164" y="783"/>
                  </a:lnTo>
                  <a:lnTo>
                    <a:pt x="164" y="252"/>
                  </a:lnTo>
                  <a:lnTo>
                    <a:pt x="164" y="252"/>
                  </a:lnTo>
                  <a:lnTo>
                    <a:pt x="164" y="221"/>
                  </a:lnTo>
                  <a:lnTo>
                    <a:pt x="163" y="194"/>
                  </a:lnTo>
                  <a:lnTo>
                    <a:pt x="162" y="169"/>
                  </a:lnTo>
                  <a:lnTo>
                    <a:pt x="159" y="148"/>
                  </a:lnTo>
                  <a:lnTo>
                    <a:pt x="155" y="129"/>
                  </a:lnTo>
                  <a:lnTo>
                    <a:pt x="151" y="113"/>
                  </a:lnTo>
                  <a:lnTo>
                    <a:pt x="143" y="98"/>
                  </a:lnTo>
                  <a:lnTo>
                    <a:pt x="140" y="92"/>
                  </a:lnTo>
                  <a:lnTo>
                    <a:pt x="136" y="86"/>
                  </a:lnTo>
                  <a:lnTo>
                    <a:pt x="131" y="81"/>
                  </a:lnTo>
                  <a:lnTo>
                    <a:pt x="126" y="77"/>
                  </a:lnTo>
                  <a:lnTo>
                    <a:pt x="121" y="73"/>
                  </a:lnTo>
                  <a:lnTo>
                    <a:pt x="115" y="69"/>
                  </a:lnTo>
                  <a:lnTo>
                    <a:pt x="102" y="63"/>
                  </a:lnTo>
                  <a:lnTo>
                    <a:pt x="86" y="58"/>
                  </a:lnTo>
                  <a:lnTo>
                    <a:pt x="69" y="54"/>
                  </a:lnTo>
                  <a:lnTo>
                    <a:pt x="48" y="51"/>
                  </a:lnTo>
                  <a:lnTo>
                    <a:pt x="26" y="50"/>
                  </a:lnTo>
                  <a:lnTo>
                    <a:pt x="0" y="50"/>
                  </a:lnTo>
                  <a:lnTo>
                    <a:pt x="0" y="0"/>
                  </a:lnTo>
                  <a:lnTo>
                    <a:pt x="545" y="0"/>
                  </a:lnTo>
                  <a:lnTo>
                    <a:pt x="545" y="50"/>
                  </a:lnTo>
                  <a:lnTo>
                    <a:pt x="545" y="50"/>
                  </a:lnTo>
                  <a:lnTo>
                    <a:pt x="520" y="50"/>
                  </a:lnTo>
                  <a:lnTo>
                    <a:pt x="497" y="51"/>
                  </a:lnTo>
                  <a:lnTo>
                    <a:pt x="477" y="54"/>
                  </a:lnTo>
                  <a:lnTo>
                    <a:pt x="459" y="58"/>
                  </a:lnTo>
                  <a:lnTo>
                    <a:pt x="444" y="63"/>
                  </a:lnTo>
                  <a:lnTo>
                    <a:pt x="430" y="69"/>
                  </a:lnTo>
                  <a:lnTo>
                    <a:pt x="425" y="73"/>
                  </a:lnTo>
                  <a:lnTo>
                    <a:pt x="418" y="77"/>
                  </a:lnTo>
                  <a:lnTo>
                    <a:pt x="413" y="81"/>
                  </a:lnTo>
                  <a:lnTo>
                    <a:pt x="409" y="86"/>
                  </a:lnTo>
                  <a:lnTo>
                    <a:pt x="405" y="92"/>
                  </a:lnTo>
                  <a:lnTo>
                    <a:pt x="401" y="98"/>
                  </a:lnTo>
                  <a:lnTo>
                    <a:pt x="395" y="113"/>
                  </a:lnTo>
                  <a:lnTo>
                    <a:pt x="390" y="129"/>
                  </a:lnTo>
                  <a:lnTo>
                    <a:pt x="386" y="148"/>
                  </a:lnTo>
                  <a:lnTo>
                    <a:pt x="383" y="169"/>
                  </a:lnTo>
                  <a:lnTo>
                    <a:pt x="381" y="194"/>
                  </a:lnTo>
                  <a:lnTo>
                    <a:pt x="380" y="221"/>
                  </a:lnTo>
                  <a:lnTo>
                    <a:pt x="380" y="252"/>
                  </a:lnTo>
                  <a:lnTo>
                    <a:pt x="380" y="783"/>
                  </a:lnTo>
                  <a:lnTo>
                    <a:pt x="380" y="783"/>
                  </a:lnTo>
                  <a:lnTo>
                    <a:pt x="380" y="814"/>
                  </a:lnTo>
                  <a:lnTo>
                    <a:pt x="381" y="842"/>
                  </a:lnTo>
                  <a:lnTo>
                    <a:pt x="383" y="866"/>
                  </a:lnTo>
                  <a:lnTo>
                    <a:pt x="386" y="888"/>
                  </a:lnTo>
                  <a:lnTo>
                    <a:pt x="390" y="906"/>
                  </a:lnTo>
                  <a:lnTo>
                    <a:pt x="395" y="923"/>
                  </a:lnTo>
                  <a:lnTo>
                    <a:pt x="401" y="937"/>
                  </a:lnTo>
                  <a:lnTo>
                    <a:pt x="405" y="943"/>
                  </a:lnTo>
                  <a:lnTo>
                    <a:pt x="409" y="949"/>
                  </a:lnTo>
                  <a:lnTo>
                    <a:pt x="413" y="954"/>
                  </a:lnTo>
                  <a:lnTo>
                    <a:pt x="418" y="958"/>
                  </a:lnTo>
                  <a:lnTo>
                    <a:pt x="425" y="963"/>
                  </a:lnTo>
                  <a:lnTo>
                    <a:pt x="430" y="966"/>
                  </a:lnTo>
                  <a:lnTo>
                    <a:pt x="444" y="973"/>
                  </a:lnTo>
                  <a:lnTo>
                    <a:pt x="459" y="978"/>
                  </a:lnTo>
                  <a:lnTo>
                    <a:pt x="477" y="982"/>
                  </a:lnTo>
                  <a:lnTo>
                    <a:pt x="497" y="984"/>
                  </a:lnTo>
                  <a:lnTo>
                    <a:pt x="520" y="985"/>
                  </a:lnTo>
                  <a:lnTo>
                    <a:pt x="545" y="985"/>
                  </a:lnTo>
                  <a:lnTo>
                    <a:pt x="545" y="1035"/>
                  </a:lnTo>
                  <a:lnTo>
                    <a:pt x="0" y="10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57" name="Freeform 10"/>
            <p:cNvSpPr>
              <a:spLocks noEditPoints="1"/>
            </p:cNvSpPr>
            <p:nvPr userDrawn="1"/>
          </p:nvSpPr>
          <p:spPr bwMode="auto">
            <a:xfrm>
              <a:off x="7301158" y="630404"/>
              <a:ext cx="152400" cy="144463"/>
            </a:xfrm>
            <a:custGeom>
              <a:avLst/>
              <a:gdLst>
                <a:gd name="T0" fmla="*/ 489 w 1152"/>
                <a:gd name="T1" fmla="*/ 1087 h 1094"/>
                <a:gd name="T2" fmla="*/ 353 w 1152"/>
                <a:gd name="T3" fmla="*/ 1051 h 1094"/>
                <a:gd name="T4" fmla="*/ 232 w 1152"/>
                <a:gd name="T5" fmla="*/ 984 h 1094"/>
                <a:gd name="T6" fmla="*/ 132 w 1152"/>
                <a:gd name="T7" fmla="*/ 894 h 1094"/>
                <a:gd name="T8" fmla="*/ 57 w 1152"/>
                <a:gd name="T9" fmla="*/ 783 h 1094"/>
                <a:gd name="T10" fmla="*/ 12 w 1152"/>
                <a:gd name="T11" fmla="*/ 656 h 1094"/>
                <a:gd name="T12" fmla="*/ 0 w 1152"/>
                <a:gd name="T13" fmla="*/ 547 h 1094"/>
                <a:gd name="T14" fmla="*/ 19 w 1152"/>
                <a:gd name="T15" fmla="*/ 411 h 1094"/>
                <a:gd name="T16" fmla="*/ 70 w 1152"/>
                <a:gd name="T17" fmla="*/ 287 h 1094"/>
                <a:gd name="T18" fmla="*/ 151 w 1152"/>
                <a:gd name="T19" fmla="*/ 180 h 1094"/>
                <a:gd name="T20" fmla="*/ 255 w 1152"/>
                <a:gd name="T21" fmla="*/ 94 h 1094"/>
                <a:gd name="T22" fmla="*/ 379 w 1152"/>
                <a:gd name="T23" fmla="*/ 33 h 1094"/>
                <a:gd name="T24" fmla="*/ 518 w 1152"/>
                <a:gd name="T25" fmla="*/ 3 h 1094"/>
                <a:gd name="T26" fmla="*/ 635 w 1152"/>
                <a:gd name="T27" fmla="*/ 3 h 1094"/>
                <a:gd name="T28" fmla="*/ 773 w 1152"/>
                <a:gd name="T29" fmla="*/ 33 h 1094"/>
                <a:gd name="T30" fmla="*/ 897 w 1152"/>
                <a:gd name="T31" fmla="*/ 94 h 1094"/>
                <a:gd name="T32" fmla="*/ 1001 w 1152"/>
                <a:gd name="T33" fmla="*/ 180 h 1094"/>
                <a:gd name="T34" fmla="*/ 1082 w 1152"/>
                <a:gd name="T35" fmla="*/ 287 h 1094"/>
                <a:gd name="T36" fmla="*/ 1133 w 1152"/>
                <a:gd name="T37" fmla="*/ 411 h 1094"/>
                <a:gd name="T38" fmla="*/ 1152 w 1152"/>
                <a:gd name="T39" fmla="*/ 547 h 1094"/>
                <a:gd name="T40" fmla="*/ 1139 w 1152"/>
                <a:gd name="T41" fmla="*/ 656 h 1094"/>
                <a:gd name="T42" fmla="*/ 1094 w 1152"/>
                <a:gd name="T43" fmla="*/ 783 h 1094"/>
                <a:gd name="T44" fmla="*/ 1020 w 1152"/>
                <a:gd name="T45" fmla="*/ 894 h 1094"/>
                <a:gd name="T46" fmla="*/ 919 w 1152"/>
                <a:gd name="T47" fmla="*/ 984 h 1094"/>
                <a:gd name="T48" fmla="*/ 800 w 1152"/>
                <a:gd name="T49" fmla="*/ 1051 h 1094"/>
                <a:gd name="T50" fmla="*/ 664 w 1152"/>
                <a:gd name="T51" fmla="*/ 1087 h 1094"/>
                <a:gd name="T52" fmla="*/ 577 w 1152"/>
                <a:gd name="T53" fmla="*/ 82 h 1094"/>
                <a:gd name="T54" fmla="*/ 492 w 1152"/>
                <a:gd name="T55" fmla="*/ 94 h 1094"/>
                <a:gd name="T56" fmla="*/ 404 w 1152"/>
                <a:gd name="T57" fmla="*/ 137 h 1094"/>
                <a:gd name="T58" fmla="*/ 336 w 1152"/>
                <a:gd name="T59" fmla="*/ 204 h 1094"/>
                <a:gd name="T60" fmla="*/ 285 w 1152"/>
                <a:gd name="T61" fmla="*/ 290 h 1094"/>
                <a:gd name="T62" fmla="*/ 253 w 1152"/>
                <a:gd name="T63" fmla="*/ 386 h 1094"/>
                <a:gd name="T64" fmla="*/ 234 w 1152"/>
                <a:gd name="T65" fmla="*/ 507 h 1094"/>
                <a:gd name="T66" fmla="*/ 240 w 1152"/>
                <a:gd name="T67" fmla="*/ 647 h 1094"/>
                <a:gd name="T68" fmla="*/ 264 w 1152"/>
                <a:gd name="T69" fmla="*/ 747 h 1094"/>
                <a:gd name="T70" fmla="*/ 303 w 1152"/>
                <a:gd name="T71" fmla="*/ 840 h 1094"/>
                <a:gd name="T72" fmla="*/ 360 w 1152"/>
                <a:gd name="T73" fmla="*/ 919 h 1094"/>
                <a:gd name="T74" fmla="*/ 437 w 1152"/>
                <a:gd name="T75" fmla="*/ 977 h 1094"/>
                <a:gd name="T76" fmla="*/ 533 w 1152"/>
                <a:gd name="T77" fmla="*/ 1008 h 1094"/>
                <a:gd name="T78" fmla="*/ 621 w 1152"/>
                <a:gd name="T79" fmla="*/ 1008 h 1094"/>
                <a:gd name="T80" fmla="*/ 716 w 1152"/>
                <a:gd name="T81" fmla="*/ 977 h 1094"/>
                <a:gd name="T82" fmla="*/ 793 w 1152"/>
                <a:gd name="T83" fmla="*/ 919 h 1094"/>
                <a:gd name="T84" fmla="*/ 850 w 1152"/>
                <a:gd name="T85" fmla="*/ 840 h 1094"/>
                <a:gd name="T86" fmla="*/ 890 w 1152"/>
                <a:gd name="T87" fmla="*/ 747 h 1094"/>
                <a:gd name="T88" fmla="*/ 912 w 1152"/>
                <a:gd name="T89" fmla="*/ 647 h 1094"/>
                <a:gd name="T90" fmla="*/ 918 w 1152"/>
                <a:gd name="T91" fmla="*/ 507 h 1094"/>
                <a:gd name="T92" fmla="*/ 901 w 1152"/>
                <a:gd name="T93" fmla="*/ 386 h 1094"/>
                <a:gd name="T94" fmla="*/ 867 w 1152"/>
                <a:gd name="T95" fmla="*/ 290 h 1094"/>
                <a:gd name="T96" fmla="*/ 817 w 1152"/>
                <a:gd name="T97" fmla="*/ 204 h 1094"/>
                <a:gd name="T98" fmla="*/ 749 w 1152"/>
                <a:gd name="T99" fmla="*/ 137 h 1094"/>
                <a:gd name="T100" fmla="*/ 662 w 1152"/>
                <a:gd name="T101" fmla="*/ 94 h 1094"/>
                <a:gd name="T102" fmla="*/ 577 w 1152"/>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2" h="1094">
                  <a:moveTo>
                    <a:pt x="577" y="1094"/>
                  </a:moveTo>
                  <a:lnTo>
                    <a:pt x="577" y="1094"/>
                  </a:lnTo>
                  <a:lnTo>
                    <a:pt x="547" y="1093"/>
                  </a:lnTo>
                  <a:lnTo>
                    <a:pt x="518" y="1091"/>
                  </a:lnTo>
                  <a:lnTo>
                    <a:pt x="489" y="1087"/>
                  </a:lnTo>
                  <a:lnTo>
                    <a:pt x="460" y="1082"/>
                  </a:lnTo>
                  <a:lnTo>
                    <a:pt x="433" y="1076"/>
                  </a:lnTo>
                  <a:lnTo>
                    <a:pt x="406" y="1069"/>
                  </a:lnTo>
                  <a:lnTo>
                    <a:pt x="379" y="1060"/>
                  </a:lnTo>
                  <a:lnTo>
                    <a:pt x="353" y="1051"/>
                  </a:lnTo>
                  <a:lnTo>
                    <a:pt x="327" y="1039"/>
                  </a:lnTo>
                  <a:lnTo>
                    <a:pt x="303" y="1027"/>
                  </a:lnTo>
                  <a:lnTo>
                    <a:pt x="278" y="1014"/>
                  </a:lnTo>
                  <a:lnTo>
                    <a:pt x="255" y="1000"/>
                  </a:lnTo>
                  <a:lnTo>
                    <a:pt x="232" y="984"/>
                  </a:lnTo>
                  <a:lnTo>
                    <a:pt x="211" y="968"/>
                  </a:lnTo>
                  <a:lnTo>
                    <a:pt x="189" y="950"/>
                  </a:lnTo>
                  <a:lnTo>
                    <a:pt x="170" y="933"/>
                  </a:lnTo>
                  <a:lnTo>
                    <a:pt x="151" y="914"/>
                  </a:lnTo>
                  <a:lnTo>
                    <a:pt x="132" y="894"/>
                  </a:lnTo>
                  <a:lnTo>
                    <a:pt x="115" y="873"/>
                  </a:lnTo>
                  <a:lnTo>
                    <a:pt x="99" y="851"/>
                  </a:lnTo>
                  <a:lnTo>
                    <a:pt x="84" y="830"/>
                  </a:lnTo>
                  <a:lnTo>
                    <a:pt x="70" y="806"/>
                  </a:lnTo>
                  <a:lnTo>
                    <a:pt x="57" y="783"/>
                  </a:lnTo>
                  <a:lnTo>
                    <a:pt x="46" y="758"/>
                  </a:lnTo>
                  <a:lnTo>
                    <a:pt x="36" y="734"/>
                  </a:lnTo>
                  <a:lnTo>
                    <a:pt x="27" y="708"/>
                  </a:lnTo>
                  <a:lnTo>
                    <a:pt x="19" y="683"/>
                  </a:lnTo>
                  <a:lnTo>
                    <a:pt x="12" y="656"/>
                  </a:lnTo>
                  <a:lnTo>
                    <a:pt x="7" y="629"/>
                  </a:lnTo>
                  <a:lnTo>
                    <a:pt x="3" y="602"/>
                  </a:lnTo>
                  <a:lnTo>
                    <a:pt x="1" y="574"/>
                  </a:lnTo>
                  <a:lnTo>
                    <a:pt x="0" y="547"/>
                  </a:lnTo>
                  <a:lnTo>
                    <a:pt x="0" y="547"/>
                  </a:lnTo>
                  <a:lnTo>
                    <a:pt x="1" y="519"/>
                  </a:lnTo>
                  <a:lnTo>
                    <a:pt x="3" y="491"/>
                  </a:lnTo>
                  <a:lnTo>
                    <a:pt x="7" y="464"/>
                  </a:lnTo>
                  <a:lnTo>
                    <a:pt x="12" y="437"/>
                  </a:lnTo>
                  <a:lnTo>
                    <a:pt x="19" y="411"/>
                  </a:lnTo>
                  <a:lnTo>
                    <a:pt x="27" y="385"/>
                  </a:lnTo>
                  <a:lnTo>
                    <a:pt x="36" y="360"/>
                  </a:lnTo>
                  <a:lnTo>
                    <a:pt x="46" y="335"/>
                  </a:lnTo>
                  <a:lnTo>
                    <a:pt x="57" y="310"/>
                  </a:lnTo>
                  <a:lnTo>
                    <a:pt x="70" y="287"/>
                  </a:lnTo>
                  <a:lnTo>
                    <a:pt x="84" y="264"/>
                  </a:lnTo>
                  <a:lnTo>
                    <a:pt x="99" y="242"/>
                  </a:lnTo>
                  <a:lnTo>
                    <a:pt x="115" y="220"/>
                  </a:lnTo>
                  <a:lnTo>
                    <a:pt x="132" y="200"/>
                  </a:lnTo>
                  <a:lnTo>
                    <a:pt x="151" y="180"/>
                  </a:lnTo>
                  <a:lnTo>
                    <a:pt x="170" y="161"/>
                  </a:lnTo>
                  <a:lnTo>
                    <a:pt x="189" y="143"/>
                  </a:lnTo>
                  <a:lnTo>
                    <a:pt x="211" y="125"/>
                  </a:lnTo>
                  <a:lnTo>
                    <a:pt x="232" y="109"/>
                  </a:lnTo>
                  <a:lnTo>
                    <a:pt x="255" y="94"/>
                  </a:lnTo>
                  <a:lnTo>
                    <a:pt x="278" y="79"/>
                  </a:lnTo>
                  <a:lnTo>
                    <a:pt x="303" y="66"/>
                  </a:lnTo>
                  <a:lnTo>
                    <a:pt x="327" y="54"/>
                  </a:lnTo>
                  <a:lnTo>
                    <a:pt x="353" y="44"/>
                  </a:lnTo>
                  <a:lnTo>
                    <a:pt x="379" y="33"/>
                  </a:lnTo>
                  <a:lnTo>
                    <a:pt x="406" y="24"/>
                  </a:lnTo>
                  <a:lnTo>
                    <a:pt x="433" y="17"/>
                  </a:lnTo>
                  <a:lnTo>
                    <a:pt x="460" y="11"/>
                  </a:lnTo>
                  <a:lnTo>
                    <a:pt x="489" y="6"/>
                  </a:lnTo>
                  <a:lnTo>
                    <a:pt x="518" y="3"/>
                  </a:lnTo>
                  <a:lnTo>
                    <a:pt x="547" y="1"/>
                  </a:lnTo>
                  <a:lnTo>
                    <a:pt x="577" y="0"/>
                  </a:lnTo>
                  <a:lnTo>
                    <a:pt x="577" y="0"/>
                  </a:lnTo>
                  <a:lnTo>
                    <a:pt x="607" y="1"/>
                  </a:lnTo>
                  <a:lnTo>
                    <a:pt x="635" y="3"/>
                  </a:lnTo>
                  <a:lnTo>
                    <a:pt x="664" y="6"/>
                  </a:lnTo>
                  <a:lnTo>
                    <a:pt x="692" y="11"/>
                  </a:lnTo>
                  <a:lnTo>
                    <a:pt x="720" y="17"/>
                  </a:lnTo>
                  <a:lnTo>
                    <a:pt x="747" y="24"/>
                  </a:lnTo>
                  <a:lnTo>
                    <a:pt x="773" y="33"/>
                  </a:lnTo>
                  <a:lnTo>
                    <a:pt x="800" y="44"/>
                  </a:lnTo>
                  <a:lnTo>
                    <a:pt x="825" y="54"/>
                  </a:lnTo>
                  <a:lnTo>
                    <a:pt x="850" y="66"/>
                  </a:lnTo>
                  <a:lnTo>
                    <a:pt x="873" y="79"/>
                  </a:lnTo>
                  <a:lnTo>
                    <a:pt x="897" y="94"/>
                  </a:lnTo>
                  <a:lnTo>
                    <a:pt x="919" y="109"/>
                  </a:lnTo>
                  <a:lnTo>
                    <a:pt x="942" y="125"/>
                  </a:lnTo>
                  <a:lnTo>
                    <a:pt x="962" y="143"/>
                  </a:lnTo>
                  <a:lnTo>
                    <a:pt x="983" y="161"/>
                  </a:lnTo>
                  <a:lnTo>
                    <a:pt x="1001" y="180"/>
                  </a:lnTo>
                  <a:lnTo>
                    <a:pt x="1020" y="200"/>
                  </a:lnTo>
                  <a:lnTo>
                    <a:pt x="1037" y="220"/>
                  </a:lnTo>
                  <a:lnTo>
                    <a:pt x="1052" y="242"/>
                  </a:lnTo>
                  <a:lnTo>
                    <a:pt x="1068" y="264"/>
                  </a:lnTo>
                  <a:lnTo>
                    <a:pt x="1082" y="287"/>
                  </a:lnTo>
                  <a:lnTo>
                    <a:pt x="1094" y="310"/>
                  </a:lnTo>
                  <a:lnTo>
                    <a:pt x="1106" y="335"/>
                  </a:lnTo>
                  <a:lnTo>
                    <a:pt x="1116" y="360"/>
                  </a:lnTo>
                  <a:lnTo>
                    <a:pt x="1125" y="385"/>
                  </a:lnTo>
                  <a:lnTo>
                    <a:pt x="1133" y="411"/>
                  </a:lnTo>
                  <a:lnTo>
                    <a:pt x="1139" y="437"/>
                  </a:lnTo>
                  <a:lnTo>
                    <a:pt x="1144" y="464"/>
                  </a:lnTo>
                  <a:lnTo>
                    <a:pt x="1148" y="491"/>
                  </a:lnTo>
                  <a:lnTo>
                    <a:pt x="1151" y="519"/>
                  </a:lnTo>
                  <a:lnTo>
                    <a:pt x="1152" y="547"/>
                  </a:lnTo>
                  <a:lnTo>
                    <a:pt x="1152" y="547"/>
                  </a:lnTo>
                  <a:lnTo>
                    <a:pt x="1151" y="574"/>
                  </a:lnTo>
                  <a:lnTo>
                    <a:pt x="1148" y="602"/>
                  </a:lnTo>
                  <a:lnTo>
                    <a:pt x="1144" y="629"/>
                  </a:lnTo>
                  <a:lnTo>
                    <a:pt x="1139" y="656"/>
                  </a:lnTo>
                  <a:lnTo>
                    <a:pt x="1133" y="683"/>
                  </a:lnTo>
                  <a:lnTo>
                    <a:pt x="1125" y="708"/>
                  </a:lnTo>
                  <a:lnTo>
                    <a:pt x="1116" y="734"/>
                  </a:lnTo>
                  <a:lnTo>
                    <a:pt x="1106" y="758"/>
                  </a:lnTo>
                  <a:lnTo>
                    <a:pt x="1094" y="783"/>
                  </a:lnTo>
                  <a:lnTo>
                    <a:pt x="1082" y="806"/>
                  </a:lnTo>
                  <a:lnTo>
                    <a:pt x="1068" y="830"/>
                  </a:lnTo>
                  <a:lnTo>
                    <a:pt x="1052" y="851"/>
                  </a:lnTo>
                  <a:lnTo>
                    <a:pt x="1037" y="873"/>
                  </a:lnTo>
                  <a:lnTo>
                    <a:pt x="1020" y="894"/>
                  </a:lnTo>
                  <a:lnTo>
                    <a:pt x="1001" y="914"/>
                  </a:lnTo>
                  <a:lnTo>
                    <a:pt x="983" y="933"/>
                  </a:lnTo>
                  <a:lnTo>
                    <a:pt x="962" y="950"/>
                  </a:lnTo>
                  <a:lnTo>
                    <a:pt x="942" y="968"/>
                  </a:lnTo>
                  <a:lnTo>
                    <a:pt x="919" y="984"/>
                  </a:lnTo>
                  <a:lnTo>
                    <a:pt x="897" y="1000"/>
                  </a:lnTo>
                  <a:lnTo>
                    <a:pt x="873" y="1014"/>
                  </a:lnTo>
                  <a:lnTo>
                    <a:pt x="850" y="1027"/>
                  </a:lnTo>
                  <a:lnTo>
                    <a:pt x="825" y="1039"/>
                  </a:lnTo>
                  <a:lnTo>
                    <a:pt x="800" y="1051"/>
                  </a:lnTo>
                  <a:lnTo>
                    <a:pt x="773" y="1060"/>
                  </a:lnTo>
                  <a:lnTo>
                    <a:pt x="747" y="1069"/>
                  </a:lnTo>
                  <a:lnTo>
                    <a:pt x="720" y="1076"/>
                  </a:lnTo>
                  <a:lnTo>
                    <a:pt x="692" y="1082"/>
                  </a:lnTo>
                  <a:lnTo>
                    <a:pt x="664" y="1087"/>
                  </a:lnTo>
                  <a:lnTo>
                    <a:pt x="635" y="1091"/>
                  </a:lnTo>
                  <a:lnTo>
                    <a:pt x="607" y="1093"/>
                  </a:lnTo>
                  <a:lnTo>
                    <a:pt x="577" y="1094"/>
                  </a:lnTo>
                  <a:lnTo>
                    <a:pt x="577" y="1094"/>
                  </a:lnTo>
                  <a:close/>
                  <a:moveTo>
                    <a:pt x="577" y="82"/>
                  </a:moveTo>
                  <a:lnTo>
                    <a:pt x="577" y="82"/>
                  </a:lnTo>
                  <a:lnTo>
                    <a:pt x="554" y="83"/>
                  </a:lnTo>
                  <a:lnTo>
                    <a:pt x="533" y="86"/>
                  </a:lnTo>
                  <a:lnTo>
                    <a:pt x="511" y="90"/>
                  </a:lnTo>
                  <a:lnTo>
                    <a:pt x="492" y="94"/>
                  </a:lnTo>
                  <a:lnTo>
                    <a:pt x="473" y="100"/>
                  </a:lnTo>
                  <a:lnTo>
                    <a:pt x="454" y="108"/>
                  </a:lnTo>
                  <a:lnTo>
                    <a:pt x="437" y="116"/>
                  </a:lnTo>
                  <a:lnTo>
                    <a:pt x="419" y="125"/>
                  </a:lnTo>
                  <a:lnTo>
                    <a:pt x="404" y="137"/>
                  </a:lnTo>
                  <a:lnTo>
                    <a:pt x="389" y="148"/>
                  </a:lnTo>
                  <a:lnTo>
                    <a:pt x="374" y="161"/>
                  </a:lnTo>
                  <a:lnTo>
                    <a:pt x="360" y="174"/>
                  </a:lnTo>
                  <a:lnTo>
                    <a:pt x="348" y="189"/>
                  </a:lnTo>
                  <a:lnTo>
                    <a:pt x="336" y="204"/>
                  </a:lnTo>
                  <a:lnTo>
                    <a:pt x="324" y="219"/>
                  </a:lnTo>
                  <a:lnTo>
                    <a:pt x="313" y="237"/>
                  </a:lnTo>
                  <a:lnTo>
                    <a:pt x="303" y="253"/>
                  </a:lnTo>
                  <a:lnTo>
                    <a:pt x="294" y="272"/>
                  </a:lnTo>
                  <a:lnTo>
                    <a:pt x="285" y="290"/>
                  </a:lnTo>
                  <a:lnTo>
                    <a:pt x="277" y="308"/>
                  </a:lnTo>
                  <a:lnTo>
                    <a:pt x="270" y="327"/>
                  </a:lnTo>
                  <a:lnTo>
                    <a:pt x="264" y="346"/>
                  </a:lnTo>
                  <a:lnTo>
                    <a:pt x="258" y="367"/>
                  </a:lnTo>
                  <a:lnTo>
                    <a:pt x="253" y="386"/>
                  </a:lnTo>
                  <a:lnTo>
                    <a:pt x="248" y="407"/>
                  </a:lnTo>
                  <a:lnTo>
                    <a:pt x="245" y="426"/>
                  </a:lnTo>
                  <a:lnTo>
                    <a:pt x="240" y="446"/>
                  </a:lnTo>
                  <a:lnTo>
                    <a:pt x="238" y="467"/>
                  </a:lnTo>
                  <a:lnTo>
                    <a:pt x="234" y="507"/>
                  </a:lnTo>
                  <a:lnTo>
                    <a:pt x="233" y="547"/>
                  </a:lnTo>
                  <a:lnTo>
                    <a:pt x="233" y="547"/>
                  </a:lnTo>
                  <a:lnTo>
                    <a:pt x="234" y="587"/>
                  </a:lnTo>
                  <a:lnTo>
                    <a:pt x="238" y="626"/>
                  </a:lnTo>
                  <a:lnTo>
                    <a:pt x="240" y="647"/>
                  </a:lnTo>
                  <a:lnTo>
                    <a:pt x="245" y="667"/>
                  </a:lnTo>
                  <a:lnTo>
                    <a:pt x="248" y="687"/>
                  </a:lnTo>
                  <a:lnTo>
                    <a:pt x="253" y="707"/>
                  </a:lnTo>
                  <a:lnTo>
                    <a:pt x="258" y="728"/>
                  </a:lnTo>
                  <a:lnTo>
                    <a:pt x="264" y="747"/>
                  </a:lnTo>
                  <a:lnTo>
                    <a:pt x="270" y="766"/>
                  </a:lnTo>
                  <a:lnTo>
                    <a:pt x="277" y="785"/>
                  </a:lnTo>
                  <a:lnTo>
                    <a:pt x="285" y="804"/>
                  </a:lnTo>
                  <a:lnTo>
                    <a:pt x="294" y="822"/>
                  </a:lnTo>
                  <a:lnTo>
                    <a:pt x="303" y="840"/>
                  </a:lnTo>
                  <a:lnTo>
                    <a:pt x="313" y="857"/>
                  </a:lnTo>
                  <a:lnTo>
                    <a:pt x="324" y="874"/>
                  </a:lnTo>
                  <a:lnTo>
                    <a:pt x="336" y="889"/>
                  </a:lnTo>
                  <a:lnTo>
                    <a:pt x="348" y="904"/>
                  </a:lnTo>
                  <a:lnTo>
                    <a:pt x="360" y="919"/>
                  </a:lnTo>
                  <a:lnTo>
                    <a:pt x="374" y="932"/>
                  </a:lnTo>
                  <a:lnTo>
                    <a:pt x="389" y="945"/>
                  </a:lnTo>
                  <a:lnTo>
                    <a:pt x="404" y="957"/>
                  </a:lnTo>
                  <a:lnTo>
                    <a:pt x="419" y="968"/>
                  </a:lnTo>
                  <a:lnTo>
                    <a:pt x="437" y="977"/>
                  </a:lnTo>
                  <a:lnTo>
                    <a:pt x="454" y="986"/>
                  </a:lnTo>
                  <a:lnTo>
                    <a:pt x="473" y="993"/>
                  </a:lnTo>
                  <a:lnTo>
                    <a:pt x="492" y="1000"/>
                  </a:lnTo>
                  <a:lnTo>
                    <a:pt x="511" y="1005"/>
                  </a:lnTo>
                  <a:lnTo>
                    <a:pt x="533" y="1008"/>
                  </a:lnTo>
                  <a:lnTo>
                    <a:pt x="554" y="1010"/>
                  </a:lnTo>
                  <a:lnTo>
                    <a:pt x="577" y="1011"/>
                  </a:lnTo>
                  <a:lnTo>
                    <a:pt x="577" y="1011"/>
                  </a:lnTo>
                  <a:lnTo>
                    <a:pt x="599" y="1010"/>
                  </a:lnTo>
                  <a:lnTo>
                    <a:pt x="621" y="1008"/>
                  </a:lnTo>
                  <a:lnTo>
                    <a:pt x="641" y="1005"/>
                  </a:lnTo>
                  <a:lnTo>
                    <a:pt x="662" y="1000"/>
                  </a:lnTo>
                  <a:lnTo>
                    <a:pt x="680" y="993"/>
                  </a:lnTo>
                  <a:lnTo>
                    <a:pt x="699" y="986"/>
                  </a:lnTo>
                  <a:lnTo>
                    <a:pt x="716" y="977"/>
                  </a:lnTo>
                  <a:lnTo>
                    <a:pt x="733" y="968"/>
                  </a:lnTo>
                  <a:lnTo>
                    <a:pt x="749" y="957"/>
                  </a:lnTo>
                  <a:lnTo>
                    <a:pt x="764" y="945"/>
                  </a:lnTo>
                  <a:lnTo>
                    <a:pt x="778" y="932"/>
                  </a:lnTo>
                  <a:lnTo>
                    <a:pt x="793" y="919"/>
                  </a:lnTo>
                  <a:lnTo>
                    <a:pt x="805" y="904"/>
                  </a:lnTo>
                  <a:lnTo>
                    <a:pt x="817" y="889"/>
                  </a:lnTo>
                  <a:lnTo>
                    <a:pt x="828" y="874"/>
                  </a:lnTo>
                  <a:lnTo>
                    <a:pt x="840" y="857"/>
                  </a:lnTo>
                  <a:lnTo>
                    <a:pt x="850" y="840"/>
                  </a:lnTo>
                  <a:lnTo>
                    <a:pt x="859" y="822"/>
                  </a:lnTo>
                  <a:lnTo>
                    <a:pt x="867" y="804"/>
                  </a:lnTo>
                  <a:lnTo>
                    <a:pt x="875" y="785"/>
                  </a:lnTo>
                  <a:lnTo>
                    <a:pt x="883" y="766"/>
                  </a:lnTo>
                  <a:lnTo>
                    <a:pt x="890" y="747"/>
                  </a:lnTo>
                  <a:lnTo>
                    <a:pt x="895" y="728"/>
                  </a:lnTo>
                  <a:lnTo>
                    <a:pt x="901" y="707"/>
                  </a:lnTo>
                  <a:lnTo>
                    <a:pt x="905" y="687"/>
                  </a:lnTo>
                  <a:lnTo>
                    <a:pt x="909" y="667"/>
                  </a:lnTo>
                  <a:lnTo>
                    <a:pt x="912" y="647"/>
                  </a:lnTo>
                  <a:lnTo>
                    <a:pt x="915" y="626"/>
                  </a:lnTo>
                  <a:lnTo>
                    <a:pt x="918" y="587"/>
                  </a:lnTo>
                  <a:lnTo>
                    <a:pt x="920" y="547"/>
                  </a:lnTo>
                  <a:lnTo>
                    <a:pt x="920" y="547"/>
                  </a:lnTo>
                  <a:lnTo>
                    <a:pt x="918" y="507"/>
                  </a:lnTo>
                  <a:lnTo>
                    <a:pt x="915" y="467"/>
                  </a:lnTo>
                  <a:lnTo>
                    <a:pt x="912" y="446"/>
                  </a:lnTo>
                  <a:lnTo>
                    <a:pt x="909" y="426"/>
                  </a:lnTo>
                  <a:lnTo>
                    <a:pt x="905" y="407"/>
                  </a:lnTo>
                  <a:lnTo>
                    <a:pt x="901" y="386"/>
                  </a:lnTo>
                  <a:lnTo>
                    <a:pt x="895" y="367"/>
                  </a:lnTo>
                  <a:lnTo>
                    <a:pt x="890" y="346"/>
                  </a:lnTo>
                  <a:lnTo>
                    <a:pt x="883" y="327"/>
                  </a:lnTo>
                  <a:lnTo>
                    <a:pt x="875" y="308"/>
                  </a:lnTo>
                  <a:lnTo>
                    <a:pt x="867" y="290"/>
                  </a:lnTo>
                  <a:lnTo>
                    <a:pt x="859" y="272"/>
                  </a:lnTo>
                  <a:lnTo>
                    <a:pt x="850" y="253"/>
                  </a:lnTo>
                  <a:lnTo>
                    <a:pt x="840" y="237"/>
                  </a:lnTo>
                  <a:lnTo>
                    <a:pt x="828" y="219"/>
                  </a:lnTo>
                  <a:lnTo>
                    <a:pt x="817" y="204"/>
                  </a:lnTo>
                  <a:lnTo>
                    <a:pt x="805" y="189"/>
                  </a:lnTo>
                  <a:lnTo>
                    <a:pt x="793" y="174"/>
                  </a:lnTo>
                  <a:lnTo>
                    <a:pt x="778" y="161"/>
                  </a:lnTo>
                  <a:lnTo>
                    <a:pt x="764" y="148"/>
                  </a:lnTo>
                  <a:lnTo>
                    <a:pt x="749" y="137"/>
                  </a:lnTo>
                  <a:lnTo>
                    <a:pt x="733" y="125"/>
                  </a:lnTo>
                  <a:lnTo>
                    <a:pt x="716" y="116"/>
                  </a:lnTo>
                  <a:lnTo>
                    <a:pt x="699" y="108"/>
                  </a:lnTo>
                  <a:lnTo>
                    <a:pt x="680" y="100"/>
                  </a:lnTo>
                  <a:lnTo>
                    <a:pt x="662" y="94"/>
                  </a:lnTo>
                  <a:lnTo>
                    <a:pt x="641" y="90"/>
                  </a:lnTo>
                  <a:lnTo>
                    <a:pt x="621" y="86"/>
                  </a:lnTo>
                  <a:lnTo>
                    <a:pt x="599" y="83"/>
                  </a:lnTo>
                  <a:lnTo>
                    <a:pt x="577" y="82"/>
                  </a:lnTo>
                  <a:lnTo>
                    <a:pt x="577"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58" name="Freeform 11"/>
            <p:cNvSpPr>
              <a:spLocks/>
            </p:cNvSpPr>
            <p:nvPr userDrawn="1"/>
          </p:nvSpPr>
          <p:spPr bwMode="auto">
            <a:xfrm>
              <a:off x="7488484" y="633580"/>
              <a:ext cx="155575" cy="141289"/>
            </a:xfrm>
            <a:custGeom>
              <a:avLst/>
              <a:gdLst>
                <a:gd name="T0" fmla="*/ 922 w 1165"/>
                <a:gd name="T1" fmla="*/ 252 h 1065"/>
                <a:gd name="T2" fmla="*/ 921 w 1165"/>
                <a:gd name="T3" fmla="*/ 194 h 1065"/>
                <a:gd name="T4" fmla="*/ 916 w 1165"/>
                <a:gd name="T5" fmla="*/ 148 h 1065"/>
                <a:gd name="T6" fmla="*/ 906 w 1165"/>
                <a:gd name="T7" fmla="*/ 113 h 1065"/>
                <a:gd name="T8" fmla="*/ 896 w 1165"/>
                <a:gd name="T9" fmla="*/ 92 h 1065"/>
                <a:gd name="T10" fmla="*/ 888 w 1165"/>
                <a:gd name="T11" fmla="*/ 81 h 1065"/>
                <a:gd name="T12" fmla="*/ 877 w 1165"/>
                <a:gd name="T13" fmla="*/ 73 h 1065"/>
                <a:gd name="T14" fmla="*/ 857 w 1165"/>
                <a:gd name="T15" fmla="*/ 63 h 1065"/>
                <a:gd name="T16" fmla="*/ 825 w 1165"/>
                <a:gd name="T17" fmla="*/ 54 h 1065"/>
                <a:gd name="T18" fmla="*/ 782 w 1165"/>
                <a:gd name="T19" fmla="*/ 50 h 1065"/>
                <a:gd name="T20" fmla="*/ 756 w 1165"/>
                <a:gd name="T21" fmla="*/ 0 h 1065"/>
                <a:gd name="T22" fmla="*/ 1165 w 1165"/>
                <a:gd name="T23" fmla="*/ 50 h 1065"/>
                <a:gd name="T24" fmla="*/ 1139 w 1165"/>
                <a:gd name="T25" fmla="*/ 50 h 1065"/>
                <a:gd name="T26" fmla="*/ 1096 w 1165"/>
                <a:gd name="T27" fmla="*/ 54 h 1065"/>
                <a:gd name="T28" fmla="*/ 1062 w 1165"/>
                <a:gd name="T29" fmla="*/ 63 h 1065"/>
                <a:gd name="T30" fmla="*/ 1042 w 1165"/>
                <a:gd name="T31" fmla="*/ 73 h 1065"/>
                <a:gd name="T32" fmla="*/ 1032 w 1165"/>
                <a:gd name="T33" fmla="*/ 81 h 1065"/>
                <a:gd name="T34" fmla="*/ 1023 w 1165"/>
                <a:gd name="T35" fmla="*/ 92 h 1065"/>
                <a:gd name="T36" fmla="*/ 1014 w 1165"/>
                <a:gd name="T37" fmla="*/ 113 h 1065"/>
                <a:gd name="T38" fmla="*/ 1005 w 1165"/>
                <a:gd name="T39" fmla="*/ 148 h 1065"/>
                <a:gd name="T40" fmla="*/ 1000 w 1165"/>
                <a:gd name="T41" fmla="*/ 194 h 1065"/>
                <a:gd name="T42" fmla="*/ 999 w 1165"/>
                <a:gd name="T43" fmla="*/ 252 h 1065"/>
                <a:gd name="T44" fmla="*/ 955 w 1165"/>
                <a:gd name="T45" fmla="*/ 1065 h 1065"/>
                <a:gd name="T46" fmla="*/ 242 w 1165"/>
                <a:gd name="T47" fmla="*/ 783 h 1065"/>
                <a:gd name="T48" fmla="*/ 242 w 1165"/>
                <a:gd name="T49" fmla="*/ 814 h 1065"/>
                <a:gd name="T50" fmla="*/ 245 w 1165"/>
                <a:gd name="T51" fmla="*/ 866 h 1065"/>
                <a:gd name="T52" fmla="*/ 251 w 1165"/>
                <a:gd name="T53" fmla="*/ 906 h 1065"/>
                <a:gd name="T54" fmla="*/ 263 w 1165"/>
                <a:gd name="T55" fmla="*/ 937 h 1065"/>
                <a:gd name="T56" fmla="*/ 271 w 1165"/>
                <a:gd name="T57" fmla="*/ 949 h 1065"/>
                <a:gd name="T58" fmla="*/ 281 w 1165"/>
                <a:gd name="T59" fmla="*/ 958 h 1065"/>
                <a:gd name="T60" fmla="*/ 292 w 1165"/>
                <a:gd name="T61" fmla="*/ 966 h 1065"/>
                <a:gd name="T62" fmla="*/ 322 w 1165"/>
                <a:gd name="T63" fmla="*/ 978 h 1065"/>
                <a:gd name="T64" fmla="*/ 359 w 1165"/>
                <a:gd name="T65" fmla="*/ 984 h 1065"/>
                <a:gd name="T66" fmla="*/ 407 w 1165"/>
                <a:gd name="T67" fmla="*/ 985 h 1065"/>
                <a:gd name="T68" fmla="*/ 0 w 1165"/>
                <a:gd name="T69" fmla="*/ 1035 h 1065"/>
                <a:gd name="T70" fmla="*/ 0 w 1165"/>
                <a:gd name="T71" fmla="*/ 985 h 1065"/>
                <a:gd name="T72" fmla="*/ 49 w 1165"/>
                <a:gd name="T73" fmla="*/ 984 h 1065"/>
                <a:gd name="T74" fmla="*/ 86 w 1165"/>
                <a:gd name="T75" fmla="*/ 978 h 1065"/>
                <a:gd name="T76" fmla="*/ 115 w 1165"/>
                <a:gd name="T77" fmla="*/ 966 h 1065"/>
                <a:gd name="T78" fmla="*/ 126 w 1165"/>
                <a:gd name="T79" fmla="*/ 958 h 1065"/>
                <a:gd name="T80" fmla="*/ 135 w 1165"/>
                <a:gd name="T81" fmla="*/ 949 h 1065"/>
                <a:gd name="T82" fmla="*/ 144 w 1165"/>
                <a:gd name="T83" fmla="*/ 937 h 1065"/>
                <a:gd name="T84" fmla="*/ 155 w 1165"/>
                <a:gd name="T85" fmla="*/ 906 h 1065"/>
                <a:gd name="T86" fmla="*/ 161 w 1165"/>
                <a:gd name="T87" fmla="*/ 866 h 1065"/>
                <a:gd name="T88" fmla="*/ 164 w 1165"/>
                <a:gd name="T89" fmla="*/ 814 h 1065"/>
                <a:gd name="T90" fmla="*/ 164 w 1165"/>
                <a:gd name="T91" fmla="*/ 252 h 1065"/>
                <a:gd name="T92" fmla="*/ 164 w 1165"/>
                <a:gd name="T93" fmla="*/ 221 h 1065"/>
                <a:gd name="T94" fmla="*/ 161 w 1165"/>
                <a:gd name="T95" fmla="*/ 169 h 1065"/>
                <a:gd name="T96" fmla="*/ 155 w 1165"/>
                <a:gd name="T97" fmla="*/ 129 h 1065"/>
                <a:gd name="T98" fmla="*/ 144 w 1165"/>
                <a:gd name="T99" fmla="*/ 98 h 1065"/>
                <a:gd name="T100" fmla="*/ 135 w 1165"/>
                <a:gd name="T101" fmla="*/ 86 h 1065"/>
                <a:gd name="T102" fmla="*/ 126 w 1165"/>
                <a:gd name="T103" fmla="*/ 77 h 1065"/>
                <a:gd name="T104" fmla="*/ 115 w 1165"/>
                <a:gd name="T105" fmla="*/ 69 h 1065"/>
                <a:gd name="T106" fmla="*/ 86 w 1165"/>
                <a:gd name="T107" fmla="*/ 58 h 1065"/>
                <a:gd name="T108" fmla="*/ 49 w 1165"/>
                <a:gd name="T109" fmla="*/ 51 h 1065"/>
                <a:gd name="T110" fmla="*/ 0 w 1165"/>
                <a:gd name="T111" fmla="*/ 50 h 1065"/>
                <a:gd name="T112" fmla="*/ 345 w 1165"/>
                <a:gd name="T113" fmla="*/ 0 h 1065"/>
                <a:gd name="T114" fmla="*/ 922 w 1165"/>
                <a:gd name="T115" fmla="*/ 25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5" h="1065">
                  <a:moveTo>
                    <a:pt x="922" y="252"/>
                  </a:moveTo>
                  <a:lnTo>
                    <a:pt x="922" y="252"/>
                  </a:lnTo>
                  <a:lnTo>
                    <a:pt x="921" y="221"/>
                  </a:lnTo>
                  <a:lnTo>
                    <a:pt x="921" y="194"/>
                  </a:lnTo>
                  <a:lnTo>
                    <a:pt x="919" y="169"/>
                  </a:lnTo>
                  <a:lnTo>
                    <a:pt x="916" y="148"/>
                  </a:lnTo>
                  <a:lnTo>
                    <a:pt x="912" y="129"/>
                  </a:lnTo>
                  <a:lnTo>
                    <a:pt x="906" y="113"/>
                  </a:lnTo>
                  <a:lnTo>
                    <a:pt x="900" y="98"/>
                  </a:lnTo>
                  <a:lnTo>
                    <a:pt x="896" y="92"/>
                  </a:lnTo>
                  <a:lnTo>
                    <a:pt x="892" y="86"/>
                  </a:lnTo>
                  <a:lnTo>
                    <a:pt x="888" y="81"/>
                  </a:lnTo>
                  <a:lnTo>
                    <a:pt x="883" y="77"/>
                  </a:lnTo>
                  <a:lnTo>
                    <a:pt x="877" y="73"/>
                  </a:lnTo>
                  <a:lnTo>
                    <a:pt x="872" y="69"/>
                  </a:lnTo>
                  <a:lnTo>
                    <a:pt x="857" y="63"/>
                  </a:lnTo>
                  <a:lnTo>
                    <a:pt x="842" y="58"/>
                  </a:lnTo>
                  <a:lnTo>
                    <a:pt x="825" y="54"/>
                  </a:lnTo>
                  <a:lnTo>
                    <a:pt x="804" y="51"/>
                  </a:lnTo>
                  <a:lnTo>
                    <a:pt x="782" y="50"/>
                  </a:lnTo>
                  <a:lnTo>
                    <a:pt x="756" y="50"/>
                  </a:lnTo>
                  <a:lnTo>
                    <a:pt x="756" y="0"/>
                  </a:lnTo>
                  <a:lnTo>
                    <a:pt x="1165" y="0"/>
                  </a:lnTo>
                  <a:lnTo>
                    <a:pt x="1165" y="50"/>
                  </a:lnTo>
                  <a:lnTo>
                    <a:pt x="1165" y="50"/>
                  </a:lnTo>
                  <a:lnTo>
                    <a:pt x="1139" y="50"/>
                  </a:lnTo>
                  <a:lnTo>
                    <a:pt x="1116" y="51"/>
                  </a:lnTo>
                  <a:lnTo>
                    <a:pt x="1096" y="54"/>
                  </a:lnTo>
                  <a:lnTo>
                    <a:pt x="1078" y="58"/>
                  </a:lnTo>
                  <a:lnTo>
                    <a:pt x="1062" y="63"/>
                  </a:lnTo>
                  <a:lnTo>
                    <a:pt x="1049" y="69"/>
                  </a:lnTo>
                  <a:lnTo>
                    <a:pt x="1042" y="73"/>
                  </a:lnTo>
                  <a:lnTo>
                    <a:pt x="1037" y="77"/>
                  </a:lnTo>
                  <a:lnTo>
                    <a:pt x="1032" y="81"/>
                  </a:lnTo>
                  <a:lnTo>
                    <a:pt x="1028" y="86"/>
                  </a:lnTo>
                  <a:lnTo>
                    <a:pt x="1023" y="92"/>
                  </a:lnTo>
                  <a:lnTo>
                    <a:pt x="1020" y="98"/>
                  </a:lnTo>
                  <a:lnTo>
                    <a:pt x="1014" y="113"/>
                  </a:lnTo>
                  <a:lnTo>
                    <a:pt x="1009" y="129"/>
                  </a:lnTo>
                  <a:lnTo>
                    <a:pt x="1005" y="148"/>
                  </a:lnTo>
                  <a:lnTo>
                    <a:pt x="1002" y="169"/>
                  </a:lnTo>
                  <a:lnTo>
                    <a:pt x="1000" y="194"/>
                  </a:lnTo>
                  <a:lnTo>
                    <a:pt x="999" y="221"/>
                  </a:lnTo>
                  <a:lnTo>
                    <a:pt x="999" y="252"/>
                  </a:lnTo>
                  <a:lnTo>
                    <a:pt x="999" y="1065"/>
                  </a:lnTo>
                  <a:lnTo>
                    <a:pt x="955" y="1065"/>
                  </a:lnTo>
                  <a:lnTo>
                    <a:pt x="242" y="212"/>
                  </a:lnTo>
                  <a:lnTo>
                    <a:pt x="242" y="783"/>
                  </a:lnTo>
                  <a:lnTo>
                    <a:pt x="242" y="783"/>
                  </a:lnTo>
                  <a:lnTo>
                    <a:pt x="242" y="814"/>
                  </a:lnTo>
                  <a:lnTo>
                    <a:pt x="243" y="842"/>
                  </a:lnTo>
                  <a:lnTo>
                    <a:pt x="245" y="866"/>
                  </a:lnTo>
                  <a:lnTo>
                    <a:pt x="248" y="888"/>
                  </a:lnTo>
                  <a:lnTo>
                    <a:pt x="251" y="906"/>
                  </a:lnTo>
                  <a:lnTo>
                    <a:pt x="256" y="923"/>
                  </a:lnTo>
                  <a:lnTo>
                    <a:pt x="263" y="937"/>
                  </a:lnTo>
                  <a:lnTo>
                    <a:pt x="266" y="943"/>
                  </a:lnTo>
                  <a:lnTo>
                    <a:pt x="271" y="949"/>
                  </a:lnTo>
                  <a:lnTo>
                    <a:pt x="276" y="954"/>
                  </a:lnTo>
                  <a:lnTo>
                    <a:pt x="281" y="958"/>
                  </a:lnTo>
                  <a:lnTo>
                    <a:pt x="286" y="963"/>
                  </a:lnTo>
                  <a:lnTo>
                    <a:pt x="292" y="966"/>
                  </a:lnTo>
                  <a:lnTo>
                    <a:pt x="305" y="973"/>
                  </a:lnTo>
                  <a:lnTo>
                    <a:pt x="322" y="978"/>
                  </a:lnTo>
                  <a:lnTo>
                    <a:pt x="339" y="982"/>
                  </a:lnTo>
                  <a:lnTo>
                    <a:pt x="359" y="984"/>
                  </a:lnTo>
                  <a:lnTo>
                    <a:pt x="382" y="985"/>
                  </a:lnTo>
                  <a:lnTo>
                    <a:pt x="407" y="985"/>
                  </a:lnTo>
                  <a:lnTo>
                    <a:pt x="407" y="1035"/>
                  </a:lnTo>
                  <a:lnTo>
                    <a:pt x="0" y="1035"/>
                  </a:lnTo>
                  <a:lnTo>
                    <a:pt x="0" y="985"/>
                  </a:lnTo>
                  <a:lnTo>
                    <a:pt x="0" y="985"/>
                  </a:lnTo>
                  <a:lnTo>
                    <a:pt x="26" y="985"/>
                  </a:lnTo>
                  <a:lnTo>
                    <a:pt x="49" y="984"/>
                  </a:lnTo>
                  <a:lnTo>
                    <a:pt x="69" y="982"/>
                  </a:lnTo>
                  <a:lnTo>
                    <a:pt x="86" y="978"/>
                  </a:lnTo>
                  <a:lnTo>
                    <a:pt x="102" y="973"/>
                  </a:lnTo>
                  <a:lnTo>
                    <a:pt x="115" y="966"/>
                  </a:lnTo>
                  <a:lnTo>
                    <a:pt x="121" y="963"/>
                  </a:lnTo>
                  <a:lnTo>
                    <a:pt x="126" y="958"/>
                  </a:lnTo>
                  <a:lnTo>
                    <a:pt x="131" y="954"/>
                  </a:lnTo>
                  <a:lnTo>
                    <a:pt x="135" y="949"/>
                  </a:lnTo>
                  <a:lnTo>
                    <a:pt x="141" y="943"/>
                  </a:lnTo>
                  <a:lnTo>
                    <a:pt x="144" y="937"/>
                  </a:lnTo>
                  <a:lnTo>
                    <a:pt x="150" y="923"/>
                  </a:lnTo>
                  <a:lnTo>
                    <a:pt x="155" y="906"/>
                  </a:lnTo>
                  <a:lnTo>
                    <a:pt x="159" y="888"/>
                  </a:lnTo>
                  <a:lnTo>
                    <a:pt x="161" y="866"/>
                  </a:lnTo>
                  <a:lnTo>
                    <a:pt x="163" y="842"/>
                  </a:lnTo>
                  <a:lnTo>
                    <a:pt x="164" y="814"/>
                  </a:lnTo>
                  <a:lnTo>
                    <a:pt x="164" y="783"/>
                  </a:lnTo>
                  <a:lnTo>
                    <a:pt x="164" y="252"/>
                  </a:lnTo>
                  <a:lnTo>
                    <a:pt x="164" y="252"/>
                  </a:lnTo>
                  <a:lnTo>
                    <a:pt x="164" y="221"/>
                  </a:lnTo>
                  <a:lnTo>
                    <a:pt x="163" y="194"/>
                  </a:lnTo>
                  <a:lnTo>
                    <a:pt x="161" y="169"/>
                  </a:lnTo>
                  <a:lnTo>
                    <a:pt x="159" y="148"/>
                  </a:lnTo>
                  <a:lnTo>
                    <a:pt x="155" y="129"/>
                  </a:lnTo>
                  <a:lnTo>
                    <a:pt x="150" y="113"/>
                  </a:lnTo>
                  <a:lnTo>
                    <a:pt x="144" y="98"/>
                  </a:lnTo>
                  <a:lnTo>
                    <a:pt x="141" y="92"/>
                  </a:lnTo>
                  <a:lnTo>
                    <a:pt x="135" y="86"/>
                  </a:lnTo>
                  <a:lnTo>
                    <a:pt x="131" y="81"/>
                  </a:lnTo>
                  <a:lnTo>
                    <a:pt x="126" y="77"/>
                  </a:lnTo>
                  <a:lnTo>
                    <a:pt x="121" y="73"/>
                  </a:lnTo>
                  <a:lnTo>
                    <a:pt x="115" y="69"/>
                  </a:lnTo>
                  <a:lnTo>
                    <a:pt x="102" y="63"/>
                  </a:lnTo>
                  <a:lnTo>
                    <a:pt x="86" y="58"/>
                  </a:lnTo>
                  <a:lnTo>
                    <a:pt x="69" y="54"/>
                  </a:lnTo>
                  <a:lnTo>
                    <a:pt x="49" y="51"/>
                  </a:lnTo>
                  <a:lnTo>
                    <a:pt x="26" y="50"/>
                  </a:lnTo>
                  <a:lnTo>
                    <a:pt x="0" y="50"/>
                  </a:lnTo>
                  <a:lnTo>
                    <a:pt x="0" y="0"/>
                  </a:lnTo>
                  <a:lnTo>
                    <a:pt x="345" y="0"/>
                  </a:lnTo>
                  <a:lnTo>
                    <a:pt x="922" y="686"/>
                  </a:lnTo>
                  <a:lnTo>
                    <a:pt x="922" y="2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59" name="Freeform 12"/>
            <p:cNvSpPr>
              <a:spLocks/>
            </p:cNvSpPr>
            <p:nvPr userDrawn="1"/>
          </p:nvSpPr>
          <p:spPr bwMode="auto">
            <a:xfrm>
              <a:off x="7677396" y="633580"/>
              <a:ext cx="127000" cy="136525"/>
            </a:xfrm>
            <a:custGeom>
              <a:avLst/>
              <a:gdLst>
                <a:gd name="T0" fmla="*/ 25 w 959"/>
                <a:gd name="T1" fmla="*/ 985 h 1035"/>
                <a:gd name="T2" fmla="*/ 86 w 959"/>
                <a:gd name="T3" fmla="*/ 978 h 1035"/>
                <a:gd name="T4" fmla="*/ 120 w 959"/>
                <a:gd name="T5" fmla="*/ 963 h 1035"/>
                <a:gd name="T6" fmla="*/ 136 w 959"/>
                <a:gd name="T7" fmla="*/ 949 h 1035"/>
                <a:gd name="T8" fmla="*/ 150 w 959"/>
                <a:gd name="T9" fmla="*/ 923 h 1035"/>
                <a:gd name="T10" fmla="*/ 161 w 959"/>
                <a:gd name="T11" fmla="*/ 866 h 1035"/>
                <a:gd name="T12" fmla="*/ 163 w 959"/>
                <a:gd name="T13" fmla="*/ 783 h 1035"/>
                <a:gd name="T14" fmla="*/ 163 w 959"/>
                <a:gd name="T15" fmla="*/ 221 h 1035"/>
                <a:gd name="T16" fmla="*/ 158 w 959"/>
                <a:gd name="T17" fmla="*/ 148 h 1035"/>
                <a:gd name="T18" fmla="*/ 143 w 959"/>
                <a:gd name="T19" fmla="*/ 98 h 1035"/>
                <a:gd name="T20" fmla="*/ 131 w 959"/>
                <a:gd name="T21" fmla="*/ 81 h 1035"/>
                <a:gd name="T22" fmla="*/ 114 w 959"/>
                <a:gd name="T23" fmla="*/ 69 h 1035"/>
                <a:gd name="T24" fmla="*/ 68 w 959"/>
                <a:gd name="T25" fmla="*/ 54 h 1035"/>
                <a:gd name="T26" fmla="*/ 0 w 959"/>
                <a:gd name="T27" fmla="*/ 50 h 1035"/>
                <a:gd name="T28" fmla="*/ 902 w 959"/>
                <a:gd name="T29" fmla="*/ 244 h 1035"/>
                <a:gd name="T30" fmla="*/ 843 w 959"/>
                <a:gd name="T31" fmla="*/ 209 h 1035"/>
                <a:gd name="T32" fmla="*/ 824 w 959"/>
                <a:gd name="T33" fmla="*/ 150 h 1035"/>
                <a:gd name="T34" fmla="*/ 803 w 959"/>
                <a:gd name="T35" fmla="*/ 118 h 1035"/>
                <a:gd name="T36" fmla="*/ 770 w 959"/>
                <a:gd name="T37" fmla="*/ 95 h 1035"/>
                <a:gd name="T38" fmla="*/ 719 w 959"/>
                <a:gd name="T39" fmla="*/ 82 h 1035"/>
                <a:gd name="T40" fmla="*/ 643 w 959"/>
                <a:gd name="T41" fmla="*/ 78 h 1035"/>
                <a:gd name="T42" fmla="*/ 474 w 959"/>
                <a:gd name="T43" fmla="*/ 449 h 1035"/>
                <a:gd name="T44" fmla="*/ 532 w 959"/>
                <a:gd name="T45" fmla="*/ 447 h 1035"/>
                <a:gd name="T46" fmla="*/ 597 w 959"/>
                <a:gd name="T47" fmla="*/ 439 h 1035"/>
                <a:gd name="T48" fmla="*/ 634 w 959"/>
                <a:gd name="T49" fmla="*/ 424 h 1035"/>
                <a:gd name="T50" fmla="*/ 649 w 959"/>
                <a:gd name="T51" fmla="*/ 410 h 1035"/>
                <a:gd name="T52" fmla="*/ 662 w 959"/>
                <a:gd name="T53" fmla="*/ 385 h 1035"/>
                <a:gd name="T54" fmla="*/ 673 w 959"/>
                <a:gd name="T55" fmla="*/ 332 h 1035"/>
                <a:gd name="T56" fmla="*/ 725 w 959"/>
                <a:gd name="T57" fmla="*/ 283 h 1035"/>
                <a:gd name="T58" fmla="*/ 675 w 959"/>
                <a:gd name="T59" fmla="*/ 691 h 1035"/>
                <a:gd name="T60" fmla="*/ 671 w 959"/>
                <a:gd name="T61" fmla="*/ 623 h 1035"/>
                <a:gd name="T62" fmla="*/ 656 w 959"/>
                <a:gd name="T63" fmla="*/ 576 h 1035"/>
                <a:gd name="T64" fmla="*/ 644 w 959"/>
                <a:gd name="T65" fmla="*/ 560 h 1035"/>
                <a:gd name="T66" fmla="*/ 628 w 959"/>
                <a:gd name="T67" fmla="*/ 547 h 1035"/>
                <a:gd name="T68" fmla="*/ 578 w 959"/>
                <a:gd name="T69" fmla="*/ 532 h 1035"/>
                <a:gd name="T70" fmla="*/ 505 w 959"/>
                <a:gd name="T71" fmla="*/ 527 h 1035"/>
                <a:gd name="T72" fmla="*/ 379 w 959"/>
                <a:gd name="T73" fmla="*/ 756 h 1035"/>
                <a:gd name="T74" fmla="*/ 380 w 959"/>
                <a:gd name="T75" fmla="*/ 814 h 1035"/>
                <a:gd name="T76" fmla="*/ 389 w 959"/>
                <a:gd name="T77" fmla="*/ 879 h 1035"/>
                <a:gd name="T78" fmla="*/ 405 w 959"/>
                <a:gd name="T79" fmla="*/ 915 h 1035"/>
                <a:gd name="T80" fmla="*/ 418 w 959"/>
                <a:gd name="T81" fmla="*/ 932 h 1035"/>
                <a:gd name="T82" fmla="*/ 444 w 959"/>
                <a:gd name="T83" fmla="*/ 946 h 1035"/>
                <a:gd name="T84" fmla="*/ 497 w 959"/>
                <a:gd name="T85" fmla="*/ 956 h 1035"/>
                <a:gd name="T86" fmla="*/ 700 w 959"/>
                <a:gd name="T87" fmla="*/ 957 h 1035"/>
                <a:gd name="T88" fmla="*/ 753 w 959"/>
                <a:gd name="T89" fmla="*/ 955 h 1035"/>
                <a:gd name="T90" fmla="*/ 813 w 959"/>
                <a:gd name="T91" fmla="*/ 946 h 1035"/>
                <a:gd name="T92" fmla="*/ 852 w 959"/>
                <a:gd name="T93" fmla="*/ 927 h 1035"/>
                <a:gd name="T94" fmla="*/ 876 w 959"/>
                <a:gd name="T95" fmla="*/ 897 h 1035"/>
                <a:gd name="T96" fmla="*/ 891 w 959"/>
                <a:gd name="T97" fmla="*/ 858 h 1035"/>
                <a:gd name="T98" fmla="*/ 959 w 959"/>
                <a:gd name="T99" fmla="*/ 792 h 1035"/>
                <a:gd name="T100" fmla="*/ 0 w 959"/>
                <a:gd name="T101" fmla="*/ 98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9" h="1035">
                  <a:moveTo>
                    <a:pt x="0" y="985"/>
                  </a:moveTo>
                  <a:lnTo>
                    <a:pt x="0" y="985"/>
                  </a:lnTo>
                  <a:lnTo>
                    <a:pt x="25" y="985"/>
                  </a:lnTo>
                  <a:lnTo>
                    <a:pt x="48" y="984"/>
                  </a:lnTo>
                  <a:lnTo>
                    <a:pt x="68" y="982"/>
                  </a:lnTo>
                  <a:lnTo>
                    <a:pt x="86" y="978"/>
                  </a:lnTo>
                  <a:lnTo>
                    <a:pt x="101" y="973"/>
                  </a:lnTo>
                  <a:lnTo>
                    <a:pt x="114" y="966"/>
                  </a:lnTo>
                  <a:lnTo>
                    <a:pt x="120" y="963"/>
                  </a:lnTo>
                  <a:lnTo>
                    <a:pt x="126" y="958"/>
                  </a:lnTo>
                  <a:lnTo>
                    <a:pt x="131" y="954"/>
                  </a:lnTo>
                  <a:lnTo>
                    <a:pt x="136" y="949"/>
                  </a:lnTo>
                  <a:lnTo>
                    <a:pt x="140" y="943"/>
                  </a:lnTo>
                  <a:lnTo>
                    <a:pt x="143" y="937"/>
                  </a:lnTo>
                  <a:lnTo>
                    <a:pt x="150" y="923"/>
                  </a:lnTo>
                  <a:lnTo>
                    <a:pt x="154" y="906"/>
                  </a:lnTo>
                  <a:lnTo>
                    <a:pt x="158" y="888"/>
                  </a:lnTo>
                  <a:lnTo>
                    <a:pt x="161" y="866"/>
                  </a:lnTo>
                  <a:lnTo>
                    <a:pt x="162" y="842"/>
                  </a:lnTo>
                  <a:lnTo>
                    <a:pt x="163" y="814"/>
                  </a:lnTo>
                  <a:lnTo>
                    <a:pt x="163" y="783"/>
                  </a:lnTo>
                  <a:lnTo>
                    <a:pt x="163" y="252"/>
                  </a:lnTo>
                  <a:lnTo>
                    <a:pt x="163" y="252"/>
                  </a:lnTo>
                  <a:lnTo>
                    <a:pt x="163" y="221"/>
                  </a:lnTo>
                  <a:lnTo>
                    <a:pt x="162" y="194"/>
                  </a:lnTo>
                  <a:lnTo>
                    <a:pt x="161" y="169"/>
                  </a:lnTo>
                  <a:lnTo>
                    <a:pt x="158" y="148"/>
                  </a:lnTo>
                  <a:lnTo>
                    <a:pt x="154" y="129"/>
                  </a:lnTo>
                  <a:lnTo>
                    <a:pt x="150" y="113"/>
                  </a:lnTo>
                  <a:lnTo>
                    <a:pt x="143" y="98"/>
                  </a:lnTo>
                  <a:lnTo>
                    <a:pt x="140" y="92"/>
                  </a:lnTo>
                  <a:lnTo>
                    <a:pt x="136" y="86"/>
                  </a:lnTo>
                  <a:lnTo>
                    <a:pt x="131" y="81"/>
                  </a:lnTo>
                  <a:lnTo>
                    <a:pt x="126" y="77"/>
                  </a:lnTo>
                  <a:lnTo>
                    <a:pt x="120" y="73"/>
                  </a:lnTo>
                  <a:lnTo>
                    <a:pt x="114" y="69"/>
                  </a:lnTo>
                  <a:lnTo>
                    <a:pt x="101" y="63"/>
                  </a:lnTo>
                  <a:lnTo>
                    <a:pt x="86" y="58"/>
                  </a:lnTo>
                  <a:lnTo>
                    <a:pt x="68" y="54"/>
                  </a:lnTo>
                  <a:lnTo>
                    <a:pt x="48" y="51"/>
                  </a:lnTo>
                  <a:lnTo>
                    <a:pt x="25" y="50"/>
                  </a:lnTo>
                  <a:lnTo>
                    <a:pt x="0" y="50"/>
                  </a:lnTo>
                  <a:lnTo>
                    <a:pt x="0" y="0"/>
                  </a:lnTo>
                  <a:lnTo>
                    <a:pt x="888" y="0"/>
                  </a:lnTo>
                  <a:lnTo>
                    <a:pt x="902" y="244"/>
                  </a:lnTo>
                  <a:lnTo>
                    <a:pt x="852" y="244"/>
                  </a:lnTo>
                  <a:lnTo>
                    <a:pt x="843" y="209"/>
                  </a:lnTo>
                  <a:lnTo>
                    <a:pt x="843" y="209"/>
                  </a:lnTo>
                  <a:lnTo>
                    <a:pt x="834" y="177"/>
                  </a:lnTo>
                  <a:lnTo>
                    <a:pt x="830" y="163"/>
                  </a:lnTo>
                  <a:lnTo>
                    <a:pt x="824" y="150"/>
                  </a:lnTo>
                  <a:lnTo>
                    <a:pt x="818" y="138"/>
                  </a:lnTo>
                  <a:lnTo>
                    <a:pt x="812" y="127"/>
                  </a:lnTo>
                  <a:lnTo>
                    <a:pt x="803" y="118"/>
                  </a:lnTo>
                  <a:lnTo>
                    <a:pt x="794" y="109"/>
                  </a:lnTo>
                  <a:lnTo>
                    <a:pt x="783" y="101"/>
                  </a:lnTo>
                  <a:lnTo>
                    <a:pt x="770" y="95"/>
                  </a:lnTo>
                  <a:lnTo>
                    <a:pt x="755" y="90"/>
                  </a:lnTo>
                  <a:lnTo>
                    <a:pt x="738" y="85"/>
                  </a:lnTo>
                  <a:lnTo>
                    <a:pt x="719" y="82"/>
                  </a:lnTo>
                  <a:lnTo>
                    <a:pt x="696" y="80"/>
                  </a:lnTo>
                  <a:lnTo>
                    <a:pt x="672" y="78"/>
                  </a:lnTo>
                  <a:lnTo>
                    <a:pt x="643" y="78"/>
                  </a:lnTo>
                  <a:lnTo>
                    <a:pt x="379" y="78"/>
                  </a:lnTo>
                  <a:lnTo>
                    <a:pt x="379" y="449"/>
                  </a:lnTo>
                  <a:lnTo>
                    <a:pt x="474" y="449"/>
                  </a:lnTo>
                  <a:lnTo>
                    <a:pt x="474" y="449"/>
                  </a:lnTo>
                  <a:lnTo>
                    <a:pt x="505" y="448"/>
                  </a:lnTo>
                  <a:lnTo>
                    <a:pt x="532" y="447"/>
                  </a:lnTo>
                  <a:lnTo>
                    <a:pt x="557" y="446"/>
                  </a:lnTo>
                  <a:lnTo>
                    <a:pt x="578" y="443"/>
                  </a:lnTo>
                  <a:lnTo>
                    <a:pt x="597" y="439"/>
                  </a:lnTo>
                  <a:lnTo>
                    <a:pt x="613" y="434"/>
                  </a:lnTo>
                  <a:lnTo>
                    <a:pt x="628" y="428"/>
                  </a:lnTo>
                  <a:lnTo>
                    <a:pt x="634" y="424"/>
                  </a:lnTo>
                  <a:lnTo>
                    <a:pt x="639" y="419"/>
                  </a:lnTo>
                  <a:lnTo>
                    <a:pt x="644" y="415"/>
                  </a:lnTo>
                  <a:lnTo>
                    <a:pt x="649" y="410"/>
                  </a:lnTo>
                  <a:lnTo>
                    <a:pt x="653" y="404"/>
                  </a:lnTo>
                  <a:lnTo>
                    <a:pt x="656" y="398"/>
                  </a:lnTo>
                  <a:lnTo>
                    <a:pt x="662" y="385"/>
                  </a:lnTo>
                  <a:lnTo>
                    <a:pt x="667" y="369"/>
                  </a:lnTo>
                  <a:lnTo>
                    <a:pt x="671" y="352"/>
                  </a:lnTo>
                  <a:lnTo>
                    <a:pt x="673" y="332"/>
                  </a:lnTo>
                  <a:lnTo>
                    <a:pt x="674" y="309"/>
                  </a:lnTo>
                  <a:lnTo>
                    <a:pt x="675" y="283"/>
                  </a:lnTo>
                  <a:lnTo>
                    <a:pt x="725" y="283"/>
                  </a:lnTo>
                  <a:lnTo>
                    <a:pt x="725" y="691"/>
                  </a:lnTo>
                  <a:lnTo>
                    <a:pt x="675" y="691"/>
                  </a:lnTo>
                  <a:lnTo>
                    <a:pt x="675" y="691"/>
                  </a:lnTo>
                  <a:lnTo>
                    <a:pt x="674" y="666"/>
                  </a:lnTo>
                  <a:lnTo>
                    <a:pt x="673" y="643"/>
                  </a:lnTo>
                  <a:lnTo>
                    <a:pt x="671" y="623"/>
                  </a:lnTo>
                  <a:lnTo>
                    <a:pt x="667" y="605"/>
                  </a:lnTo>
                  <a:lnTo>
                    <a:pt x="662" y="589"/>
                  </a:lnTo>
                  <a:lnTo>
                    <a:pt x="656" y="576"/>
                  </a:lnTo>
                  <a:lnTo>
                    <a:pt x="653" y="570"/>
                  </a:lnTo>
                  <a:lnTo>
                    <a:pt x="649" y="565"/>
                  </a:lnTo>
                  <a:lnTo>
                    <a:pt x="644" y="560"/>
                  </a:lnTo>
                  <a:lnTo>
                    <a:pt x="639" y="554"/>
                  </a:lnTo>
                  <a:lnTo>
                    <a:pt x="634" y="550"/>
                  </a:lnTo>
                  <a:lnTo>
                    <a:pt x="628" y="547"/>
                  </a:lnTo>
                  <a:lnTo>
                    <a:pt x="613" y="540"/>
                  </a:lnTo>
                  <a:lnTo>
                    <a:pt x="597" y="536"/>
                  </a:lnTo>
                  <a:lnTo>
                    <a:pt x="578" y="532"/>
                  </a:lnTo>
                  <a:lnTo>
                    <a:pt x="557" y="529"/>
                  </a:lnTo>
                  <a:lnTo>
                    <a:pt x="532" y="528"/>
                  </a:lnTo>
                  <a:lnTo>
                    <a:pt x="505" y="527"/>
                  </a:lnTo>
                  <a:lnTo>
                    <a:pt x="474" y="527"/>
                  </a:lnTo>
                  <a:lnTo>
                    <a:pt x="379" y="527"/>
                  </a:lnTo>
                  <a:lnTo>
                    <a:pt x="379" y="756"/>
                  </a:lnTo>
                  <a:lnTo>
                    <a:pt x="379" y="756"/>
                  </a:lnTo>
                  <a:lnTo>
                    <a:pt x="379" y="787"/>
                  </a:lnTo>
                  <a:lnTo>
                    <a:pt x="380" y="814"/>
                  </a:lnTo>
                  <a:lnTo>
                    <a:pt x="382" y="839"/>
                  </a:lnTo>
                  <a:lnTo>
                    <a:pt x="385" y="860"/>
                  </a:lnTo>
                  <a:lnTo>
                    <a:pt x="389" y="879"/>
                  </a:lnTo>
                  <a:lnTo>
                    <a:pt x="394" y="896"/>
                  </a:lnTo>
                  <a:lnTo>
                    <a:pt x="401" y="909"/>
                  </a:lnTo>
                  <a:lnTo>
                    <a:pt x="405" y="915"/>
                  </a:lnTo>
                  <a:lnTo>
                    <a:pt x="409" y="921"/>
                  </a:lnTo>
                  <a:lnTo>
                    <a:pt x="413" y="927"/>
                  </a:lnTo>
                  <a:lnTo>
                    <a:pt x="418" y="932"/>
                  </a:lnTo>
                  <a:lnTo>
                    <a:pt x="424" y="936"/>
                  </a:lnTo>
                  <a:lnTo>
                    <a:pt x="429" y="939"/>
                  </a:lnTo>
                  <a:lnTo>
                    <a:pt x="444" y="946"/>
                  </a:lnTo>
                  <a:lnTo>
                    <a:pt x="459" y="950"/>
                  </a:lnTo>
                  <a:lnTo>
                    <a:pt x="476" y="954"/>
                  </a:lnTo>
                  <a:lnTo>
                    <a:pt x="497" y="956"/>
                  </a:lnTo>
                  <a:lnTo>
                    <a:pt x="519" y="957"/>
                  </a:lnTo>
                  <a:lnTo>
                    <a:pt x="545" y="957"/>
                  </a:lnTo>
                  <a:lnTo>
                    <a:pt x="700" y="957"/>
                  </a:lnTo>
                  <a:lnTo>
                    <a:pt x="700" y="957"/>
                  </a:lnTo>
                  <a:lnTo>
                    <a:pt x="729" y="957"/>
                  </a:lnTo>
                  <a:lnTo>
                    <a:pt x="753" y="955"/>
                  </a:lnTo>
                  <a:lnTo>
                    <a:pt x="776" y="953"/>
                  </a:lnTo>
                  <a:lnTo>
                    <a:pt x="795" y="950"/>
                  </a:lnTo>
                  <a:lnTo>
                    <a:pt x="813" y="946"/>
                  </a:lnTo>
                  <a:lnTo>
                    <a:pt x="827" y="940"/>
                  </a:lnTo>
                  <a:lnTo>
                    <a:pt x="840" y="934"/>
                  </a:lnTo>
                  <a:lnTo>
                    <a:pt x="852" y="927"/>
                  </a:lnTo>
                  <a:lnTo>
                    <a:pt x="861" y="917"/>
                  </a:lnTo>
                  <a:lnTo>
                    <a:pt x="869" y="908"/>
                  </a:lnTo>
                  <a:lnTo>
                    <a:pt x="876" y="897"/>
                  </a:lnTo>
                  <a:lnTo>
                    <a:pt x="882" y="886"/>
                  </a:lnTo>
                  <a:lnTo>
                    <a:pt x="887" y="872"/>
                  </a:lnTo>
                  <a:lnTo>
                    <a:pt x="891" y="858"/>
                  </a:lnTo>
                  <a:lnTo>
                    <a:pt x="901" y="826"/>
                  </a:lnTo>
                  <a:lnTo>
                    <a:pt x="909" y="792"/>
                  </a:lnTo>
                  <a:lnTo>
                    <a:pt x="959" y="792"/>
                  </a:lnTo>
                  <a:lnTo>
                    <a:pt x="946" y="1035"/>
                  </a:lnTo>
                  <a:lnTo>
                    <a:pt x="0" y="1035"/>
                  </a:lnTo>
                  <a:lnTo>
                    <a:pt x="0" y="9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0" name="Freeform 13"/>
            <p:cNvSpPr>
              <a:spLocks/>
            </p:cNvSpPr>
            <p:nvPr userDrawn="1"/>
          </p:nvSpPr>
          <p:spPr bwMode="auto">
            <a:xfrm>
              <a:off x="7839321" y="633580"/>
              <a:ext cx="152400" cy="141289"/>
            </a:xfrm>
            <a:custGeom>
              <a:avLst/>
              <a:gdLst>
                <a:gd name="T0" fmla="*/ 1159 w 1159"/>
                <a:gd name="T1" fmla="*/ 50 h 1065"/>
                <a:gd name="T2" fmla="*/ 1091 w 1159"/>
                <a:gd name="T3" fmla="*/ 54 h 1065"/>
                <a:gd name="T4" fmla="*/ 1039 w 1159"/>
                <a:gd name="T5" fmla="*/ 73 h 1065"/>
                <a:gd name="T6" fmla="*/ 1019 w 1159"/>
                <a:gd name="T7" fmla="*/ 92 h 1065"/>
                <a:gd name="T8" fmla="*/ 1001 w 1159"/>
                <a:gd name="T9" fmla="*/ 148 h 1065"/>
                <a:gd name="T10" fmla="*/ 996 w 1159"/>
                <a:gd name="T11" fmla="*/ 252 h 1065"/>
                <a:gd name="T12" fmla="*/ 994 w 1159"/>
                <a:gd name="T13" fmla="*/ 700 h 1065"/>
                <a:gd name="T14" fmla="*/ 976 w 1159"/>
                <a:gd name="T15" fmla="*/ 790 h 1065"/>
                <a:gd name="T16" fmla="*/ 944 w 1159"/>
                <a:gd name="T17" fmla="*/ 866 h 1065"/>
                <a:gd name="T18" fmla="*/ 899 w 1159"/>
                <a:gd name="T19" fmla="*/ 932 h 1065"/>
                <a:gd name="T20" fmla="*/ 843 w 1159"/>
                <a:gd name="T21" fmla="*/ 984 h 1065"/>
                <a:gd name="T22" fmla="*/ 777 w 1159"/>
                <a:gd name="T23" fmla="*/ 1023 h 1065"/>
                <a:gd name="T24" fmla="*/ 702 w 1159"/>
                <a:gd name="T25" fmla="*/ 1049 h 1065"/>
                <a:gd name="T26" fmla="*/ 621 w 1159"/>
                <a:gd name="T27" fmla="*/ 1063 h 1065"/>
                <a:gd name="T28" fmla="*/ 558 w 1159"/>
                <a:gd name="T29" fmla="*/ 1065 h 1065"/>
                <a:gd name="T30" fmla="*/ 476 w 1159"/>
                <a:gd name="T31" fmla="*/ 1054 h 1065"/>
                <a:gd name="T32" fmla="*/ 399 w 1159"/>
                <a:gd name="T33" fmla="*/ 1031 h 1065"/>
                <a:gd name="T34" fmla="*/ 331 w 1159"/>
                <a:gd name="T35" fmla="*/ 995 h 1065"/>
                <a:gd name="T36" fmla="*/ 273 w 1159"/>
                <a:gd name="T37" fmla="*/ 946 h 1065"/>
                <a:gd name="T38" fmla="*/ 226 w 1159"/>
                <a:gd name="T39" fmla="*/ 884 h 1065"/>
                <a:gd name="T40" fmla="*/ 191 w 1159"/>
                <a:gd name="T41" fmla="*/ 810 h 1065"/>
                <a:gd name="T42" fmla="*/ 170 w 1159"/>
                <a:gd name="T43" fmla="*/ 723 h 1065"/>
                <a:gd name="T44" fmla="*/ 165 w 1159"/>
                <a:gd name="T45" fmla="*/ 252 h 1065"/>
                <a:gd name="T46" fmla="*/ 162 w 1159"/>
                <a:gd name="T47" fmla="*/ 169 h 1065"/>
                <a:gd name="T48" fmla="*/ 145 w 1159"/>
                <a:gd name="T49" fmla="*/ 98 h 1065"/>
                <a:gd name="T50" fmla="*/ 126 w 1159"/>
                <a:gd name="T51" fmla="*/ 77 h 1065"/>
                <a:gd name="T52" fmla="*/ 87 w 1159"/>
                <a:gd name="T53" fmla="*/ 58 h 1065"/>
                <a:gd name="T54" fmla="*/ 0 w 1159"/>
                <a:gd name="T55" fmla="*/ 50 h 1065"/>
                <a:gd name="T56" fmla="*/ 547 w 1159"/>
                <a:gd name="T57" fmla="*/ 50 h 1065"/>
                <a:gd name="T58" fmla="*/ 460 w 1159"/>
                <a:gd name="T59" fmla="*/ 58 h 1065"/>
                <a:gd name="T60" fmla="*/ 419 w 1159"/>
                <a:gd name="T61" fmla="*/ 77 h 1065"/>
                <a:gd name="T62" fmla="*/ 402 w 1159"/>
                <a:gd name="T63" fmla="*/ 98 h 1065"/>
                <a:gd name="T64" fmla="*/ 384 w 1159"/>
                <a:gd name="T65" fmla="*/ 169 h 1065"/>
                <a:gd name="T66" fmla="*/ 381 w 1159"/>
                <a:gd name="T67" fmla="*/ 631 h 1065"/>
                <a:gd name="T68" fmla="*/ 384 w 1159"/>
                <a:gd name="T69" fmla="*/ 691 h 1065"/>
                <a:gd name="T70" fmla="*/ 397 w 1159"/>
                <a:gd name="T71" fmla="*/ 761 h 1065"/>
                <a:gd name="T72" fmla="*/ 420 w 1159"/>
                <a:gd name="T73" fmla="*/ 819 h 1065"/>
                <a:gd name="T74" fmla="*/ 451 w 1159"/>
                <a:gd name="T75" fmla="*/ 867 h 1065"/>
                <a:gd name="T76" fmla="*/ 488 w 1159"/>
                <a:gd name="T77" fmla="*/ 905 h 1065"/>
                <a:gd name="T78" fmla="*/ 532 w 1159"/>
                <a:gd name="T79" fmla="*/ 933 h 1065"/>
                <a:gd name="T80" fmla="*/ 581 w 1159"/>
                <a:gd name="T81" fmla="*/ 950 h 1065"/>
                <a:gd name="T82" fmla="*/ 635 w 1159"/>
                <a:gd name="T83" fmla="*/ 957 h 1065"/>
                <a:gd name="T84" fmla="*/ 676 w 1159"/>
                <a:gd name="T85" fmla="*/ 956 h 1065"/>
                <a:gd name="T86" fmla="*/ 727 w 1159"/>
                <a:gd name="T87" fmla="*/ 947 h 1065"/>
                <a:gd name="T88" fmla="*/ 773 w 1159"/>
                <a:gd name="T89" fmla="*/ 927 h 1065"/>
                <a:gd name="T90" fmla="*/ 814 w 1159"/>
                <a:gd name="T91" fmla="*/ 897 h 1065"/>
                <a:gd name="T92" fmla="*/ 847 w 1159"/>
                <a:gd name="T93" fmla="*/ 857 h 1065"/>
                <a:gd name="T94" fmla="*/ 873 w 1159"/>
                <a:gd name="T95" fmla="*/ 806 h 1065"/>
                <a:gd name="T96" fmla="*/ 891 w 1159"/>
                <a:gd name="T97" fmla="*/ 745 h 1065"/>
                <a:gd name="T98" fmla="*/ 901 w 1159"/>
                <a:gd name="T99" fmla="*/ 672 h 1065"/>
                <a:gd name="T100" fmla="*/ 903 w 1159"/>
                <a:gd name="T101" fmla="*/ 252 h 1065"/>
                <a:gd name="T102" fmla="*/ 896 w 1159"/>
                <a:gd name="T103" fmla="*/ 148 h 1065"/>
                <a:gd name="T104" fmla="*/ 878 w 1159"/>
                <a:gd name="T105" fmla="*/ 92 h 1065"/>
                <a:gd name="T106" fmla="*/ 859 w 1159"/>
                <a:gd name="T107" fmla="*/ 73 h 1065"/>
                <a:gd name="T108" fmla="*/ 805 w 1159"/>
                <a:gd name="T109" fmla="*/ 54 h 1065"/>
                <a:gd name="T110" fmla="*/ 737 w 1159"/>
                <a:gd name="T111" fmla="*/ 50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9" h="1065">
                  <a:moveTo>
                    <a:pt x="737" y="50"/>
                  </a:moveTo>
                  <a:lnTo>
                    <a:pt x="737" y="0"/>
                  </a:lnTo>
                  <a:lnTo>
                    <a:pt x="1159" y="0"/>
                  </a:lnTo>
                  <a:lnTo>
                    <a:pt x="1159" y="50"/>
                  </a:lnTo>
                  <a:lnTo>
                    <a:pt x="1159" y="50"/>
                  </a:lnTo>
                  <a:lnTo>
                    <a:pt x="1134" y="50"/>
                  </a:lnTo>
                  <a:lnTo>
                    <a:pt x="1111" y="51"/>
                  </a:lnTo>
                  <a:lnTo>
                    <a:pt x="1091" y="54"/>
                  </a:lnTo>
                  <a:lnTo>
                    <a:pt x="1073" y="58"/>
                  </a:lnTo>
                  <a:lnTo>
                    <a:pt x="1058" y="63"/>
                  </a:lnTo>
                  <a:lnTo>
                    <a:pt x="1045" y="69"/>
                  </a:lnTo>
                  <a:lnTo>
                    <a:pt x="1039" y="73"/>
                  </a:lnTo>
                  <a:lnTo>
                    <a:pt x="1033" y="77"/>
                  </a:lnTo>
                  <a:lnTo>
                    <a:pt x="1028" y="81"/>
                  </a:lnTo>
                  <a:lnTo>
                    <a:pt x="1023" y="86"/>
                  </a:lnTo>
                  <a:lnTo>
                    <a:pt x="1019" y="92"/>
                  </a:lnTo>
                  <a:lnTo>
                    <a:pt x="1016" y="98"/>
                  </a:lnTo>
                  <a:lnTo>
                    <a:pt x="1009" y="113"/>
                  </a:lnTo>
                  <a:lnTo>
                    <a:pt x="1005" y="129"/>
                  </a:lnTo>
                  <a:lnTo>
                    <a:pt x="1001" y="148"/>
                  </a:lnTo>
                  <a:lnTo>
                    <a:pt x="998" y="169"/>
                  </a:lnTo>
                  <a:lnTo>
                    <a:pt x="997" y="194"/>
                  </a:lnTo>
                  <a:lnTo>
                    <a:pt x="996" y="221"/>
                  </a:lnTo>
                  <a:lnTo>
                    <a:pt x="996" y="252"/>
                  </a:lnTo>
                  <a:lnTo>
                    <a:pt x="996" y="651"/>
                  </a:lnTo>
                  <a:lnTo>
                    <a:pt x="996" y="651"/>
                  </a:lnTo>
                  <a:lnTo>
                    <a:pt x="995" y="675"/>
                  </a:lnTo>
                  <a:lnTo>
                    <a:pt x="994" y="700"/>
                  </a:lnTo>
                  <a:lnTo>
                    <a:pt x="990" y="723"/>
                  </a:lnTo>
                  <a:lnTo>
                    <a:pt x="986" y="746"/>
                  </a:lnTo>
                  <a:lnTo>
                    <a:pt x="982" y="768"/>
                  </a:lnTo>
                  <a:lnTo>
                    <a:pt x="976" y="790"/>
                  </a:lnTo>
                  <a:lnTo>
                    <a:pt x="970" y="810"/>
                  </a:lnTo>
                  <a:lnTo>
                    <a:pt x="962" y="829"/>
                  </a:lnTo>
                  <a:lnTo>
                    <a:pt x="954" y="849"/>
                  </a:lnTo>
                  <a:lnTo>
                    <a:pt x="944" y="866"/>
                  </a:lnTo>
                  <a:lnTo>
                    <a:pt x="934" y="884"/>
                  </a:lnTo>
                  <a:lnTo>
                    <a:pt x="924" y="901"/>
                  </a:lnTo>
                  <a:lnTo>
                    <a:pt x="912" y="916"/>
                  </a:lnTo>
                  <a:lnTo>
                    <a:pt x="899" y="932"/>
                  </a:lnTo>
                  <a:lnTo>
                    <a:pt x="886" y="946"/>
                  </a:lnTo>
                  <a:lnTo>
                    <a:pt x="873" y="959"/>
                  </a:lnTo>
                  <a:lnTo>
                    <a:pt x="859" y="972"/>
                  </a:lnTo>
                  <a:lnTo>
                    <a:pt x="843" y="984"/>
                  </a:lnTo>
                  <a:lnTo>
                    <a:pt x="828" y="995"/>
                  </a:lnTo>
                  <a:lnTo>
                    <a:pt x="812" y="1005"/>
                  </a:lnTo>
                  <a:lnTo>
                    <a:pt x="794" y="1015"/>
                  </a:lnTo>
                  <a:lnTo>
                    <a:pt x="777" y="1023"/>
                  </a:lnTo>
                  <a:lnTo>
                    <a:pt x="759" y="1031"/>
                  </a:lnTo>
                  <a:lnTo>
                    <a:pt x="741" y="1038"/>
                  </a:lnTo>
                  <a:lnTo>
                    <a:pt x="722" y="1044"/>
                  </a:lnTo>
                  <a:lnTo>
                    <a:pt x="702" y="1049"/>
                  </a:lnTo>
                  <a:lnTo>
                    <a:pt x="683" y="1054"/>
                  </a:lnTo>
                  <a:lnTo>
                    <a:pt x="662" y="1057"/>
                  </a:lnTo>
                  <a:lnTo>
                    <a:pt x="643" y="1061"/>
                  </a:lnTo>
                  <a:lnTo>
                    <a:pt x="621" y="1063"/>
                  </a:lnTo>
                  <a:lnTo>
                    <a:pt x="601" y="1065"/>
                  </a:lnTo>
                  <a:lnTo>
                    <a:pt x="579" y="1065"/>
                  </a:lnTo>
                  <a:lnTo>
                    <a:pt x="579" y="1065"/>
                  </a:lnTo>
                  <a:lnTo>
                    <a:pt x="558" y="1065"/>
                  </a:lnTo>
                  <a:lnTo>
                    <a:pt x="538" y="1063"/>
                  </a:lnTo>
                  <a:lnTo>
                    <a:pt x="516" y="1061"/>
                  </a:lnTo>
                  <a:lnTo>
                    <a:pt x="496" y="1057"/>
                  </a:lnTo>
                  <a:lnTo>
                    <a:pt x="476" y="1054"/>
                  </a:lnTo>
                  <a:lnTo>
                    <a:pt x="456" y="1049"/>
                  </a:lnTo>
                  <a:lnTo>
                    <a:pt x="437" y="1044"/>
                  </a:lnTo>
                  <a:lnTo>
                    <a:pt x="418" y="1038"/>
                  </a:lnTo>
                  <a:lnTo>
                    <a:pt x="399" y="1031"/>
                  </a:lnTo>
                  <a:lnTo>
                    <a:pt x="382" y="1023"/>
                  </a:lnTo>
                  <a:lnTo>
                    <a:pt x="365" y="1015"/>
                  </a:lnTo>
                  <a:lnTo>
                    <a:pt x="347" y="1005"/>
                  </a:lnTo>
                  <a:lnTo>
                    <a:pt x="331" y="995"/>
                  </a:lnTo>
                  <a:lnTo>
                    <a:pt x="316" y="984"/>
                  </a:lnTo>
                  <a:lnTo>
                    <a:pt x="301" y="972"/>
                  </a:lnTo>
                  <a:lnTo>
                    <a:pt x="286" y="959"/>
                  </a:lnTo>
                  <a:lnTo>
                    <a:pt x="273" y="946"/>
                  </a:lnTo>
                  <a:lnTo>
                    <a:pt x="259" y="932"/>
                  </a:lnTo>
                  <a:lnTo>
                    <a:pt x="247" y="916"/>
                  </a:lnTo>
                  <a:lnTo>
                    <a:pt x="236" y="901"/>
                  </a:lnTo>
                  <a:lnTo>
                    <a:pt x="226" y="884"/>
                  </a:lnTo>
                  <a:lnTo>
                    <a:pt x="215" y="866"/>
                  </a:lnTo>
                  <a:lnTo>
                    <a:pt x="206" y="849"/>
                  </a:lnTo>
                  <a:lnTo>
                    <a:pt x="198" y="829"/>
                  </a:lnTo>
                  <a:lnTo>
                    <a:pt x="191" y="810"/>
                  </a:lnTo>
                  <a:lnTo>
                    <a:pt x="184" y="790"/>
                  </a:lnTo>
                  <a:lnTo>
                    <a:pt x="179" y="768"/>
                  </a:lnTo>
                  <a:lnTo>
                    <a:pt x="174" y="746"/>
                  </a:lnTo>
                  <a:lnTo>
                    <a:pt x="170" y="723"/>
                  </a:lnTo>
                  <a:lnTo>
                    <a:pt x="167" y="700"/>
                  </a:lnTo>
                  <a:lnTo>
                    <a:pt x="166" y="675"/>
                  </a:lnTo>
                  <a:lnTo>
                    <a:pt x="165" y="651"/>
                  </a:lnTo>
                  <a:lnTo>
                    <a:pt x="165" y="252"/>
                  </a:lnTo>
                  <a:lnTo>
                    <a:pt x="165" y="252"/>
                  </a:lnTo>
                  <a:lnTo>
                    <a:pt x="165" y="221"/>
                  </a:lnTo>
                  <a:lnTo>
                    <a:pt x="164" y="194"/>
                  </a:lnTo>
                  <a:lnTo>
                    <a:pt x="162" y="169"/>
                  </a:lnTo>
                  <a:lnTo>
                    <a:pt x="160" y="148"/>
                  </a:lnTo>
                  <a:lnTo>
                    <a:pt x="156" y="129"/>
                  </a:lnTo>
                  <a:lnTo>
                    <a:pt x="151" y="113"/>
                  </a:lnTo>
                  <a:lnTo>
                    <a:pt x="145" y="98"/>
                  </a:lnTo>
                  <a:lnTo>
                    <a:pt x="141" y="92"/>
                  </a:lnTo>
                  <a:lnTo>
                    <a:pt x="137" y="86"/>
                  </a:lnTo>
                  <a:lnTo>
                    <a:pt x="132" y="81"/>
                  </a:lnTo>
                  <a:lnTo>
                    <a:pt x="126" y="77"/>
                  </a:lnTo>
                  <a:lnTo>
                    <a:pt x="121" y="73"/>
                  </a:lnTo>
                  <a:lnTo>
                    <a:pt x="115" y="69"/>
                  </a:lnTo>
                  <a:lnTo>
                    <a:pt x="102" y="63"/>
                  </a:lnTo>
                  <a:lnTo>
                    <a:pt x="87" y="58"/>
                  </a:lnTo>
                  <a:lnTo>
                    <a:pt x="68" y="54"/>
                  </a:lnTo>
                  <a:lnTo>
                    <a:pt x="48" y="51"/>
                  </a:lnTo>
                  <a:lnTo>
                    <a:pt x="25" y="50"/>
                  </a:lnTo>
                  <a:lnTo>
                    <a:pt x="0" y="50"/>
                  </a:lnTo>
                  <a:lnTo>
                    <a:pt x="0" y="0"/>
                  </a:lnTo>
                  <a:lnTo>
                    <a:pt x="547" y="0"/>
                  </a:lnTo>
                  <a:lnTo>
                    <a:pt x="547" y="50"/>
                  </a:lnTo>
                  <a:lnTo>
                    <a:pt x="547" y="50"/>
                  </a:lnTo>
                  <a:lnTo>
                    <a:pt x="521" y="50"/>
                  </a:lnTo>
                  <a:lnTo>
                    <a:pt x="498" y="51"/>
                  </a:lnTo>
                  <a:lnTo>
                    <a:pt x="477" y="54"/>
                  </a:lnTo>
                  <a:lnTo>
                    <a:pt x="460" y="58"/>
                  </a:lnTo>
                  <a:lnTo>
                    <a:pt x="444" y="63"/>
                  </a:lnTo>
                  <a:lnTo>
                    <a:pt x="430" y="69"/>
                  </a:lnTo>
                  <a:lnTo>
                    <a:pt x="425" y="73"/>
                  </a:lnTo>
                  <a:lnTo>
                    <a:pt x="419" y="77"/>
                  </a:lnTo>
                  <a:lnTo>
                    <a:pt x="414" y="81"/>
                  </a:lnTo>
                  <a:lnTo>
                    <a:pt x="410" y="86"/>
                  </a:lnTo>
                  <a:lnTo>
                    <a:pt x="406" y="92"/>
                  </a:lnTo>
                  <a:lnTo>
                    <a:pt x="402" y="98"/>
                  </a:lnTo>
                  <a:lnTo>
                    <a:pt x="395" y="113"/>
                  </a:lnTo>
                  <a:lnTo>
                    <a:pt x="390" y="129"/>
                  </a:lnTo>
                  <a:lnTo>
                    <a:pt x="386" y="148"/>
                  </a:lnTo>
                  <a:lnTo>
                    <a:pt x="384" y="169"/>
                  </a:lnTo>
                  <a:lnTo>
                    <a:pt x="382" y="194"/>
                  </a:lnTo>
                  <a:lnTo>
                    <a:pt x="381" y="221"/>
                  </a:lnTo>
                  <a:lnTo>
                    <a:pt x="381" y="252"/>
                  </a:lnTo>
                  <a:lnTo>
                    <a:pt x="381" y="631"/>
                  </a:lnTo>
                  <a:lnTo>
                    <a:pt x="381" y="631"/>
                  </a:lnTo>
                  <a:lnTo>
                    <a:pt x="381" y="652"/>
                  </a:lnTo>
                  <a:lnTo>
                    <a:pt x="382" y="672"/>
                  </a:lnTo>
                  <a:lnTo>
                    <a:pt x="384" y="691"/>
                  </a:lnTo>
                  <a:lnTo>
                    <a:pt x="386" y="710"/>
                  </a:lnTo>
                  <a:lnTo>
                    <a:pt x="389" y="727"/>
                  </a:lnTo>
                  <a:lnTo>
                    <a:pt x="393" y="745"/>
                  </a:lnTo>
                  <a:lnTo>
                    <a:pt x="397" y="761"/>
                  </a:lnTo>
                  <a:lnTo>
                    <a:pt x="403" y="776"/>
                  </a:lnTo>
                  <a:lnTo>
                    <a:pt x="408" y="792"/>
                  </a:lnTo>
                  <a:lnTo>
                    <a:pt x="413" y="806"/>
                  </a:lnTo>
                  <a:lnTo>
                    <a:pt x="420" y="819"/>
                  </a:lnTo>
                  <a:lnTo>
                    <a:pt x="427" y="833"/>
                  </a:lnTo>
                  <a:lnTo>
                    <a:pt x="434" y="845"/>
                  </a:lnTo>
                  <a:lnTo>
                    <a:pt x="442" y="857"/>
                  </a:lnTo>
                  <a:lnTo>
                    <a:pt x="451" y="867"/>
                  </a:lnTo>
                  <a:lnTo>
                    <a:pt x="459" y="878"/>
                  </a:lnTo>
                  <a:lnTo>
                    <a:pt x="468" y="888"/>
                  </a:lnTo>
                  <a:lnTo>
                    <a:pt x="478" y="897"/>
                  </a:lnTo>
                  <a:lnTo>
                    <a:pt x="488" y="905"/>
                  </a:lnTo>
                  <a:lnTo>
                    <a:pt x="499" y="913"/>
                  </a:lnTo>
                  <a:lnTo>
                    <a:pt x="510" y="920"/>
                  </a:lnTo>
                  <a:lnTo>
                    <a:pt x="521" y="927"/>
                  </a:lnTo>
                  <a:lnTo>
                    <a:pt x="532" y="933"/>
                  </a:lnTo>
                  <a:lnTo>
                    <a:pt x="544" y="938"/>
                  </a:lnTo>
                  <a:lnTo>
                    <a:pt x="556" y="943"/>
                  </a:lnTo>
                  <a:lnTo>
                    <a:pt x="569" y="947"/>
                  </a:lnTo>
                  <a:lnTo>
                    <a:pt x="581" y="950"/>
                  </a:lnTo>
                  <a:lnTo>
                    <a:pt x="595" y="953"/>
                  </a:lnTo>
                  <a:lnTo>
                    <a:pt x="608" y="955"/>
                  </a:lnTo>
                  <a:lnTo>
                    <a:pt x="621" y="956"/>
                  </a:lnTo>
                  <a:lnTo>
                    <a:pt x="635" y="957"/>
                  </a:lnTo>
                  <a:lnTo>
                    <a:pt x="649" y="957"/>
                  </a:lnTo>
                  <a:lnTo>
                    <a:pt x="649" y="957"/>
                  </a:lnTo>
                  <a:lnTo>
                    <a:pt x="662" y="957"/>
                  </a:lnTo>
                  <a:lnTo>
                    <a:pt x="676" y="956"/>
                  </a:lnTo>
                  <a:lnTo>
                    <a:pt x="689" y="955"/>
                  </a:lnTo>
                  <a:lnTo>
                    <a:pt x="702" y="953"/>
                  </a:lnTo>
                  <a:lnTo>
                    <a:pt x="714" y="950"/>
                  </a:lnTo>
                  <a:lnTo>
                    <a:pt x="727" y="947"/>
                  </a:lnTo>
                  <a:lnTo>
                    <a:pt x="739" y="943"/>
                  </a:lnTo>
                  <a:lnTo>
                    <a:pt x="751" y="938"/>
                  </a:lnTo>
                  <a:lnTo>
                    <a:pt x="762" y="933"/>
                  </a:lnTo>
                  <a:lnTo>
                    <a:pt x="773" y="927"/>
                  </a:lnTo>
                  <a:lnTo>
                    <a:pt x="784" y="920"/>
                  </a:lnTo>
                  <a:lnTo>
                    <a:pt x="794" y="913"/>
                  </a:lnTo>
                  <a:lnTo>
                    <a:pt x="803" y="905"/>
                  </a:lnTo>
                  <a:lnTo>
                    <a:pt x="814" y="897"/>
                  </a:lnTo>
                  <a:lnTo>
                    <a:pt x="823" y="888"/>
                  </a:lnTo>
                  <a:lnTo>
                    <a:pt x="831" y="878"/>
                  </a:lnTo>
                  <a:lnTo>
                    <a:pt x="839" y="867"/>
                  </a:lnTo>
                  <a:lnTo>
                    <a:pt x="847" y="857"/>
                  </a:lnTo>
                  <a:lnTo>
                    <a:pt x="854" y="845"/>
                  </a:lnTo>
                  <a:lnTo>
                    <a:pt x="861" y="833"/>
                  </a:lnTo>
                  <a:lnTo>
                    <a:pt x="868" y="819"/>
                  </a:lnTo>
                  <a:lnTo>
                    <a:pt x="873" y="806"/>
                  </a:lnTo>
                  <a:lnTo>
                    <a:pt x="879" y="792"/>
                  </a:lnTo>
                  <a:lnTo>
                    <a:pt x="883" y="776"/>
                  </a:lnTo>
                  <a:lnTo>
                    <a:pt x="887" y="761"/>
                  </a:lnTo>
                  <a:lnTo>
                    <a:pt x="891" y="745"/>
                  </a:lnTo>
                  <a:lnTo>
                    <a:pt x="894" y="727"/>
                  </a:lnTo>
                  <a:lnTo>
                    <a:pt x="897" y="710"/>
                  </a:lnTo>
                  <a:lnTo>
                    <a:pt x="899" y="691"/>
                  </a:lnTo>
                  <a:lnTo>
                    <a:pt x="901" y="672"/>
                  </a:lnTo>
                  <a:lnTo>
                    <a:pt x="902" y="652"/>
                  </a:lnTo>
                  <a:lnTo>
                    <a:pt x="903" y="631"/>
                  </a:lnTo>
                  <a:lnTo>
                    <a:pt x="903" y="252"/>
                  </a:lnTo>
                  <a:lnTo>
                    <a:pt x="903" y="252"/>
                  </a:lnTo>
                  <a:lnTo>
                    <a:pt x="902" y="221"/>
                  </a:lnTo>
                  <a:lnTo>
                    <a:pt x="901" y="194"/>
                  </a:lnTo>
                  <a:lnTo>
                    <a:pt x="899" y="169"/>
                  </a:lnTo>
                  <a:lnTo>
                    <a:pt x="896" y="148"/>
                  </a:lnTo>
                  <a:lnTo>
                    <a:pt x="893" y="129"/>
                  </a:lnTo>
                  <a:lnTo>
                    <a:pt x="888" y="113"/>
                  </a:lnTo>
                  <a:lnTo>
                    <a:pt x="881" y="98"/>
                  </a:lnTo>
                  <a:lnTo>
                    <a:pt x="878" y="92"/>
                  </a:lnTo>
                  <a:lnTo>
                    <a:pt x="874" y="86"/>
                  </a:lnTo>
                  <a:lnTo>
                    <a:pt x="869" y="81"/>
                  </a:lnTo>
                  <a:lnTo>
                    <a:pt x="864" y="77"/>
                  </a:lnTo>
                  <a:lnTo>
                    <a:pt x="859" y="73"/>
                  </a:lnTo>
                  <a:lnTo>
                    <a:pt x="852" y="69"/>
                  </a:lnTo>
                  <a:lnTo>
                    <a:pt x="839" y="63"/>
                  </a:lnTo>
                  <a:lnTo>
                    <a:pt x="824" y="58"/>
                  </a:lnTo>
                  <a:lnTo>
                    <a:pt x="805" y="54"/>
                  </a:lnTo>
                  <a:lnTo>
                    <a:pt x="785" y="51"/>
                  </a:lnTo>
                  <a:lnTo>
                    <a:pt x="762" y="50"/>
                  </a:lnTo>
                  <a:lnTo>
                    <a:pt x="737" y="50"/>
                  </a:lnTo>
                  <a:lnTo>
                    <a:pt x="737"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1" name="Freeform 14"/>
            <p:cNvSpPr>
              <a:spLocks/>
            </p:cNvSpPr>
            <p:nvPr userDrawn="1"/>
          </p:nvSpPr>
          <p:spPr bwMode="auto">
            <a:xfrm>
              <a:off x="8002834" y="633580"/>
              <a:ext cx="160338" cy="141289"/>
            </a:xfrm>
            <a:custGeom>
              <a:avLst/>
              <a:gdLst>
                <a:gd name="T0" fmla="*/ 623 w 1210"/>
                <a:gd name="T1" fmla="*/ 1065 h 1065"/>
                <a:gd name="T2" fmla="*/ 211 w 1210"/>
                <a:gd name="T3" fmla="*/ 202 h 1065"/>
                <a:gd name="T4" fmla="*/ 193 w 1210"/>
                <a:gd name="T5" fmla="*/ 163 h 1065"/>
                <a:gd name="T6" fmla="*/ 177 w 1210"/>
                <a:gd name="T7" fmla="*/ 131 h 1065"/>
                <a:gd name="T8" fmla="*/ 159 w 1210"/>
                <a:gd name="T9" fmla="*/ 105 h 1065"/>
                <a:gd name="T10" fmla="*/ 139 w 1210"/>
                <a:gd name="T11" fmla="*/ 84 h 1065"/>
                <a:gd name="T12" fmla="*/ 114 w 1210"/>
                <a:gd name="T13" fmla="*/ 69 h 1065"/>
                <a:gd name="T14" fmla="*/ 85 w 1210"/>
                <a:gd name="T15" fmla="*/ 59 h 1065"/>
                <a:gd name="T16" fmla="*/ 47 w 1210"/>
                <a:gd name="T17" fmla="*/ 52 h 1065"/>
                <a:gd name="T18" fmla="*/ 0 w 1210"/>
                <a:gd name="T19" fmla="*/ 50 h 1065"/>
                <a:gd name="T20" fmla="*/ 566 w 1210"/>
                <a:gd name="T21" fmla="*/ 0 h 1065"/>
                <a:gd name="T22" fmla="*/ 566 w 1210"/>
                <a:gd name="T23" fmla="*/ 50 h 1065"/>
                <a:gd name="T24" fmla="*/ 515 w 1210"/>
                <a:gd name="T25" fmla="*/ 52 h 1065"/>
                <a:gd name="T26" fmla="*/ 476 w 1210"/>
                <a:gd name="T27" fmla="*/ 58 h 1065"/>
                <a:gd name="T28" fmla="*/ 448 w 1210"/>
                <a:gd name="T29" fmla="*/ 68 h 1065"/>
                <a:gd name="T30" fmla="*/ 429 w 1210"/>
                <a:gd name="T31" fmla="*/ 81 h 1065"/>
                <a:gd name="T32" fmla="*/ 420 w 1210"/>
                <a:gd name="T33" fmla="*/ 99 h 1065"/>
                <a:gd name="T34" fmla="*/ 419 w 1210"/>
                <a:gd name="T35" fmla="*/ 122 h 1065"/>
                <a:gd name="T36" fmla="*/ 424 w 1210"/>
                <a:gd name="T37" fmla="*/ 150 h 1065"/>
                <a:gd name="T38" fmla="*/ 436 w 1210"/>
                <a:gd name="T39" fmla="*/ 181 h 1065"/>
                <a:gd name="T40" fmla="*/ 921 w 1210"/>
                <a:gd name="T41" fmla="*/ 181 h 1065"/>
                <a:gd name="T42" fmla="*/ 928 w 1210"/>
                <a:gd name="T43" fmla="*/ 165 h 1065"/>
                <a:gd name="T44" fmla="*/ 936 w 1210"/>
                <a:gd name="T45" fmla="*/ 134 h 1065"/>
                <a:gd name="T46" fmla="*/ 938 w 1210"/>
                <a:gd name="T47" fmla="*/ 110 h 1065"/>
                <a:gd name="T48" fmla="*/ 931 w 1210"/>
                <a:gd name="T49" fmla="*/ 89 h 1065"/>
                <a:gd name="T50" fmla="*/ 917 w 1210"/>
                <a:gd name="T51" fmla="*/ 74 h 1065"/>
                <a:gd name="T52" fmla="*/ 894 w 1210"/>
                <a:gd name="T53" fmla="*/ 62 h 1065"/>
                <a:gd name="T54" fmla="*/ 861 w 1210"/>
                <a:gd name="T55" fmla="*/ 54 h 1065"/>
                <a:gd name="T56" fmla="*/ 817 w 1210"/>
                <a:gd name="T57" fmla="*/ 50 h 1065"/>
                <a:gd name="T58" fmla="*/ 792 w 1210"/>
                <a:gd name="T59" fmla="*/ 0 h 1065"/>
                <a:gd name="T60" fmla="*/ 1210 w 1210"/>
                <a:gd name="T61" fmla="*/ 50 h 1065"/>
                <a:gd name="T62" fmla="*/ 1188 w 1210"/>
                <a:gd name="T63" fmla="*/ 50 h 1065"/>
                <a:gd name="T64" fmla="*/ 1150 w 1210"/>
                <a:gd name="T65" fmla="*/ 53 h 1065"/>
                <a:gd name="T66" fmla="*/ 1119 w 1210"/>
                <a:gd name="T67" fmla="*/ 61 h 1065"/>
                <a:gd name="T68" fmla="*/ 1091 w 1210"/>
                <a:gd name="T69" fmla="*/ 73 h 1065"/>
                <a:gd name="T70" fmla="*/ 1067 w 1210"/>
                <a:gd name="T71" fmla="*/ 89 h 1065"/>
                <a:gd name="T72" fmla="*/ 1046 w 1210"/>
                <a:gd name="T73" fmla="*/ 113 h 1065"/>
                <a:gd name="T74" fmla="*/ 1026 w 1210"/>
                <a:gd name="T75" fmla="*/ 142 h 1065"/>
                <a:gd name="T76" fmla="*/ 1007 w 1210"/>
                <a:gd name="T77" fmla="*/ 180 h 1065"/>
                <a:gd name="T78" fmla="*/ 997 w 1210"/>
                <a:gd name="T79" fmla="*/ 20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0" h="1065">
                  <a:moveTo>
                    <a:pt x="997" y="202"/>
                  </a:moveTo>
                  <a:lnTo>
                    <a:pt x="623" y="1065"/>
                  </a:lnTo>
                  <a:lnTo>
                    <a:pt x="587" y="1065"/>
                  </a:lnTo>
                  <a:lnTo>
                    <a:pt x="211" y="202"/>
                  </a:lnTo>
                  <a:lnTo>
                    <a:pt x="211" y="202"/>
                  </a:lnTo>
                  <a:lnTo>
                    <a:pt x="193" y="163"/>
                  </a:lnTo>
                  <a:lnTo>
                    <a:pt x="185" y="146"/>
                  </a:lnTo>
                  <a:lnTo>
                    <a:pt x="177" y="131"/>
                  </a:lnTo>
                  <a:lnTo>
                    <a:pt x="169" y="117"/>
                  </a:lnTo>
                  <a:lnTo>
                    <a:pt x="159" y="105"/>
                  </a:lnTo>
                  <a:lnTo>
                    <a:pt x="149" y="93"/>
                  </a:lnTo>
                  <a:lnTo>
                    <a:pt x="139" y="84"/>
                  </a:lnTo>
                  <a:lnTo>
                    <a:pt x="128" y="76"/>
                  </a:lnTo>
                  <a:lnTo>
                    <a:pt x="114" y="69"/>
                  </a:lnTo>
                  <a:lnTo>
                    <a:pt x="100" y="63"/>
                  </a:lnTo>
                  <a:lnTo>
                    <a:pt x="85" y="59"/>
                  </a:lnTo>
                  <a:lnTo>
                    <a:pt x="66" y="54"/>
                  </a:lnTo>
                  <a:lnTo>
                    <a:pt x="47" y="52"/>
                  </a:lnTo>
                  <a:lnTo>
                    <a:pt x="24" y="50"/>
                  </a:lnTo>
                  <a:lnTo>
                    <a:pt x="0" y="50"/>
                  </a:lnTo>
                  <a:lnTo>
                    <a:pt x="0" y="0"/>
                  </a:lnTo>
                  <a:lnTo>
                    <a:pt x="566" y="0"/>
                  </a:lnTo>
                  <a:lnTo>
                    <a:pt x="566" y="50"/>
                  </a:lnTo>
                  <a:lnTo>
                    <a:pt x="566" y="50"/>
                  </a:lnTo>
                  <a:lnTo>
                    <a:pt x="539" y="50"/>
                  </a:lnTo>
                  <a:lnTo>
                    <a:pt x="515" y="52"/>
                  </a:lnTo>
                  <a:lnTo>
                    <a:pt x="494" y="54"/>
                  </a:lnTo>
                  <a:lnTo>
                    <a:pt x="476" y="58"/>
                  </a:lnTo>
                  <a:lnTo>
                    <a:pt x="461" y="63"/>
                  </a:lnTo>
                  <a:lnTo>
                    <a:pt x="448" y="68"/>
                  </a:lnTo>
                  <a:lnTo>
                    <a:pt x="438" y="74"/>
                  </a:lnTo>
                  <a:lnTo>
                    <a:pt x="429" y="81"/>
                  </a:lnTo>
                  <a:lnTo>
                    <a:pt x="423" y="90"/>
                  </a:lnTo>
                  <a:lnTo>
                    <a:pt x="420" y="99"/>
                  </a:lnTo>
                  <a:lnTo>
                    <a:pt x="418" y="111"/>
                  </a:lnTo>
                  <a:lnTo>
                    <a:pt x="419" y="122"/>
                  </a:lnTo>
                  <a:lnTo>
                    <a:pt x="421" y="135"/>
                  </a:lnTo>
                  <a:lnTo>
                    <a:pt x="424" y="150"/>
                  </a:lnTo>
                  <a:lnTo>
                    <a:pt x="429" y="165"/>
                  </a:lnTo>
                  <a:lnTo>
                    <a:pt x="436" y="181"/>
                  </a:lnTo>
                  <a:lnTo>
                    <a:pt x="678" y="742"/>
                  </a:lnTo>
                  <a:lnTo>
                    <a:pt x="921" y="181"/>
                  </a:lnTo>
                  <a:lnTo>
                    <a:pt x="921" y="181"/>
                  </a:lnTo>
                  <a:lnTo>
                    <a:pt x="928" y="165"/>
                  </a:lnTo>
                  <a:lnTo>
                    <a:pt x="933" y="149"/>
                  </a:lnTo>
                  <a:lnTo>
                    <a:pt x="936" y="134"/>
                  </a:lnTo>
                  <a:lnTo>
                    <a:pt x="938" y="122"/>
                  </a:lnTo>
                  <a:lnTo>
                    <a:pt x="938" y="110"/>
                  </a:lnTo>
                  <a:lnTo>
                    <a:pt x="935" y="98"/>
                  </a:lnTo>
                  <a:lnTo>
                    <a:pt x="931" y="89"/>
                  </a:lnTo>
                  <a:lnTo>
                    <a:pt x="925" y="81"/>
                  </a:lnTo>
                  <a:lnTo>
                    <a:pt x="917" y="74"/>
                  </a:lnTo>
                  <a:lnTo>
                    <a:pt x="906" y="67"/>
                  </a:lnTo>
                  <a:lnTo>
                    <a:pt x="894" y="62"/>
                  </a:lnTo>
                  <a:lnTo>
                    <a:pt x="878" y="58"/>
                  </a:lnTo>
                  <a:lnTo>
                    <a:pt x="861" y="54"/>
                  </a:lnTo>
                  <a:lnTo>
                    <a:pt x="840" y="52"/>
                  </a:lnTo>
                  <a:lnTo>
                    <a:pt x="817" y="50"/>
                  </a:lnTo>
                  <a:lnTo>
                    <a:pt x="792" y="50"/>
                  </a:lnTo>
                  <a:lnTo>
                    <a:pt x="792" y="0"/>
                  </a:lnTo>
                  <a:lnTo>
                    <a:pt x="1210" y="0"/>
                  </a:lnTo>
                  <a:lnTo>
                    <a:pt x="1210" y="50"/>
                  </a:lnTo>
                  <a:lnTo>
                    <a:pt x="1210" y="50"/>
                  </a:lnTo>
                  <a:lnTo>
                    <a:pt x="1188" y="50"/>
                  </a:lnTo>
                  <a:lnTo>
                    <a:pt x="1169" y="51"/>
                  </a:lnTo>
                  <a:lnTo>
                    <a:pt x="1150" y="53"/>
                  </a:lnTo>
                  <a:lnTo>
                    <a:pt x="1134" y="57"/>
                  </a:lnTo>
                  <a:lnTo>
                    <a:pt x="1119" y="61"/>
                  </a:lnTo>
                  <a:lnTo>
                    <a:pt x="1104" y="66"/>
                  </a:lnTo>
                  <a:lnTo>
                    <a:pt x="1091" y="73"/>
                  </a:lnTo>
                  <a:lnTo>
                    <a:pt x="1079" y="80"/>
                  </a:lnTo>
                  <a:lnTo>
                    <a:pt x="1067" y="89"/>
                  </a:lnTo>
                  <a:lnTo>
                    <a:pt x="1056" y="100"/>
                  </a:lnTo>
                  <a:lnTo>
                    <a:pt x="1046" y="113"/>
                  </a:lnTo>
                  <a:lnTo>
                    <a:pt x="1036" y="127"/>
                  </a:lnTo>
                  <a:lnTo>
                    <a:pt x="1026" y="142"/>
                  </a:lnTo>
                  <a:lnTo>
                    <a:pt x="1016" y="161"/>
                  </a:lnTo>
                  <a:lnTo>
                    <a:pt x="1007" y="180"/>
                  </a:lnTo>
                  <a:lnTo>
                    <a:pt x="997" y="202"/>
                  </a:lnTo>
                  <a:lnTo>
                    <a:pt x="997"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2" name="Freeform 15"/>
            <p:cNvSpPr>
              <a:spLocks noEditPoints="1"/>
            </p:cNvSpPr>
            <p:nvPr userDrawn="1"/>
          </p:nvSpPr>
          <p:spPr bwMode="auto">
            <a:xfrm>
              <a:off x="8175869" y="630404"/>
              <a:ext cx="152400" cy="144463"/>
            </a:xfrm>
            <a:custGeom>
              <a:avLst/>
              <a:gdLst>
                <a:gd name="T0" fmla="*/ 489 w 1151"/>
                <a:gd name="T1" fmla="*/ 1087 h 1094"/>
                <a:gd name="T2" fmla="*/ 353 w 1151"/>
                <a:gd name="T3" fmla="*/ 1051 h 1094"/>
                <a:gd name="T4" fmla="*/ 232 w 1151"/>
                <a:gd name="T5" fmla="*/ 984 h 1094"/>
                <a:gd name="T6" fmla="*/ 132 w 1151"/>
                <a:gd name="T7" fmla="*/ 894 h 1094"/>
                <a:gd name="T8" fmla="*/ 57 w 1151"/>
                <a:gd name="T9" fmla="*/ 783 h 1094"/>
                <a:gd name="T10" fmla="*/ 12 w 1151"/>
                <a:gd name="T11" fmla="*/ 656 h 1094"/>
                <a:gd name="T12" fmla="*/ 0 w 1151"/>
                <a:gd name="T13" fmla="*/ 547 h 1094"/>
                <a:gd name="T14" fmla="*/ 18 w 1151"/>
                <a:gd name="T15" fmla="*/ 411 h 1094"/>
                <a:gd name="T16" fmla="*/ 70 w 1151"/>
                <a:gd name="T17" fmla="*/ 287 h 1094"/>
                <a:gd name="T18" fmla="*/ 150 w 1151"/>
                <a:gd name="T19" fmla="*/ 180 h 1094"/>
                <a:gd name="T20" fmla="*/ 254 w 1151"/>
                <a:gd name="T21" fmla="*/ 94 h 1094"/>
                <a:gd name="T22" fmla="*/ 379 w 1151"/>
                <a:gd name="T23" fmla="*/ 33 h 1094"/>
                <a:gd name="T24" fmla="*/ 517 w 1151"/>
                <a:gd name="T25" fmla="*/ 3 h 1094"/>
                <a:gd name="T26" fmla="*/ 635 w 1151"/>
                <a:gd name="T27" fmla="*/ 3 h 1094"/>
                <a:gd name="T28" fmla="*/ 774 w 1151"/>
                <a:gd name="T29" fmla="*/ 33 h 1094"/>
                <a:gd name="T30" fmla="*/ 897 w 1151"/>
                <a:gd name="T31" fmla="*/ 94 h 1094"/>
                <a:gd name="T32" fmla="*/ 1001 w 1151"/>
                <a:gd name="T33" fmla="*/ 180 h 1094"/>
                <a:gd name="T34" fmla="*/ 1082 w 1151"/>
                <a:gd name="T35" fmla="*/ 287 h 1094"/>
                <a:gd name="T36" fmla="*/ 1133 w 1151"/>
                <a:gd name="T37" fmla="*/ 411 h 1094"/>
                <a:gd name="T38" fmla="*/ 1151 w 1151"/>
                <a:gd name="T39" fmla="*/ 547 h 1094"/>
                <a:gd name="T40" fmla="*/ 1139 w 1151"/>
                <a:gd name="T41" fmla="*/ 656 h 1094"/>
                <a:gd name="T42" fmla="*/ 1094 w 1151"/>
                <a:gd name="T43" fmla="*/ 783 h 1094"/>
                <a:gd name="T44" fmla="*/ 1019 w 1151"/>
                <a:gd name="T45" fmla="*/ 894 h 1094"/>
                <a:gd name="T46" fmla="*/ 919 w 1151"/>
                <a:gd name="T47" fmla="*/ 984 h 1094"/>
                <a:gd name="T48" fmla="*/ 799 w 1151"/>
                <a:gd name="T49" fmla="*/ 1051 h 1094"/>
                <a:gd name="T50" fmla="*/ 663 w 1151"/>
                <a:gd name="T51" fmla="*/ 1087 h 1094"/>
                <a:gd name="T52" fmla="*/ 577 w 1151"/>
                <a:gd name="T53" fmla="*/ 82 h 1094"/>
                <a:gd name="T54" fmla="*/ 492 w 1151"/>
                <a:gd name="T55" fmla="*/ 94 h 1094"/>
                <a:gd name="T56" fmla="*/ 404 w 1151"/>
                <a:gd name="T57" fmla="*/ 137 h 1094"/>
                <a:gd name="T58" fmla="*/ 335 w 1151"/>
                <a:gd name="T59" fmla="*/ 204 h 1094"/>
                <a:gd name="T60" fmla="*/ 285 w 1151"/>
                <a:gd name="T61" fmla="*/ 290 h 1094"/>
                <a:gd name="T62" fmla="*/ 252 w 1151"/>
                <a:gd name="T63" fmla="*/ 386 h 1094"/>
                <a:gd name="T64" fmla="*/ 234 w 1151"/>
                <a:gd name="T65" fmla="*/ 507 h 1094"/>
                <a:gd name="T66" fmla="*/ 240 w 1151"/>
                <a:gd name="T67" fmla="*/ 647 h 1094"/>
                <a:gd name="T68" fmla="*/ 264 w 1151"/>
                <a:gd name="T69" fmla="*/ 747 h 1094"/>
                <a:gd name="T70" fmla="*/ 303 w 1151"/>
                <a:gd name="T71" fmla="*/ 840 h 1094"/>
                <a:gd name="T72" fmla="*/ 360 w 1151"/>
                <a:gd name="T73" fmla="*/ 919 h 1094"/>
                <a:gd name="T74" fmla="*/ 436 w 1151"/>
                <a:gd name="T75" fmla="*/ 977 h 1094"/>
                <a:gd name="T76" fmla="*/ 533 w 1151"/>
                <a:gd name="T77" fmla="*/ 1008 h 1094"/>
                <a:gd name="T78" fmla="*/ 621 w 1151"/>
                <a:gd name="T79" fmla="*/ 1008 h 1094"/>
                <a:gd name="T80" fmla="*/ 716 w 1151"/>
                <a:gd name="T81" fmla="*/ 977 h 1094"/>
                <a:gd name="T82" fmla="*/ 792 w 1151"/>
                <a:gd name="T83" fmla="*/ 919 h 1094"/>
                <a:gd name="T84" fmla="*/ 850 w 1151"/>
                <a:gd name="T85" fmla="*/ 840 h 1094"/>
                <a:gd name="T86" fmla="*/ 889 w 1151"/>
                <a:gd name="T87" fmla="*/ 747 h 1094"/>
                <a:gd name="T88" fmla="*/ 912 w 1151"/>
                <a:gd name="T89" fmla="*/ 647 h 1094"/>
                <a:gd name="T90" fmla="*/ 919 w 1151"/>
                <a:gd name="T91" fmla="*/ 507 h 1094"/>
                <a:gd name="T92" fmla="*/ 901 w 1151"/>
                <a:gd name="T93" fmla="*/ 386 h 1094"/>
                <a:gd name="T94" fmla="*/ 867 w 1151"/>
                <a:gd name="T95" fmla="*/ 290 h 1094"/>
                <a:gd name="T96" fmla="*/ 817 w 1151"/>
                <a:gd name="T97" fmla="*/ 204 h 1094"/>
                <a:gd name="T98" fmla="*/ 748 w 1151"/>
                <a:gd name="T99" fmla="*/ 137 h 1094"/>
                <a:gd name="T100" fmla="*/ 661 w 1151"/>
                <a:gd name="T101" fmla="*/ 94 h 1094"/>
                <a:gd name="T102" fmla="*/ 577 w 1151"/>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1" h="1094">
                  <a:moveTo>
                    <a:pt x="577" y="1094"/>
                  </a:moveTo>
                  <a:lnTo>
                    <a:pt x="577" y="1094"/>
                  </a:lnTo>
                  <a:lnTo>
                    <a:pt x="547" y="1093"/>
                  </a:lnTo>
                  <a:lnTo>
                    <a:pt x="517" y="1091"/>
                  </a:lnTo>
                  <a:lnTo>
                    <a:pt x="489" y="1087"/>
                  </a:lnTo>
                  <a:lnTo>
                    <a:pt x="461" y="1082"/>
                  </a:lnTo>
                  <a:lnTo>
                    <a:pt x="432" y="1076"/>
                  </a:lnTo>
                  <a:lnTo>
                    <a:pt x="406" y="1069"/>
                  </a:lnTo>
                  <a:lnTo>
                    <a:pt x="379" y="1060"/>
                  </a:lnTo>
                  <a:lnTo>
                    <a:pt x="353" y="1051"/>
                  </a:lnTo>
                  <a:lnTo>
                    <a:pt x="327" y="1039"/>
                  </a:lnTo>
                  <a:lnTo>
                    <a:pt x="303" y="1027"/>
                  </a:lnTo>
                  <a:lnTo>
                    <a:pt x="278" y="1014"/>
                  </a:lnTo>
                  <a:lnTo>
                    <a:pt x="254" y="1000"/>
                  </a:lnTo>
                  <a:lnTo>
                    <a:pt x="232" y="984"/>
                  </a:lnTo>
                  <a:lnTo>
                    <a:pt x="210" y="968"/>
                  </a:lnTo>
                  <a:lnTo>
                    <a:pt x="189" y="950"/>
                  </a:lnTo>
                  <a:lnTo>
                    <a:pt x="170" y="933"/>
                  </a:lnTo>
                  <a:lnTo>
                    <a:pt x="150" y="914"/>
                  </a:lnTo>
                  <a:lnTo>
                    <a:pt x="132" y="894"/>
                  </a:lnTo>
                  <a:lnTo>
                    <a:pt x="115" y="873"/>
                  </a:lnTo>
                  <a:lnTo>
                    <a:pt x="99" y="851"/>
                  </a:lnTo>
                  <a:lnTo>
                    <a:pt x="84" y="830"/>
                  </a:lnTo>
                  <a:lnTo>
                    <a:pt x="70" y="806"/>
                  </a:lnTo>
                  <a:lnTo>
                    <a:pt x="57" y="783"/>
                  </a:lnTo>
                  <a:lnTo>
                    <a:pt x="46" y="758"/>
                  </a:lnTo>
                  <a:lnTo>
                    <a:pt x="36" y="734"/>
                  </a:lnTo>
                  <a:lnTo>
                    <a:pt x="26" y="708"/>
                  </a:lnTo>
                  <a:lnTo>
                    <a:pt x="18" y="683"/>
                  </a:lnTo>
                  <a:lnTo>
                    <a:pt x="12" y="656"/>
                  </a:lnTo>
                  <a:lnTo>
                    <a:pt x="7" y="629"/>
                  </a:lnTo>
                  <a:lnTo>
                    <a:pt x="3" y="602"/>
                  </a:lnTo>
                  <a:lnTo>
                    <a:pt x="1" y="574"/>
                  </a:lnTo>
                  <a:lnTo>
                    <a:pt x="0" y="547"/>
                  </a:lnTo>
                  <a:lnTo>
                    <a:pt x="0" y="547"/>
                  </a:lnTo>
                  <a:lnTo>
                    <a:pt x="1" y="519"/>
                  </a:lnTo>
                  <a:lnTo>
                    <a:pt x="3" y="491"/>
                  </a:lnTo>
                  <a:lnTo>
                    <a:pt x="7" y="464"/>
                  </a:lnTo>
                  <a:lnTo>
                    <a:pt x="12" y="437"/>
                  </a:lnTo>
                  <a:lnTo>
                    <a:pt x="18" y="411"/>
                  </a:lnTo>
                  <a:lnTo>
                    <a:pt x="26" y="385"/>
                  </a:lnTo>
                  <a:lnTo>
                    <a:pt x="36" y="360"/>
                  </a:lnTo>
                  <a:lnTo>
                    <a:pt x="46" y="335"/>
                  </a:lnTo>
                  <a:lnTo>
                    <a:pt x="57" y="310"/>
                  </a:lnTo>
                  <a:lnTo>
                    <a:pt x="70" y="287"/>
                  </a:lnTo>
                  <a:lnTo>
                    <a:pt x="84" y="264"/>
                  </a:lnTo>
                  <a:lnTo>
                    <a:pt x="99" y="242"/>
                  </a:lnTo>
                  <a:lnTo>
                    <a:pt x="115" y="220"/>
                  </a:lnTo>
                  <a:lnTo>
                    <a:pt x="132" y="200"/>
                  </a:lnTo>
                  <a:lnTo>
                    <a:pt x="150" y="180"/>
                  </a:lnTo>
                  <a:lnTo>
                    <a:pt x="170" y="161"/>
                  </a:lnTo>
                  <a:lnTo>
                    <a:pt x="189" y="143"/>
                  </a:lnTo>
                  <a:lnTo>
                    <a:pt x="210" y="125"/>
                  </a:lnTo>
                  <a:lnTo>
                    <a:pt x="232" y="109"/>
                  </a:lnTo>
                  <a:lnTo>
                    <a:pt x="254" y="94"/>
                  </a:lnTo>
                  <a:lnTo>
                    <a:pt x="278" y="79"/>
                  </a:lnTo>
                  <a:lnTo>
                    <a:pt x="303" y="66"/>
                  </a:lnTo>
                  <a:lnTo>
                    <a:pt x="327" y="54"/>
                  </a:lnTo>
                  <a:lnTo>
                    <a:pt x="353" y="44"/>
                  </a:lnTo>
                  <a:lnTo>
                    <a:pt x="379" y="33"/>
                  </a:lnTo>
                  <a:lnTo>
                    <a:pt x="406" y="24"/>
                  </a:lnTo>
                  <a:lnTo>
                    <a:pt x="432" y="17"/>
                  </a:lnTo>
                  <a:lnTo>
                    <a:pt x="461" y="11"/>
                  </a:lnTo>
                  <a:lnTo>
                    <a:pt x="489" y="6"/>
                  </a:lnTo>
                  <a:lnTo>
                    <a:pt x="517" y="3"/>
                  </a:lnTo>
                  <a:lnTo>
                    <a:pt x="547" y="1"/>
                  </a:lnTo>
                  <a:lnTo>
                    <a:pt x="577" y="0"/>
                  </a:lnTo>
                  <a:lnTo>
                    <a:pt x="577" y="0"/>
                  </a:lnTo>
                  <a:lnTo>
                    <a:pt x="606" y="1"/>
                  </a:lnTo>
                  <a:lnTo>
                    <a:pt x="635" y="3"/>
                  </a:lnTo>
                  <a:lnTo>
                    <a:pt x="663" y="6"/>
                  </a:lnTo>
                  <a:lnTo>
                    <a:pt x="692" y="11"/>
                  </a:lnTo>
                  <a:lnTo>
                    <a:pt x="720" y="17"/>
                  </a:lnTo>
                  <a:lnTo>
                    <a:pt x="746" y="24"/>
                  </a:lnTo>
                  <a:lnTo>
                    <a:pt x="774" y="33"/>
                  </a:lnTo>
                  <a:lnTo>
                    <a:pt x="799" y="44"/>
                  </a:lnTo>
                  <a:lnTo>
                    <a:pt x="825" y="54"/>
                  </a:lnTo>
                  <a:lnTo>
                    <a:pt x="850" y="66"/>
                  </a:lnTo>
                  <a:lnTo>
                    <a:pt x="874" y="79"/>
                  </a:lnTo>
                  <a:lnTo>
                    <a:pt x="897" y="94"/>
                  </a:lnTo>
                  <a:lnTo>
                    <a:pt x="919" y="109"/>
                  </a:lnTo>
                  <a:lnTo>
                    <a:pt x="942" y="125"/>
                  </a:lnTo>
                  <a:lnTo>
                    <a:pt x="962" y="143"/>
                  </a:lnTo>
                  <a:lnTo>
                    <a:pt x="982" y="161"/>
                  </a:lnTo>
                  <a:lnTo>
                    <a:pt x="1001" y="180"/>
                  </a:lnTo>
                  <a:lnTo>
                    <a:pt x="1019" y="200"/>
                  </a:lnTo>
                  <a:lnTo>
                    <a:pt x="1037" y="220"/>
                  </a:lnTo>
                  <a:lnTo>
                    <a:pt x="1052" y="242"/>
                  </a:lnTo>
                  <a:lnTo>
                    <a:pt x="1067" y="264"/>
                  </a:lnTo>
                  <a:lnTo>
                    <a:pt x="1082" y="287"/>
                  </a:lnTo>
                  <a:lnTo>
                    <a:pt x="1094" y="310"/>
                  </a:lnTo>
                  <a:lnTo>
                    <a:pt x="1105" y="335"/>
                  </a:lnTo>
                  <a:lnTo>
                    <a:pt x="1116" y="360"/>
                  </a:lnTo>
                  <a:lnTo>
                    <a:pt x="1125" y="385"/>
                  </a:lnTo>
                  <a:lnTo>
                    <a:pt x="1133" y="411"/>
                  </a:lnTo>
                  <a:lnTo>
                    <a:pt x="1139" y="437"/>
                  </a:lnTo>
                  <a:lnTo>
                    <a:pt x="1144" y="464"/>
                  </a:lnTo>
                  <a:lnTo>
                    <a:pt x="1148" y="491"/>
                  </a:lnTo>
                  <a:lnTo>
                    <a:pt x="1150" y="519"/>
                  </a:lnTo>
                  <a:lnTo>
                    <a:pt x="1151" y="547"/>
                  </a:lnTo>
                  <a:lnTo>
                    <a:pt x="1151" y="547"/>
                  </a:lnTo>
                  <a:lnTo>
                    <a:pt x="1150" y="574"/>
                  </a:lnTo>
                  <a:lnTo>
                    <a:pt x="1148" y="602"/>
                  </a:lnTo>
                  <a:lnTo>
                    <a:pt x="1144" y="629"/>
                  </a:lnTo>
                  <a:lnTo>
                    <a:pt x="1139" y="656"/>
                  </a:lnTo>
                  <a:lnTo>
                    <a:pt x="1133" y="683"/>
                  </a:lnTo>
                  <a:lnTo>
                    <a:pt x="1125" y="708"/>
                  </a:lnTo>
                  <a:lnTo>
                    <a:pt x="1116" y="734"/>
                  </a:lnTo>
                  <a:lnTo>
                    <a:pt x="1105" y="758"/>
                  </a:lnTo>
                  <a:lnTo>
                    <a:pt x="1094" y="783"/>
                  </a:lnTo>
                  <a:lnTo>
                    <a:pt x="1082" y="806"/>
                  </a:lnTo>
                  <a:lnTo>
                    <a:pt x="1067" y="830"/>
                  </a:lnTo>
                  <a:lnTo>
                    <a:pt x="1052" y="851"/>
                  </a:lnTo>
                  <a:lnTo>
                    <a:pt x="1037" y="873"/>
                  </a:lnTo>
                  <a:lnTo>
                    <a:pt x="1019" y="894"/>
                  </a:lnTo>
                  <a:lnTo>
                    <a:pt x="1001" y="914"/>
                  </a:lnTo>
                  <a:lnTo>
                    <a:pt x="982" y="933"/>
                  </a:lnTo>
                  <a:lnTo>
                    <a:pt x="962" y="950"/>
                  </a:lnTo>
                  <a:lnTo>
                    <a:pt x="942" y="968"/>
                  </a:lnTo>
                  <a:lnTo>
                    <a:pt x="919" y="984"/>
                  </a:lnTo>
                  <a:lnTo>
                    <a:pt x="897" y="1000"/>
                  </a:lnTo>
                  <a:lnTo>
                    <a:pt x="874" y="1014"/>
                  </a:lnTo>
                  <a:lnTo>
                    <a:pt x="850" y="1027"/>
                  </a:lnTo>
                  <a:lnTo>
                    <a:pt x="825" y="1039"/>
                  </a:lnTo>
                  <a:lnTo>
                    <a:pt x="799" y="1051"/>
                  </a:lnTo>
                  <a:lnTo>
                    <a:pt x="774" y="1060"/>
                  </a:lnTo>
                  <a:lnTo>
                    <a:pt x="746" y="1069"/>
                  </a:lnTo>
                  <a:lnTo>
                    <a:pt x="720" y="1076"/>
                  </a:lnTo>
                  <a:lnTo>
                    <a:pt x="692" y="1082"/>
                  </a:lnTo>
                  <a:lnTo>
                    <a:pt x="663" y="1087"/>
                  </a:lnTo>
                  <a:lnTo>
                    <a:pt x="635" y="1091"/>
                  </a:lnTo>
                  <a:lnTo>
                    <a:pt x="606" y="1093"/>
                  </a:lnTo>
                  <a:lnTo>
                    <a:pt x="577" y="1094"/>
                  </a:lnTo>
                  <a:lnTo>
                    <a:pt x="577" y="1094"/>
                  </a:lnTo>
                  <a:close/>
                  <a:moveTo>
                    <a:pt x="577" y="82"/>
                  </a:moveTo>
                  <a:lnTo>
                    <a:pt x="577" y="82"/>
                  </a:lnTo>
                  <a:lnTo>
                    <a:pt x="554" y="83"/>
                  </a:lnTo>
                  <a:lnTo>
                    <a:pt x="533" y="86"/>
                  </a:lnTo>
                  <a:lnTo>
                    <a:pt x="511" y="90"/>
                  </a:lnTo>
                  <a:lnTo>
                    <a:pt x="492" y="94"/>
                  </a:lnTo>
                  <a:lnTo>
                    <a:pt x="472" y="100"/>
                  </a:lnTo>
                  <a:lnTo>
                    <a:pt x="454" y="108"/>
                  </a:lnTo>
                  <a:lnTo>
                    <a:pt x="436" y="116"/>
                  </a:lnTo>
                  <a:lnTo>
                    <a:pt x="419" y="125"/>
                  </a:lnTo>
                  <a:lnTo>
                    <a:pt x="404" y="137"/>
                  </a:lnTo>
                  <a:lnTo>
                    <a:pt x="388" y="148"/>
                  </a:lnTo>
                  <a:lnTo>
                    <a:pt x="374" y="161"/>
                  </a:lnTo>
                  <a:lnTo>
                    <a:pt x="360" y="174"/>
                  </a:lnTo>
                  <a:lnTo>
                    <a:pt x="347" y="189"/>
                  </a:lnTo>
                  <a:lnTo>
                    <a:pt x="335" y="204"/>
                  </a:lnTo>
                  <a:lnTo>
                    <a:pt x="324" y="219"/>
                  </a:lnTo>
                  <a:lnTo>
                    <a:pt x="313" y="237"/>
                  </a:lnTo>
                  <a:lnTo>
                    <a:pt x="303" y="253"/>
                  </a:lnTo>
                  <a:lnTo>
                    <a:pt x="293" y="272"/>
                  </a:lnTo>
                  <a:lnTo>
                    <a:pt x="285" y="290"/>
                  </a:lnTo>
                  <a:lnTo>
                    <a:pt x="277" y="308"/>
                  </a:lnTo>
                  <a:lnTo>
                    <a:pt x="270" y="327"/>
                  </a:lnTo>
                  <a:lnTo>
                    <a:pt x="264" y="346"/>
                  </a:lnTo>
                  <a:lnTo>
                    <a:pt x="258" y="367"/>
                  </a:lnTo>
                  <a:lnTo>
                    <a:pt x="252" y="386"/>
                  </a:lnTo>
                  <a:lnTo>
                    <a:pt x="248" y="407"/>
                  </a:lnTo>
                  <a:lnTo>
                    <a:pt x="244" y="426"/>
                  </a:lnTo>
                  <a:lnTo>
                    <a:pt x="240" y="446"/>
                  </a:lnTo>
                  <a:lnTo>
                    <a:pt x="238" y="467"/>
                  </a:lnTo>
                  <a:lnTo>
                    <a:pt x="234" y="507"/>
                  </a:lnTo>
                  <a:lnTo>
                    <a:pt x="233" y="547"/>
                  </a:lnTo>
                  <a:lnTo>
                    <a:pt x="233" y="547"/>
                  </a:lnTo>
                  <a:lnTo>
                    <a:pt x="234" y="587"/>
                  </a:lnTo>
                  <a:lnTo>
                    <a:pt x="238" y="626"/>
                  </a:lnTo>
                  <a:lnTo>
                    <a:pt x="240" y="647"/>
                  </a:lnTo>
                  <a:lnTo>
                    <a:pt x="244" y="667"/>
                  </a:lnTo>
                  <a:lnTo>
                    <a:pt x="248" y="687"/>
                  </a:lnTo>
                  <a:lnTo>
                    <a:pt x="252" y="707"/>
                  </a:lnTo>
                  <a:lnTo>
                    <a:pt x="258" y="728"/>
                  </a:lnTo>
                  <a:lnTo>
                    <a:pt x="264" y="747"/>
                  </a:lnTo>
                  <a:lnTo>
                    <a:pt x="270" y="766"/>
                  </a:lnTo>
                  <a:lnTo>
                    <a:pt x="277" y="785"/>
                  </a:lnTo>
                  <a:lnTo>
                    <a:pt x="285" y="804"/>
                  </a:lnTo>
                  <a:lnTo>
                    <a:pt x="293" y="822"/>
                  </a:lnTo>
                  <a:lnTo>
                    <a:pt x="303" y="840"/>
                  </a:lnTo>
                  <a:lnTo>
                    <a:pt x="313" y="857"/>
                  </a:lnTo>
                  <a:lnTo>
                    <a:pt x="324" y="874"/>
                  </a:lnTo>
                  <a:lnTo>
                    <a:pt x="335" y="889"/>
                  </a:lnTo>
                  <a:lnTo>
                    <a:pt x="347" y="904"/>
                  </a:lnTo>
                  <a:lnTo>
                    <a:pt x="360" y="919"/>
                  </a:lnTo>
                  <a:lnTo>
                    <a:pt x="374" y="932"/>
                  </a:lnTo>
                  <a:lnTo>
                    <a:pt x="388" y="945"/>
                  </a:lnTo>
                  <a:lnTo>
                    <a:pt x="404" y="957"/>
                  </a:lnTo>
                  <a:lnTo>
                    <a:pt x="419" y="968"/>
                  </a:lnTo>
                  <a:lnTo>
                    <a:pt x="436" y="977"/>
                  </a:lnTo>
                  <a:lnTo>
                    <a:pt x="454" y="986"/>
                  </a:lnTo>
                  <a:lnTo>
                    <a:pt x="472" y="993"/>
                  </a:lnTo>
                  <a:lnTo>
                    <a:pt x="492" y="1000"/>
                  </a:lnTo>
                  <a:lnTo>
                    <a:pt x="511" y="1005"/>
                  </a:lnTo>
                  <a:lnTo>
                    <a:pt x="533" y="1008"/>
                  </a:lnTo>
                  <a:lnTo>
                    <a:pt x="554" y="1010"/>
                  </a:lnTo>
                  <a:lnTo>
                    <a:pt x="577" y="1011"/>
                  </a:lnTo>
                  <a:lnTo>
                    <a:pt x="577" y="1011"/>
                  </a:lnTo>
                  <a:lnTo>
                    <a:pt x="599" y="1010"/>
                  </a:lnTo>
                  <a:lnTo>
                    <a:pt x="621" y="1008"/>
                  </a:lnTo>
                  <a:lnTo>
                    <a:pt x="641" y="1005"/>
                  </a:lnTo>
                  <a:lnTo>
                    <a:pt x="661" y="1000"/>
                  </a:lnTo>
                  <a:lnTo>
                    <a:pt x="680" y="993"/>
                  </a:lnTo>
                  <a:lnTo>
                    <a:pt x="698" y="986"/>
                  </a:lnTo>
                  <a:lnTo>
                    <a:pt x="716" y="977"/>
                  </a:lnTo>
                  <a:lnTo>
                    <a:pt x="733" y="968"/>
                  </a:lnTo>
                  <a:lnTo>
                    <a:pt x="748" y="957"/>
                  </a:lnTo>
                  <a:lnTo>
                    <a:pt x="764" y="945"/>
                  </a:lnTo>
                  <a:lnTo>
                    <a:pt x="778" y="932"/>
                  </a:lnTo>
                  <a:lnTo>
                    <a:pt x="792" y="919"/>
                  </a:lnTo>
                  <a:lnTo>
                    <a:pt x="805" y="904"/>
                  </a:lnTo>
                  <a:lnTo>
                    <a:pt x="817" y="889"/>
                  </a:lnTo>
                  <a:lnTo>
                    <a:pt x="829" y="874"/>
                  </a:lnTo>
                  <a:lnTo>
                    <a:pt x="839" y="857"/>
                  </a:lnTo>
                  <a:lnTo>
                    <a:pt x="850" y="840"/>
                  </a:lnTo>
                  <a:lnTo>
                    <a:pt x="859" y="822"/>
                  </a:lnTo>
                  <a:lnTo>
                    <a:pt x="867" y="804"/>
                  </a:lnTo>
                  <a:lnTo>
                    <a:pt x="875" y="785"/>
                  </a:lnTo>
                  <a:lnTo>
                    <a:pt x="882" y="766"/>
                  </a:lnTo>
                  <a:lnTo>
                    <a:pt x="889" y="747"/>
                  </a:lnTo>
                  <a:lnTo>
                    <a:pt x="896" y="728"/>
                  </a:lnTo>
                  <a:lnTo>
                    <a:pt x="901" y="707"/>
                  </a:lnTo>
                  <a:lnTo>
                    <a:pt x="905" y="687"/>
                  </a:lnTo>
                  <a:lnTo>
                    <a:pt x="909" y="667"/>
                  </a:lnTo>
                  <a:lnTo>
                    <a:pt x="912" y="647"/>
                  </a:lnTo>
                  <a:lnTo>
                    <a:pt x="915" y="626"/>
                  </a:lnTo>
                  <a:lnTo>
                    <a:pt x="919" y="587"/>
                  </a:lnTo>
                  <a:lnTo>
                    <a:pt x="920" y="547"/>
                  </a:lnTo>
                  <a:lnTo>
                    <a:pt x="920" y="547"/>
                  </a:lnTo>
                  <a:lnTo>
                    <a:pt x="919" y="507"/>
                  </a:lnTo>
                  <a:lnTo>
                    <a:pt x="915" y="467"/>
                  </a:lnTo>
                  <a:lnTo>
                    <a:pt x="912" y="446"/>
                  </a:lnTo>
                  <a:lnTo>
                    <a:pt x="909" y="426"/>
                  </a:lnTo>
                  <a:lnTo>
                    <a:pt x="905" y="407"/>
                  </a:lnTo>
                  <a:lnTo>
                    <a:pt x="901" y="386"/>
                  </a:lnTo>
                  <a:lnTo>
                    <a:pt x="896" y="367"/>
                  </a:lnTo>
                  <a:lnTo>
                    <a:pt x="889" y="346"/>
                  </a:lnTo>
                  <a:lnTo>
                    <a:pt x="882" y="327"/>
                  </a:lnTo>
                  <a:lnTo>
                    <a:pt x="875" y="308"/>
                  </a:lnTo>
                  <a:lnTo>
                    <a:pt x="867" y="290"/>
                  </a:lnTo>
                  <a:lnTo>
                    <a:pt x="859" y="272"/>
                  </a:lnTo>
                  <a:lnTo>
                    <a:pt x="850" y="253"/>
                  </a:lnTo>
                  <a:lnTo>
                    <a:pt x="839" y="237"/>
                  </a:lnTo>
                  <a:lnTo>
                    <a:pt x="829" y="219"/>
                  </a:lnTo>
                  <a:lnTo>
                    <a:pt x="817" y="204"/>
                  </a:lnTo>
                  <a:lnTo>
                    <a:pt x="805" y="189"/>
                  </a:lnTo>
                  <a:lnTo>
                    <a:pt x="792" y="174"/>
                  </a:lnTo>
                  <a:lnTo>
                    <a:pt x="778" y="161"/>
                  </a:lnTo>
                  <a:lnTo>
                    <a:pt x="764" y="148"/>
                  </a:lnTo>
                  <a:lnTo>
                    <a:pt x="748" y="137"/>
                  </a:lnTo>
                  <a:lnTo>
                    <a:pt x="733" y="125"/>
                  </a:lnTo>
                  <a:lnTo>
                    <a:pt x="716" y="116"/>
                  </a:lnTo>
                  <a:lnTo>
                    <a:pt x="698" y="108"/>
                  </a:lnTo>
                  <a:lnTo>
                    <a:pt x="680" y="100"/>
                  </a:lnTo>
                  <a:lnTo>
                    <a:pt x="661" y="94"/>
                  </a:lnTo>
                  <a:lnTo>
                    <a:pt x="641" y="90"/>
                  </a:lnTo>
                  <a:lnTo>
                    <a:pt x="621" y="86"/>
                  </a:lnTo>
                  <a:lnTo>
                    <a:pt x="599" y="83"/>
                  </a:lnTo>
                  <a:lnTo>
                    <a:pt x="577" y="82"/>
                  </a:lnTo>
                  <a:lnTo>
                    <a:pt x="577"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3" name="Freeform 16"/>
            <p:cNvSpPr>
              <a:spLocks/>
            </p:cNvSpPr>
            <p:nvPr userDrawn="1"/>
          </p:nvSpPr>
          <p:spPr bwMode="auto">
            <a:xfrm>
              <a:off x="8372721" y="628817"/>
              <a:ext cx="93663" cy="146050"/>
            </a:xfrm>
            <a:custGeom>
              <a:avLst/>
              <a:gdLst>
                <a:gd name="T0" fmla="*/ 52 w 712"/>
                <a:gd name="T1" fmla="*/ 723 h 1103"/>
                <a:gd name="T2" fmla="*/ 75 w 712"/>
                <a:gd name="T3" fmla="*/ 804 h 1103"/>
                <a:gd name="T4" fmla="*/ 112 w 712"/>
                <a:gd name="T5" fmla="*/ 875 h 1103"/>
                <a:gd name="T6" fmla="*/ 159 w 712"/>
                <a:gd name="T7" fmla="*/ 933 h 1103"/>
                <a:gd name="T8" fmla="*/ 215 w 712"/>
                <a:gd name="T9" fmla="*/ 978 h 1103"/>
                <a:gd name="T10" fmla="*/ 278 w 712"/>
                <a:gd name="T11" fmla="*/ 1009 h 1103"/>
                <a:gd name="T12" fmla="*/ 343 w 712"/>
                <a:gd name="T13" fmla="*/ 1024 h 1103"/>
                <a:gd name="T14" fmla="*/ 405 w 712"/>
                <a:gd name="T15" fmla="*/ 1022 h 1103"/>
                <a:gd name="T16" fmla="*/ 481 w 712"/>
                <a:gd name="T17" fmla="*/ 992 h 1103"/>
                <a:gd name="T18" fmla="*/ 529 w 712"/>
                <a:gd name="T19" fmla="*/ 929 h 1103"/>
                <a:gd name="T20" fmla="*/ 541 w 712"/>
                <a:gd name="T21" fmla="*/ 854 h 1103"/>
                <a:gd name="T22" fmla="*/ 528 w 712"/>
                <a:gd name="T23" fmla="*/ 795 h 1103"/>
                <a:gd name="T24" fmla="*/ 490 w 712"/>
                <a:gd name="T25" fmla="*/ 737 h 1103"/>
                <a:gd name="T26" fmla="*/ 429 w 712"/>
                <a:gd name="T27" fmla="*/ 688 h 1103"/>
                <a:gd name="T28" fmla="*/ 198 w 712"/>
                <a:gd name="T29" fmla="*/ 566 h 1103"/>
                <a:gd name="T30" fmla="*/ 94 w 712"/>
                <a:gd name="T31" fmla="*/ 485 h 1103"/>
                <a:gd name="T32" fmla="*/ 32 w 712"/>
                <a:gd name="T33" fmla="*/ 380 h 1103"/>
                <a:gd name="T34" fmla="*/ 16 w 712"/>
                <a:gd name="T35" fmla="*/ 267 h 1103"/>
                <a:gd name="T36" fmla="*/ 25 w 712"/>
                <a:gd name="T37" fmla="*/ 204 h 1103"/>
                <a:gd name="T38" fmla="*/ 52 w 712"/>
                <a:gd name="T39" fmla="*/ 145 h 1103"/>
                <a:gd name="T40" fmla="*/ 94 w 712"/>
                <a:gd name="T41" fmla="*/ 95 h 1103"/>
                <a:gd name="T42" fmla="*/ 148 w 712"/>
                <a:gd name="T43" fmla="*/ 54 h 1103"/>
                <a:gd name="T44" fmla="*/ 212 w 712"/>
                <a:gd name="T45" fmla="*/ 25 h 1103"/>
                <a:gd name="T46" fmla="*/ 285 w 712"/>
                <a:gd name="T47" fmla="*/ 11 h 1103"/>
                <a:gd name="T48" fmla="*/ 352 w 712"/>
                <a:gd name="T49" fmla="*/ 11 h 1103"/>
                <a:gd name="T50" fmla="*/ 427 w 712"/>
                <a:gd name="T51" fmla="*/ 25 h 1103"/>
                <a:gd name="T52" fmla="*/ 526 w 712"/>
                <a:gd name="T53" fmla="*/ 79 h 1103"/>
                <a:gd name="T54" fmla="*/ 556 w 712"/>
                <a:gd name="T55" fmla="*/ 47 h 1103"/>
                <a:gd name="T56" fmla="*/ 624 w 712"/>
                <a:gd name="T57" fmla="*/ 0 h 1103"/>
                <a:gd name="T58" fmla="*/ 568 w 712"/>
                <a:gd name="T59" fmla="*/ 328 h 1103"/>
                <a:gd name="T60" fmla="*/ 527 w 712"/>
                <a:gd name="T61" fmla="*/ 203 h 1103"/>
                <a:gd name="T62" fmla="*/ 481 w 712"/>
                <a:gd name="T63" fmla="*/ 142 h 1103"/>
                <a:gd name="T64" fmla="*/ 428 w 712"/>
                <a:gd name="T65" fmla="*/ 106 h 1103"/>
                <a:gd name="T66" fmla="*/ 358 w 712"/>
                <a:gd name="T67" fmla="*/ 86 h 1103"/>
                <a:gd name="T68" fmla="*/ 300 w 712"/>
                <a:gd name="T69" fmla="*/ 87 h 1103"/>
                <a:gd name="T70" fmla="*/ 240 w 712"/>
                <a:gd name="T71" fmla="*/ 113 h 1103"/>
                <a:gd name="T72" fmla="*/ 199 w 712"/>
                <a:gd name="T73" fmla="*/ 165 h 1103"/>
                <a:gd name="T74" fmla="*/ 187 w 712"/>
                <a:gd name="T75" fmla="*/ 222 h 1103"/>
                <a:gd name="T76" fmla="*/ 200 w 712"/>
                <a:gd name="T77" fmla="*/ 278 h 1103"/>
                <a:gd name="T78" fmla="*/ 241 w 712"/>
                <a:gd name="T79" fmla="*/ 336 h 1103"/>
                <a:gd name="T80" fmla="*/ 308 w 712"/>
                <a:gd name="T81" fmla="*/ 390 h 1103"/>
                <a:gd name="T82" fmla="*/ 535 w 712"/>
                <a:gd name="T83" fmla="*/ 510 h 1103"/>
                <a:gd name="T84" fmla="*/ 631 w 712"/>
                <a:gd name="T85" fmla="*/ 590 h 1103"/>
                <a:gd name="T86" fmla="*/ 695 w 712"/>
                <a:gd name="T87" fmla="*/ 693 h 1103"/>
                <a:gd name="T88" fmla="*/ 712 w 712"/>
                <a:gd name="T89" fmla="*/ 789 h 1103"/>
                <a:gd name="T90" fmla="*/ 701 w 712"/>
                <a:gd name="T91" fmla="*/ 872 h 1103"/>
                <a:gd name="T92" fmla="*/ 669 w 712"/>
                <a:gd name="T93" fmla="*/ 945 h 1103"/>
                <a:gd name="T94" fmla="*/ 619 w 712"/>
                <a:gd name="T95" fmla="*/ 1005 h 1103"/>
                <a:gd name="T96" fmla="*/ 556 w 712"/>
                <a:gd name="T97" fmla="*/ 1053 h 1103"/>
                <a:gd name="T98" fmla="*/ 483 w 712"/>
                <a:gd name="T99" fmla="*/ 1085 h 1103"/>
                <a:gd name="T100" fmla="*/ 402 w 712"/>
                <a:gd name="T101" fmla="*/ 1101 h 1103"/>
                <a:gd name="T102" fmla="*/ 323 w 712"/>
                <a:gd name="T103" fmla="*/ 1100 h 1103"/>
                <a:gd name="T104" fmla="*/ 223 w 712"/>
                <a:gd name="T105" fmla="*/ 1073 h 1103"/>
                <a:gd name="T106" fmla="*/ 111 w 712"/>
                <a:gd name="T107" fmla="*/ 1024 h 1103"/>
                <a:gd name="T108" fmla="*/ 77 w 712"/>
                <a:gd name="T109" fmla="*/ 1044 h 1103"/>
                <a:gd name="T110" fmla="*/ 51 w 712"/>
                <a:gd name="T111"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2" h="1103">
                  <a:moveTo>
                    <a:pt x="51" y="1103"/>
                  </a:moveTo>
                  <a:lnTo>
                    <a:pt x="0" y="1103"/>
                  </a:lnTo>
                  <a:lnTo>
                    <a:pt x="0" y="723"/>
                  </a:lnTo>
                  <a:lnTo>
                    <a:pt x="52" y="723"/>
                  </a:lnTo>
                  <a:lnTo>
                    <a:pt x="52" y="723"/>
                  </a:lnTo>
                  <a:lnTo>
                    <a:pt x="56" y="740"/>
                  </a:lnTo>
                  <a:lnTo>
                    <a:pt x="60" y="757"/>
                  </a:lnTo>
                  <a:lnTo>
                    <a:pt x="64" y="773"/>
                  </a:lnTo>
                  <a:lnTo>
                    <a:pt x="69" y="789"/>
                  </a:lnTo>
                  <a:lnTo>
                    <a:pt x="75" y="804"/>
                  </a:lnTo>
                  <a:lnTo>
                    <a:pt x="81" y="819"/>
                  </a:lnTo>
                  <a:lnTo>
                    <a:pt x="88" y="834"/>
                  </a:lnTo>
                  <a:lnTo>
                    <a:pt x="96" y="848"/>
                  </a:lnTo>
                  <a:lnTo>
                    <a:pt x="104" y="861"/>
                  </a:lnTo>
                  <a:lnTo>
                    <a:pt x="112" y="875"/>
                  </a:lnTo>
                  <a:lnTo>
                    <a:pt x="120" y="888"/>
                  </a:lnTo>
                  <a:lnTo>
                    <a:pt x="129" y="899"/>
                  </a:lnTo>
                  <a:lnTo>
                    <a:pt x="139" y="911"/>
                  </a:lnTo>
                  <a:lnTo>
                    <a:pt x="149" y="923"/>
                  </a:lnTo>
                  <a:lnTo>
                    <a:pt x="159" y="933"/>
                  </a:lnTo>
                  <a:lnTo>
                    <a:pt x="170" y="943"/>
                  </a:lnTo>
                  <a:lnTo>
                    <a:pt x="180" y="952"/>
                  </a:lnTo>
                  <a:lnTo>
                    <a:pt x="192" y="962"/>
                  </a:lnTo>
                  <a:lnTo>
                    <a:pt x="204" y="970"/>
                  </a:lnTo>
                  <a:lnTo>
                    <a:pt x="215" y="978"/>
                  </a:lnTo>
                  <a:lnTo>
                    <a:pt x="227" y="985"/>
                  </a:lnTo>
                  <a:lnTo>
                    <a:pt x="240" y="992"/>
                  </a:lnTo>
                  <a:lnTo>
                    <a:pt x="252" y="998"/>
                  </a:lnTo>
                  <a:lnTo>
                    <a:pt x="264" y="1003"/>
                  </a:lnTo>
                  <a:lnTo>
                    <a:pt x="278" y="1009"/>
                  </a:lnTo>
                  <a:lnTo>
                    <a:pt x="290" y="1013"/>
                  </a:lnTo>
                  <a:lnTo>
                    <a:pt x="303" y="1017"/>
                  </a:lnTo>
                  <a:lnTo>
                    <a:pt x="316" y="1020"/>
                  </a:lnTo>
                  <a:lnTo>
                    <a:pt x="330" y="1022"/>
                  </a:lnTo>
                  <a:lnTo>
                    <a:pt x="343" y="1024"/>
                  </a:lnTo>
                  <a:lnTo>
                    <a:pt x="356" y="1025"/>
                  </a:lnTo>
                  <a:lnTo>
                    <a:pt x="370" y="1025"/>
                  </a:lnTo>
                  <a:lnTo>
                    <a:pt x="370" y="1025"/>
                  </a:lnTo>
                  <a:lnTo>
                    <a:pt x="388" y="1024"/>
                  </a:lnTo>
                  <a:lnTo>
                    <a:pt x="405" y="1022"/>
                  </a:lnTo>
                  <a:lnTo>
                    <a:pt x="423" y="1019"/>
                  </a:lnTo>
                  <a:lnTo>
                    <a:pt x="438" y="1015"/>
                  </a:lnTo>
                  <a:lnTo>
                    <a:pt x="453" y="1009"/>
                  </a:lnTo>
                  <a:lnTo>
                    <a:pt x="468" y="1000"/>
                  </a:lnTo>
                  <a:lnTo>
                    <a:pt x="481" y="992"/>
                  </a:lnTo>
                  <a:lnTo>
                    <a:pt x="493" y="982"/>
                  </a:lnTo>
                  <a:lnTo>
                    <a:pt x="504" y="971"/>
                  </a:lnTo>
                  <a:lnTo>
                    <a:pt x="514" y="958"/>
                  </a:lnTo>
                  <a:lnTo>
                    <a:pt x="522" y="944"/>
                  </a:lnTo>
                  <a:lnTo>
                    <a:pt x="529" y="929"/>
                  </a:lnTo>
                  <a:lnTo>
                    <a:pt x="534" y="912"/>
                  </a:lnTo>
                  <a:lnTo>
                    <a:pt x="538" y="894"/>
                  </a:lnTo>
                  <a:lnTo>
                    <a:pt x="541" y="875"/>
                  </a:lnTo>
                  <a:lnTo>
                    <a:pt x="541" y="854"/>
                  </a:lnTo>
                  <a:lnTo>
                    <a:pt x="541" y="854"/>
                  </a:lnTo>
                  <a:lnTo>
                    <a:pt x="541" y="842"/>
                  </a:lnTo>
                  <a:lnTo>
                    <a:pt x="539" y="831"/>
                  </a:lnTo>
                  <a:lnTo>
                    <a:pt x="537" y="818"/>
                  </a:lnTo>
                  <a:lnTo>
                    <a:pt x="533" y="806"/>
                  </a:lnTo>
                  <a:lnTo>
                    <a:pt x="528" y="795"/>
                  </a:lnTo>
                  <a:lnTo>
                    <a:pt x="523" y="783"/>
                  </a:lnTo>
                  <a:lnTo>
                    <a:pt x="516" y="771"/>
                  </a:lnTo>
                  <a:lnTo>
                    <a:pt x="509" y="759"/>
                  </a:lnTo>
                  <a:lnTo>
                    <a:pt x="499" y="748"/>
                  </a:lnTo>
                  <a:lnTo>
                    <a:pt x="490" y="737"/>
                  </a:lnTo>
                  <a:lnTo>
                    <a:pt x="480" y="726"/>
                  </a:lnTo>
                  <a:lnTo>
                    <a:pt x="469" y="716"/>
                  </a:lnTo>
                  <a:lnTo>
                    <a:pt x="457" y="706"/>
                  </a:lnTo>
                  <a:lnTo>
                    <a:pt x="443" y="697"/>
                  </a:lnTo>
                  <a:lnTo>
                    <a:pt x="429" y="688"/>
                  </a:lnTo>
                  <a:lnTo>
                    <a:pt x="415" y="680"/>
                  </a:lnTo>
                  <a:lnTo>
                    <a:pt x="250" y="593"/>
                  </a:lnTo>
                  <a:lnTo>
                    <a:pt x="250" y="593"/>
                  </a:lnTo>
                  <a:lnTo>
                    <a:pt x="223" y="580"/>
                  </a:lnTo>
                  <a:lnTo>
                    <a:pt x="198" y="566"/>
                  </a:lnTo>
                  <a:lnTo>
                    <a:pt x="174" y="551"/>
                  </a:lnTo>
                  <a:lnTo>
                    <a:pt x="152" y="535"/>
                  </a:lnTo>
                  <a:lnTo>
                    <a:pt x="131" y="520"/>
                  </a:lnTo>
                  <a:lnTo>
                    <a:pt x="112" y="502"/>
                  </a:lnTo>
                  <a:lnTo>
                    <a:pt x="94" y="485"/>
                  </a:lnTo>
                  <a:lnTo>
                    <a:pt x="78" y="467"/>
                  </a:lnTo>
                  <a:lnTo>
                    <a:pt x="64" y="447"/>
                  </a:lnTo>
                  <a:lnTo>
                    <a:pt x="52" y="426"/>
                  </a:lnTo>
                  <a:lnTo>
                    <a:pt x="40" y="404"/>
                  </a:lnTo>
                  <a:lnTo>
                    <a:pt x="32" y="380"/>
                  </a:lnTo>
                  <a:lnTo>
                    <a:pt x="25" y="355"/>
                  </a:lnTo>
                  <a:lnTo>
                    <a:pt x="20" y="328"/>
                  </a:lnTo>
                  <a:lnTo>
                    <a:pt x="17" y="299"/>
                  </a:lnTo>
                  <a:lnTo>
                    <a:pt x="16" y="267"/>
                  </a:lnTo>
                  <a:lnTo>
                    <a:pt x="16" y="267"/>
                  </a:lnTo>
                  <a:lnTo>
                    <a:pt x="16" y="254"/>
                  </a:lnTo>
                  <a:lnTo>
                    <a:pt x="17" y="242"/>
                  </a:lnTo>
                  <a:lnTo>
                    <a:pt x="19" y="228"/>
                  </a:lnTo>
                  <a:lnTo>
                    <a:pt x="22" y="216"/>
                  </a:lnTo>
                  <a:lnTo>
                    <a:pt x="25" y="204"/>
                  </a:lnTo>
                  <a:lnTo>
                    <a:pt x="29" y="192"/>
                  </a:lnTo>
                  <a:lnTo>
                    <a:pt x="34" y="179"/>
                  </a:lnTo>
                  <a:lnTo>
                    <a:pt x="39" y="167"/>
                  </a:lnTo>
                  <a:lnTo>
                    <a:pt x="45" y="156"/>
                  </a:lnTo>
                  <a:lnTo>
                    <a:pt x="52" y="145"/>
                  </a:lnTo>
                  <a:lnTo>
                    <a:pt x="59" y="134"/>
                  </a:lnTo>
                  <a:lnTo>
                    <a:pt x="67" y="123"/>
                  </a:lnTo>
                  <a:lnTo>
                    <a:pt x="75" y="114"/>
                  </a:lnTo>
                  <a:lnTo>
                    <a:pt x="83" y="104"/>
                  </a:lnTo>
                  <a:lnTo>
                    <a:pt x="94" y="95"/>
                  </a:lnTo>
                  <a:lnTo>
                    <a:pt x="103" y="85"/>
                  </a:lnTo>
                  <a:lnTo>
                    <a:pt x="113" y="76"/>
                  </a:lnTo>
                  <a:lnTo>
                    <a:pt x="124" y="69"/>
                  </a:lnTo>
                  <a:lnTo>
                    <a:pt x="135" y="61"/>
                  </a:lnTo>
                  <a:lnTo>
                    <a:pt x="148" y="54"/>
                  </a:lnTo>
                  <a:lnTo>
                    <a:pt x="160" y="46"/>
                  </a:lnTo>
                  <a:lnTo>
                    <a:pt x="172" y="40"/>
                  </a:lnTo>
                  <a:lnTo>
                    <a:pt x="186" y="34"/>
                  </a:lnTo>
                  <a:lnTo>
                    <a:pt x="199" y="29"/>
                  </a:lnTo>
                  <a:lnTo>
                    <a:pt x="212" y="25"/>
                  </a:lnTo>
                  <a:lnTo>
                    <a:pt x="226" y="21"/>
                  </a:lnTo>
                  <a:lnTo>
                    <a:pt x="241" y="17"/>
                  </a:lnTo>
                  <a:lnTo>
                    <a:pt x="255" y="14"/>
                  </a:lnTo>
                  <a:lnTo>
                    <a:pt x="269" y="12"/>
                  </a:lnTo>
                  <a:lnTo>
                    <a:pt x="285" y="11"/>
                  </a:lnTo>
                  <a:lnTo>
                    <a:pt x="300" y="10"/>
                  </a:lnTo>
                  <a:lnTo>
                    <a:pt x="315" y="9"/>
                  </a:lnTo>
                  <a:lnTo>
                    <a:pt x="315" y="9"/>
                  </a:lnTo>
                  <a:lnTo>
                    <a:pt x="335" y="10"/>
                  </a:lnTo>
                  <a:lnTo>
                    <a:pt x="352" y="11"/>
                  </a:lnTo>
                  <a:lnTo>
                    <a:pt x="369" y="12"/>
                  </a:lnTo>
                  <a:lnTo>
                    <a:pt x="384" y="15"/>
                  </a:lnTo>
                  <a:lnTo>
                    <a:pt x="399" y="18"/>
                  </a:lnTo>
                  <a:lnTo>
                    <a:pt x="414" y="21"/>
                  </a:lnTo>
                  <a:lnTo>
                    <a:pt x="427" y="25"/>
                  </a:lnTo>
                  <a:lnTo>
                    <a:pt x="440" y="30"/>
                  </a:lnTo>
                  <a:lnTo>
                    <a:pt x="464" y="40"/>
                  </a:lnTo>
                  <a:lnTo>
                    <a:pt x="486" y="53"/>
                  </a:lnTo>
                  <a:lnTo>
                    <a:pt x="507" y="66"/>
                  </a:lnTo>
                  <a:lnTo>
                    <a:pt x="526" y="79"/>
                  </a:lnTo>
                  <a:lnTo>
                    <a:pt x="526" y="79"/>
                  </a:lnTo>
                  <a:lnTo>
                    <a:pt x="534" y="73"/>
                  </a:lnTo>
                  <a:lnTo>
                    <a:pt x="541" y="65"/>
                  </a:lnTo>
                  <a:lnTo>
                    <a:pt x="549" y="57"/>
                  </a:lnTo>
                  <a:lnTo>
                    <a:pt x="556" y="47"/>
                  </a:lnTo>
                  <a:lnTo>
                    <a:pt x="562" y="36"/>
                  </a:lnTo>
                  <a:lnTo>
                    <a:pt x="568" y="26"/>
                  </a:lnTo>
                  <a:lnTo>
                    <a:pt x="572" y="14"/>
                  </a:lnTo>
                  <a:lnTo>
                    <a:pt x="576" y="0"/>
                  </a:lnTo>
                  <a:lnTo>
                    <a:pt x="624" y="0"/>
                  </a:lnTo>
                  <a:lnTo>
                    <a:pt x="624" y="380"/>
                  </a:lnTo>
                  <a:lnTo>
                    <a:pt x="575" y="380"/>
                  </a:lnTo>
                  <a:lnTo>
                    <a:pt x="575" y="380"/>
                  </a:lnTo>
                  <a:lnTo>
                    <a:pt x="572" y="354"/>
                  </a:lnTo>
                  <a:lnTo>
                    <a:pt x="568" y="328"/>
                  </a:lnTo>
                  <a:lnTo>
                    <a:pt x="563" y="301"/>
                  </a:lnTo>
                  <a:lnTo>
                    <a:pt x="556" y="275"/>
                  </a:lnTo>
                  <a:lnTo>
                    <a:pt x="549" y="250"/>
                  </a:lnTo>
                  <a:lnTo>
                    <a:pt x="538" y="225"/>
                  </a:lnTo>
                  <a:lnTo>
                    <a:pt x="527" y="203"/>
                  </a:lnTo>
                  <a:lnTo>
                    <a:pt x="514" y="180"/>
                  </a:lnTo>
                  <a:lnTo>
                    <a:pt x="507" y="170"/>
                  </a:lnTo>
                  <a:lnTo>
                    <a:pt x="498" y="160"/>
                  </a:lnTo>
                  <a:lnTo>
                    <a:pt x="490" y="151"/>
                  </a:lnTo>
                  <a:lnTo>
                    <a:pt x="481" y="142"/>
                  </a:lnTo>
                  <a:lnTo>
                    <a:pt x="472" y="133"/>
                  </a:lnTo>
                  <a:lnTo>
                    <a:pt x="462" y="125"/>
                  </a:lnTo>
                  <a:lnTo>
                    <a:pt x="451" y="118"/>
                  </a:lnTo>
                  <a:lnTo>
                    <a:pt x="440" y="112"/>
                  </a:lnTo>
                  <a:lnTo>
                    <a:pt x="428" y="106"/>
                  </a:lnTo>
                  <a:lnTo>
                    <a:pt x="416" y="101"/>
                  </a:lnTo>
                  <a:lnTo>
                    <a:pt x="402" y="96"/>
                  </a:lnTo>
                  <a:lnTo>
                    <a:pt x="388" y="91"/>
                  </a:lnTo>
                  <a:lnTo>
                    <a:pt x="374" y="88"/>
                  </a:lnTo>
                  <a:lnTo>
                    <a:pt x="358" y="86"/>
                  </a:lnTo>
                  <a:lnTo>
                    <a:pt x="343" y="85"/>
                  </a:lnTo>
                  <a:lnTo>
                    <a:pt x="327" y="84"/>
                  </a:lnTo>
                  <a:lnTo>
                    <a:pt x="327" y="84"/>
                  </a:lnTo>
                  <a:lnTo>
                    <a:pt x="313" y="85"/>
                  </a:lnTo>
                  <a:lnTo>
                    <a:pt x="300" y="87"/>
                  </a:lnTo>
                  <a:lnTo>
                    <a:pt x="287" y="90"/>
                  </a:lnTo>
                  <a:lnTo>
                    <a:pt x="275" y="95"/>
                  </a:lnTo>
                  <a:lnTo>
                    <a:pt x="262" y="100"/>
                  </a:lnTo>
                  <a:lnTo>
                    <a:pt x="251" y="106"/>
                  </a:lnTo>
                  <a:lnTo>
                    <a:pt x="240" y="113"/>
                  </a:lnTo>
                  <a:lnTo>
                    <a:pt x="230" y="121"/>
                  </a:lnTo>
                  <a:lnTo>
                    <a:pt x="220" y="131"/>
                  </a:lnTo>
                  <a:lnTo>
                    <a:pt x="212" y="142"/>
                  </a:lnTo>
                  <a:lnTo>
                    <a:pt x="205" y="153"/>
                  </a:lnTo>
                  <a:lnTo>
                    <a:pt x="199" y="165"/>
                  </a:lnTo>
                  <a:lnTo>
                    <a:pt x="194" y="178"/>
                  </a:lnTo>
                  <a:lnTo>
                    <a:pt x="190" y="192"/>
                  </a:lnTo>
                  <a:lnTo>
                    <a:pt x="188" y="207"/>
                  </a:lnTo>
                  <a:lnTo>
                    <a:pt x="187" y="222"/>
                  </a:lnTo>
                  <a:lnTo>
                    <a:pt x="187" y="222"/>
                  </a:lnTo>
                  <a:lnTo>
                    <a:pt x="187" y="233"/>
                  </a:lnTo>
                  <a:lnTo>
                    <a:pt x="189" y="244"/>
                  </a:lnTo>
                  <a:lnTo>
                    <a:pt x="192" y="254"/>
                  </a:lnTo>
                  <a:lnTo>
                    <a:pt x="195" y="265"/>
                  </a:lnTo>
                  <a:lnTo>
                    <a:pt x="200" y="278"/>
                  </a:lnTo>
                  <a:lnTo>
                    <a:pt x="206" y="289"/>
                  </a:lnTo>
                  <a:lnTo>
                    <a:pt x="213" y="301"/>
                  </a:lnTo>
                  <a:lnTo>
                    <a:pt x="221" y="312"/>
                  </a:lnTo>
                  <a:lnTo>
                    <a:pt x="231" y="325"/>
                  </a:lnTo>
                  <a:lnTo>
                    <a:pt x="241" y="336"/>
                  </a:lnTo>
                  <a:lnTo>
                    <a:pt x="252" y="348"/>
                  </a:lnTo>
                  <a:lnTo>
                    <a:pt x="264" y="359"/>
                  </a:lnTo>
                  <a:lnTo>
                    <a:pt x="278" y="370"/>
                  </a:lnTo>
                  <a:lnTo>
                    <a:pt x="292" y="380"/>
                  </a:lnTo>
                  <a:lnTo>
                    <a:pt x="308" y="390"/>
                  </a:lnTo>
                  <a:lnTo>
                    <a:pt x="325" y="399"/>
                  </a:lnTo>
                  <a:lnTo>
                    <a:pt x="490" y="483"/>
                  </a:lnTo>
                  <a:lnTo>
                    <a:pt x="490" y="483"/>
                  </a:lnTo>
                  <a:lnTo>
                    <a:pt x="513" y="495"/>
                  </a:lnTo>
                  <a:lnTo>
                    <a:pt x="535" y="510"/>
                  </a:lnTo>
                  <a:lnTo>
                    <a:pt x="556" y="524"/>
                  </a:lnTo>
                  <a:lnTo>
                    <a:pt x="576" y="538"/>
                  </a:lnTo>
                  <a:lnTo>
                    <a:pt x="596" y="555"/>
                  </a:lnTo>
                  <a:lnTo>
                    <a:pt x="614" y="572"/>
                  </a:lnTo>
                  <a:lnTo>
                    <a:pt x="631" y="590"/>
                  </a:lnTo>
                  <a:lnTo>
                    <a:pt x="648" y="609"/>
                  </a:lnTo>
                  <a:lnTo>
                    <a:pt x="662" y="628"/>
                  </a:lnTo>
                  <a:lnTo>
                    <a:pt x="674" y="649"/>
                  </a:lnTo>
                  <a:lnTo>
                    <a:pt x="686" y="670"/>
                  </a:lnTo>
                  <a:lnTo>
                    <a:pt x="695" y="693"/>
                  </a:lnTo>
                  <a:lnTo>
                    <a:pt x="703" y="715"/>
                  </a:lnTo>
                  <a:lnTo>
                    <a:pt x="708" y="739"/>
                  </a:lnTo>
                  <a:lnTo>
                    <a:pt x="711" y="763"/>
                  </a:lnTo>
                  <a:lnTo>
                    <a:pt x="712" y="789"/>
                  </a:lnTo>
                  <a:lnTo>
                    <a:pt x="712" y="789"/>
                  </a:lnTo>
                  <a:lnTo>
                    <a:pt x="712" y="806"/>
                  </a:lnTo>
                  <a:lnTo>
                    <a:pt x="711" y="824"/>
                  </a:lnTo>
                  <a:lnTo>
                    <a:pt x="708" y="840"/>
                  </a:lnTo>
                  <a:lnTo>
                    <a:pt x="705" y="856"/>
                  </a:lnTo>
                  <a:lnTo>
                    <a:pt x="701" y="872"/>
                  </a:lnTo>
                  <a:lnTo>
                    <a:pt x="696" y="887"/>
                  </a:lnTo>
                  <a:lnTo>
                    <a:pt x="691" y="902"/>
                  </a:lnTo>
                  <a:lnTo>
                    <a:pt x="684" y="917"/>
                  </a:lnTo>
                  <a:lnTo>
                    <a:pt x="676" y="931"/>
                  </a:lnTo>
                  <a:lnTo>
                    <a:pt x="669" y="945"/>
                  </a:lnTo>
                  <a:lnTo>
                    <a:pt x="660" y="957"/>
                  </a:lnTo>
                  <a:lnTo>
                    <a:pt x="651" y="971"/>
                  </a:lnTo>
                  <a:lnTo>
                    <a:pt x="641" y="983"/>
                  </a:lnTo>
                  <a:lnTo>
                    <a:pt x="630" y="994"/>
                  </a:lnTo>
                  <a:lnTo>
                    <a:pt x="619" y="1005"/>
                  </a:lnTo>
                  <a:lnTo>
                    <a:pt x="608" y="1016"/>
                  </a:lnTo>
                  <a:lnTo>
                    <a:pt x="596" y="1026"/>
                  </a:lnTo>
                  <a:lnTo>
                    <a:pt x="582" y="1035"/>
                  </a:lnTo>
                  <a:lnTo>
                    <a:pt x="570" y="1044"/>
                  </a:lnTo>
                  <a:lnTo>
                    <a:pt x="556" y="1053"/>
                  </a:lnTo>
                  <a:lnTo>
                    <a:pt x="542" y="1061"/>
                  </a:lnTo>
                  <a:lnTo>
                    <a:pt x="528" y="1068"/>
                  </a:lnTo>
                  <a:lnTo>
                    <a:pt x="513" y="1074"/>
                  </a:lnTo>
                  <a:lnTo>
                    <a:pt x="498" y="1080"/>
                  </a:lnTo>
                  <a:lnTo>
                    <a:pt x="483" y="1085"/>
                  </a:lnTo>
                  <a:lnTo>
                    <a:pt x="467" y="1089"/>
                  </a:lnTo>
                  <a:lnTo>
                    <a:pt x="451" y="1093"/>
                  </a:lnTo>
                  <a:lnTo>
                    <a:pt x="435" y="1096"/>
                  </a:lnTo>
                  <a:lnTo>
                    <a:pt x="419" y="1100"/>
                  </a:lnTo>
                  <a:lnTo>
                    <a:pt x="402" y="1101"/>
                  </a:lnTo>
                  <a:lnTo>
                    <a:pt x="386" y="1103"/>
                  </a:lnTo>
                  <a:lnTo>
                    <a:pt x="370" y="1103"/>
                  </a:lnTo>
                  <a:lnTo>
                    <a:pt x="370" y="1103"/>
                  </a:lnTo>
                  <a:lnTo>
                    <a:pt x="345" y="1102"/>
                  </a:lnTo>
                  <a:lnTo>
                    <a:pt x="323" y="1100"/>
                  </a:lnTo>
                  <a:lnTo>
                    <a:pt x="300" y="1096"/>
                  </a:lnTo>
                  <a:lnTo>
                    <a:pt x="280" y="1091"/>
                  </a:lnTo>
                  <a:lnTo>
                    <a:pt x="260" y="1086"/>
                  </a:lnTo>
                  <a:lnTo>
                    <a:pt x="241" y="1080"/>
                  </a:lnTo>
                  <a:lnTo>
                    <a:pt x="223" y="1073"/>
                  </a:lnTo>
                  <a:lnTo>
                    <a:pt x="206" y="1067"/>
                  </a:lnTo>
                  <a:lnTo>
                    <a:pt x="175" y="1053"/>
                  </a:lnTo>
                  <a:lnTo>
                    <a:pt x="147" y="1039"/>
                  </a:lnTo>
                  <a:lnTo>
                    <a:pt x="122" y="1028"/>
                  </a:lnTo>
                  <a:lnTo>
                    <a:pt x="111" y="1024"/>
                  </a:lnTo>
                  <a:lnTo>
                    <a:pt x="101" y="1022"/>
                  </a:lnTo>
                  <a:lnTo>
                    <a:pt x="101" y="1022"/>
                  </a:lnTo>
                  <a:lnTo>
                    <a:pt x="93" y="1028"/>
                  </a:lnTo>
                  <a:lnTo>
                    <a:pt x="85" y="1036"/>
                  </a:lnTo>
                  <a:lnTo>
                    <a:pt x="77" y="1044"/>
                  </a:lnTo>
                  <a:lnTo>
                    <a:pt x="71" y="1055"/>
                  </a:lnTo>
                  <a:lnTo>
                    <a:pt x="64" y="1065"/>
                  </a:lnTo>
                  <a:lnTo>
                    <a:pt x="59" y="1076"/>
                  </a:lnTo>
                  <a:lnTo>
                    <a:pt x="54" y="1089"/>
                  </a:lnTo>
                  <a:lnTo>
                    <a:pt x="51" y="1103"/>
                  </a:lnTo>
                  <a:lnTo>
                    <a:pt x="51" y="11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4" name="Freeform 17"/>
            <p:cNvSpPr>
              <a:spLocks/>
            </p:cNvSpPr>
            <p:nvPr userDrawn="1"/>
          </p:nvSpPr>
          <p:spPr bwMode="auto">
            <a:xfrm>
              <a:off x="8496546" y="633580"/>
              <a:ext cx="142875" cy="136525"/>
            </a:xfrm>
            <a:custGeom>
              <a:avLst/>
              <a:gdLst>
                <a:gd name="T0" fmla="*/ 1028 w 1078"/>
                <a:gd name="T1" fmla="*/ 244 h 1035"/>
                <a:gd name="T2" fmla="*/ 1020 w 1078"/>
                <a:gd name="T3" fmla="*/ 209 h 1035"/>
                <a:gd name="T4" fmla="*/ 1006 w 1078"/>
                <a:gd name="T5" fmla="*/ 163 h 1035"/>
                <a:gd name="T6" fmla="*/ 995 w 1078"/>
                <a:gd name="T7" fmla="*/ 138 h 1035"/>
                <a:gd name="T8" fmla="*/ 980 w 1078"/>
                <a:gd name="T9" fmla="*/ 118 h 1035"/>
                <a:gd name="T10" fmla="*/ 959 w 1078"/>
                <a:gd name="T11" fmla="*/ 101 h 1035"/>
                <a:gd name="T12" fmla="*/ 932 w 1078"/>
                <a:gd name="T13" fmla="*/ 90 h 1035"/>
                <a:gd name="T14" fmla="*/ 895 w 1078"/>
                <a:gd name="T15" fmla="*/ 82 h 1035"/>
                <a:gd name="T16" fmla="*/ 848 w 1078"/>
                <a:gd name="T17" fmla="*/ 78 h 1035"/>
                <a:gd name="T18" fmla="*/ 646 w 1078"/>
                <a:gd name="T19" fmla="*/ 78 h 1035"/>
                <a:gd name="T20" fmla="*/ 646 w 1078"/>
                <a:gd name="T21" fmla="*/ 783 h 1035"/>
                <a:gd name="T22" fmla="*/ 648 w 1078"/>
                <a:gd name="T23" fmla="*/ 842 h 1035"/>
                <a:gd name="T24" fmla="*/ 652 w 1078"/>
                <a:gd name="T25" fmla="*/ 888 h 1035"/>
                <a:gd name="T26" fmla="*/ 662 w 1078"/>
                <a:gd name="T27" fmla="*/ 923 h 1035"/>
                <a:gd name="T28" fmla="*/ 672 w 1078"/>
                <a:gd name="T29" fmla="*/ 943 h 1035"/>
                <a:gd name="T30" fmla="*/ 680 w 1078"/>
                <a:gd name="T31" fmla="*/ 954 h 1035"/>
                <a:gd name="T32" fmla="*/ 691 w 1078"/>
                <a:gd name="T33" fmla="*/ 963 h 1035"/>
                <a:gd name="T34" fmla="*/ 711 w 1078"/>
                <a:gd name="T35" fmla="*/ 973 h 1035"/>
                <a:gd name="T36" fmla="*/ 743 w 1078"/>
                <a:gd name="T37" fmla="*/ 982 h 1035"/>
                <a:gd name="T38" fmla="*/ 787 w 1078"/>
                <a:gd name="T39" fmla="*/ 985 h 1035"/>
                <a:gd name="T40" fmla="*/ 812 w 1078"/>
                <a:gd name="T41" fmla="*/ 1035 h 1035"/>
                <a:gd name="T42" fmla="*/ 267 w 1078"/>
                <a:gd name="T43" fmla="*/ 985 h 1035"/>
                <a:gd name="T44" fmla="*/ 293 w 1078"/>
                <a:gd name="T45" fmla="*/ 985 h 1035"/>
                <a:gd name="T46" fmla="*/ 335 w 1078"/>
                <a:gd name="T47" fmla="*/ 982 h 1035"/>
                <a:gd name="T48" fmla="*/ 369 w 1078"/>
                <a:gd name="T49" fmla="*/ 973 h 1035"/>
                <a:gd name="T50" fmla="*/ 388 w 1078"/>
                <a:gd name="T51" fmla="*/ 963 h 1035"/>
                <a:gd name="T52" fmla="*/ 399 w 1078"/>
                <a:gd name="T53" fmla="*/ 954 h 1035"/>
                <a:gd name="T54" fmla="*/ 407 w 1078"/>
                <a:gd name="T55" fmla="*/ 943 h 1035"/>
                <a:gd name="T56" fmla="*/ 417 w 1078"/>
                <a:gd name="T57" fmla="*/ 923 h 1035"/>
                <a:gd name="T58" fmla="*/ 425 w 1078"/>
                <a:gd name="T59" fmla="*/ 888 h 1035"/>
                <a:gd name="T60" fmla="*/ 430 w 1078"/>
                <a:gd name="T61" fmla="*/ 842 h 1035"/>
                <a:gd name="T62" fmla="*/ 432 w 1078"/>
                <a:gd name="T63" fmla="*/ 783 h 1035"/>
                <a:gd name="T64" fmla="*/ 259 w 1078"/>
                <a:gd name="T65" fmla="*/ 78 h 1035"/>
                <a:gd name="T66" fmla="*/ 231 w 1078"/>
                <a:gd name="T67" fmla="*/ 78 h 1035"/>
                <a:gd name="T68" fmla="*/ 184 w 1078"/>
                <a:gd name="T69" fmla="*/ 82 h 1035"/>
                <a:gd name="T70" fmla="*/ 147 w 1078"/>
                <a:gd name="T71" fmla="*/ 90 h 1035"/>
                <a:gd name="T72" fmla="*/ 120 w 1078"/>
                <a:gd name="T73" fmla="*/ 101 h 1035"/>
                <a:gd name="T74" fmla="*/ 99 w 1078"/>
                <a:gd name="T75" fmla="*/ 118 h 1035"/>
                <a:gd name="T76" fmla="*/ 85 w 1078"/>
                <a:gd name="T77" fmla="*/ 138 h 1035"/>
                <a:gd name="T78" fmla="*/ 74 w 1078"/>
                <a:gd name="T79" fmla="*/ 163 h 1035"/>
                <a:gd name="T80" fmla="*/ 60 w 1078"/>
                <a:gd name="T81" fmla="*/ 209 h 1035"/>
                <a:gd name="T82" fmla="*/ 0 w 1078"/>
                <a:gd name="T83" fmla="*/ 244 h 1035"/>
                <a:gd name="T84" fmla="*/ 1065 w 1078"/>
                <a:gd name="T85" fmla="*/ 0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8" h="1035">
                  <a:moveTo>
                    <a:pt x="1078" y="244"/>
                  </a:moveTo>
                  <a:lnTo>
                    <a:pt x="1028" y="244"/>
                  </a:lnTo>
                  <a:lnTo>
                    <a:pt x="1020" y="209"/>
                  </a:lnTo>
                  <a:lnTo>
                    <a:pt x="1020" y="209"/>
                  </a:lnTo>
                  <a:lnTo>
                    <a:pt x="1011" y="177"/>
                  </a:lnTo>
                  <a:lnTo>
                    <a:pt x="1006" y="163"/>
                  </a:lnTo>
                  <a:lnTo>
                    <a:pt x="1001" y="150"/>
                  </a:lnTo>
                  <a:lnTo>
                    <a:pt x="995" y="138"/>
                  </a:lnTo>
                  <a:lnTo>
                    <a:pt x="988" y="127"/>
                  </a:lnTo>
                  <a:lnTo>
                    <a:pt x="980" y="118"/>
                  </a:lnTo>
                  <a:lnTo>
                    <a:pt x="970" y="109"/>
                  </a:lnTo>
                  <a:lnTo>
                    <a:pt x="959" y="101"/>
                  </a:lnTo>
                  <a:lnTo>
                    <a:pt x="947" y="95"/>
                  </a:lnTo>
                  <a:lnTo>
                    <a:pt x="932" y="90"/>
                  </a:lnTo>
                  <a:lnTo>
                    <a:pt x="914" y="85"/>
                  </a:lnTo>
                  <a:lnTo>
                    <a:pt x="895" y="82"/>
                  </a:lnTo>
                  <a:lnTo>
                    <a:pt x="872" y="80"/>
                  </a:lnTo>
                  <a:lnTo>
                    <a:pt x="848" y="78"/>
                  </a:lnTo>
                  <a:lnTo>
                    <a:pt x="819" y="78"/>
                  </a:lnTo>
                  <a:lnTo>
                    <a:pt x="646" y="78"/>
                  </a:lnTo>
                  <a:lnTo>
                    <a:pt x="646" y="783"/>
                  </a:lnTo>
                  <a:lnTo>
                    <a:pt x="646" y="783"/>
                  </a:lnTo>
                  <a:lnTo>
                    <a:pt x="647" y="814"/>
                  </a:lnTo>
                  <a:lnTo>
                    <a:pt x="648" y="842"/>
                  </a:lnTo>
                  <a:lnTo>
                    <a:pt x="649" y="866"/>
                  </a:lnTo>
                  <a:lnTo>
                    <a:pt x="652" y="888"/>
                  </a:lnTo>
                  <a:lnTo>
                    <a:pt x="657" y="906"/>
                  </a:lnTo>
                  <a:lnTo>
                    <a:pt x="662" y="923"/>
                  </a:lnTo>
                  <a:lnTo>
                    <a:pt x="668" y="937"/>
                  </a:lnTo>
                  <a:lnTo>
                    <a:pt x="672" y="943"/>
                  </a:lnTo>
                  <a:lnTo>
                    <a:pt x="676" y="949"/>
                  </a:lnTo>
                  <a:lnTo>
                    <a:pt x="680" y="954"/>
                  </a:lnTo>
                  <a:lnTo>
                    <a:pt x="685" y="958"/>
                  </a:lnTo>
                  <a:lnTo>
                    <a:pt x="691" y="963"/>
                  </a:lnTo>
                  <a:lnTo>
                    <a:pt x="697" y="966"/>
                  </a:lnTo>
                  <a:lnTo>
                    <a:pt x="711" y="973"/>
                  </a:lnTo>
                  <a:lnTo>
                    <a:pt x="726" y="978"/>
                  </a:lnTo>
                  <a:lnTo>
                    <a:pt x="743" y="982"/>
                  </a:lnTo>
                  <a:lnTo>
                    <a:pt x="764" y="984"/>
                  </a:lnTo>
                  <a:lnTo>
                    <a:pt x="787" y="985"/>
                  </a:lnTo>
                  <a:lnTo>
                    <a:pt x="812" y="985"/>
                  </a:lnTo>
                  <a:lnTo>
                    <a:pt x="812" y="1035"/>
                  </a:lnTo>
                  <a:lnTo>
                    <a:pt x="267" y="1035"/>
                  </a:lnTo>
                  <a:lnTo>
                    <a:pt x="267" y="985"/>
                  </a:lnTo>
                  <a:lnTo>
                    <a:pt x="267" y="985"/>
                  </a:lnTo>
                  <a:lnTo>
                    <a:pt x="293" y="985"/>
                  </a:lnTo>
                  <a:lnTo>
                    <a:pt x="315" y="984"/>
                  </a:lnTo>
                  <a:lnTo>
                    <a:pt x="335" y="982"/>
                  </a:lnTo>
                  <a:lnTo>
                    <a:pt x="353" y="978"/>
                  </a:lnTo>
                  <a:lnTo>
                    <a:pt x="369" y="973"/>
                  </a:lnTo>
                  <a:lnTo>
                    <a:pt x="383" y="966"/>
                  </a:lnTo>
                  <a:lnTo>
                    <a:pt x="388" y="963"/>
                  </a:lnTo>
                  <a:lnTo>
                    <a:pt x="394" y="958"/>
                  </a:lnTo>
                  <a:lnTo>
                    <a:pt x="399" y="954"/>
                  </a:lnTo>
                  <a:lnTo>
                    <a:pt x="403" y="949"/>
                  </a:lnTo>
                  <a:lnTo>
                    <a:pt x="407" y="943"/>
                  </a:lnTo>
                  <a:lnTo>
                    <a:pt x="411" y="937"/>
                  </a:lnTo>
                  <a:lnTo>
                    <a:pt x="417" y="923"/>
                  </a:lnTo>
                  <a:lnTo>
                    <a:pt x="422" y="906"/>
                  </a:lnTo>
                  <a:lnTo>
                    <a:pt x="425" y="888"/>
                  </a:lnTo>
                  <a:lnTo>
                    <a:pt x="429" y="866"/>
                  </a:lnTo>
                  <a:lnTo>
                    <a:pt x="430" y="842"/>
                  </a:lnTo>
                  <a:lnTo>
                    <a:pt x="431" y="814"/>
                  </a:lnTo>
                  <a:lnTo>
                    <a:pt x="432" y="783"/>
                  </a:lnTo>
                  <a:lnTo>
                    <a:pt x="432" y="78"/>
                  </a:lnTo>
                  <a:lnTo>
                    <a:pt x="259" y="78"/>
                  </a:lnTo>
                  <a:lnTo>
                    <a:pt x="259" y="78"/>
                  </a:lnTo>
                  <a:lnTo>
                    <a:pt x="231" y="78"/>
                  </a:lnTo>
                  <a:lnTo>
                    <a:pt x="206" y="80"/>
                  </a:lnTo>
                  <a:lnTo>
                    <a:pt x="184" y="82"/>
                  </a:lnTo>
                  <a:lnTo>
                    <a:pt x="165" y="85"/>
                  </a:lnTo>
                  <a:lnTo>
                    <a:pt x="147" y="90"/>
                  </a:lnTo>
                  <a:lnTo>
                    <a:pt x="133" y="95"/>
                  </a:lnTo>
                  <a:lnTo>
                    <a:pt x="120" y="101"/>
                  </a:lnTo>
                  <a:lnTo>
                    <a:pt x="110" y="109"/>
                  </a:lnTo>
                  <a:lnTo>
                    <a:pt x="99" y="118"/>
                  </a:lnTo>
                  <a:lnTo>
                    <a:pt x="91" y="127"/>
                  </a:lnTo>
                  <a:lnTo>
                    <a:pt x="85" y="138"/>
                  </a:lnTo>
                  <a:lnTo>
                    <a:pt x="79" y="150"/>
                  </a:lnTo>
                  <a:lnTo>
                    <a:pt x="74" y="163"/>
                  </a:lnTo>
                  <a:lnTo>
                    <a:pt x="69" y="177"/>
                  </a:lnTo>
                  <a:lnTo>
                    <a:pt x="60" y="209"/>
                  </a:lnTo>
                  <a:lnTo>
                    <a:pt x="51" y="244"/>
                  </a:lnTo>
                  <a:lnTo>
                    <a:pt x="0" y="244"/>
                  </a:lnTo>
                  <a:lnTo>
                    <a:pt x="15" y="0"/>
                  </a:lnTo>
                  <a:lnTo>
                    <a:pt x="1065" y="0"/>
                  </a:lnTo>
                  <a:lnTo>
                    <a:pt x="1078" y="2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5" name="Freeform 18"/>
            <p:cNvSpPr>
              <a:spLocks noEditPoints="1"/>
            </p:cNvSpPr>
            <p:nvPr userDrawn="1"/>
          </p:nvSpPr>
          <p:spPr bwMode="auto">
            <a:xfrm>
              <a:off x="8667995" y="630404"/>
              <a:ext cx="152400" cy="144463"/>
            </a:xfrm>
            <a:custGeom>
              <a:avLst/>
              <a:gdLst>
                <a:gd name="T0" fmla="*/ 487 w 1150"/>
                <a:gd name="T1" fmla="*/ 1087 h 1094"/>
                <a:gd name="T2" fmla="*/ 351 w 1150"/>
                <a:gd name="T3" fmla="*/ 1051 h 1094"/>
                <a:gd name="T4" fmla="*/ 231 w 1150"/>
                <a:gd name="T5" fmla="*/ 984 h 1094"/>
                <a:gd name="T6" fmla="*/ 131 w 1150"/>
                <a:gd name="T7" fmla="*/ 894 h 1094"/>
                <a:gd name="T8" fmla="*/ 56 w 1150"/>
                <a:gd name="T9" fmla="*/ 783 h 1094"/>
                <a:gd name="T10" fmla="*/ 11 w 1150"/>
                <a:gd name="T11" fmla="*/ 656 h 1094"/>
                <a:gd name="T12" fmla="*/ 0 w 1150"/>
                <a:gd name="T13" fmla="*/ 547 h 1094"/>
                <a:gd name="T14" fmla="*/ 17 w 1150"/>
                <a:gd name="T15" fmla="*/ 411 h 1094"/>
                <a:gd name="T16" fmla="*/ 69 w 1150"/>
                <a:gd name="T17" fmla="*/ 287 h 1094"/>
                <a:gd name="T18" fmla="*/ 149 w 1150"/>
                <a:gd name="T19" fmla="*/ 180 h 1094"/>
                <a:gd name="T20" fmla="*/ 253 w 1150"/>
                <a:gd name="T21" fmla="*/ 94 h 1094"/>
                <a:gd name="T22" fmla="*/ 378 w 1150"/>
                <a:gd name="T23" fmla="*/ 33 h 1094"/>
                <a:gd name="T24" fmla="*/ 517 w 1150"/>
                <a:gd name="T25" fmla="*/ 3 h 1094"/>
                <a:gd name="T26" fmla="*/ 634 w 1150"/>
                <a:gd name="T27" fmla="*/ 3 h 1094"/>
                <a:gd name="T28" fmla="*/ 773 w 1150"/>
                <a:gd name="T29" fmla="*/ 33 h 1094"/>
                <a:gd name="T30" fmla="*/ 895 w 1150"/>
                <a:gd name="T31" fmla="*/ 94 h 1094"/>
                <a:gd name="T32" fmla="*/ 1000 w 1150"/>
                <a:gd name="T33" fmla="*/ 180 h 1094"/>
                <a:gd name="T34" fmla="*/ 1080 w 1150"/>
                <a:gd name="T35" fmla="*/ 287 h 1094"/>
                <a:gd name="T36" fmla="*/ 1132 w 1150"/>
                <a:gd name="T37" fmla="*/ 411 h 1094"/>
                <a:gd name="T38" fmla="*/ 1150 w 1150"/>
                <a:gd name="T39" fmla="*/ 547 h 1094"/>
                <a:gd name="T40" fmla="*/ 1138 w 1150"/>
                <a:gd name="T41" fmla="*/ 656 h 1094"/>
                <a:gd name="T42" fmla="*/ 1093 w 1150"/>
                <a:gd name="T43" fmla="*/ 783 h 1094"/>
                <a:gd name="T44" fmla="*/ 1018 w 1150"/>
                <a:gd name="T45" fmla="*/ 894 h 1094"/>
                <a:gd name="T46" fmla="*/ 919 w 1150"/>
                <a:gd name="T47" fmla="*/ 984 h 1094"/>
                <a:gd name="T48" fmla="*/ 798 w 1150"/>
                <a:gd name="T49" fmla="*/ 1051 h 1094"/>
                <a:gd name="T50" fmla="*/ 662 w 1150"/>
                <a:gd name="T51" fmla="*/ 1087 h 1094"/>
                <a:gd name="T52" fmla="*/ 575 w 1150"/>
                <a:gd name="T53" fmla="*/ 82 h 1094"/>
                <a:gd name="T54" fmla="*/ 490 w 1150"/>
                <a:gd name="T55" fmla="*/ 94 h 1094"/>
                <a:gd name="T56" fmla="*/ 403 w 1150"/>
                <a:gd name="T57" fmla="*/ 137 h 1094"/>
                <a:gd name="T58" fmla="*/ 334 w 1150"/>
                <a:gd name="T59" fmla="*/ 204 h 1094"/>
                <a:gd name="T60" fmla="*/ 284 w 1150"/>
                <a:gd name="T61" fmla="*/ 290 h 1094"/>
                <a:gd name="T62" fmla="*/ 251 w 1150"/>
                <a:gd name="T63" fmla="*/ 386 h 1094"/>
                <a:gd name="T64" fmla="*/ 233 w 1150"/>
                <a:gd name="T65" fmla="*/ 507 h 1094"/>
                <a:gd name="T66" fmla="*/ 240 w 1150"/>
                <a:gd name="T67" fmla="*/ 647 h 1094"/>
                <a:gd name="T68" fmla="*/ 262 w 1150"/>
                <a:gd name="T69" fmla="*/ 747 h 1094"/>
                <a:gd name="T70" fmla="*/ 302 w 1150"/>
                <a:gd name="T71" fmla="*/ 840 h 1094"/>
                <a:gd name="T72" fmla="*/ 360 w 1150"/>
                <a:gd name="T73" fmla="*/ 919 h 1094"/>
                <a:gd name="T74" fmla="*/ 435 w 1150"/>
                <a:gd name="T75" fmla="*/ 977 h 1094"/>
                <a:gd name="T76" fmla="*/ 531 w 1150"/>
                <a:gd name="T77" fmla="*/ 1008 h 1094"/>
                <a:gd name="T78" fmla="*/ 619 w 1150"/>
                <a:gd name="T79" fmla="*/ 1008 h 1094"/>
                <a:gd name="T80" fmla="*/ 715 w 1150"/>
                <a:gd name="T81" fmla="*/ 977 h 1094"/>
                <a:gd name="T82" fmla="*/ 791 w 1150"/>
                <a:gd name="T83" fmla="*/ 919 h 1094"/>
                <a:gd name="T84" fmla="*/ 848 w 1150"/>
                <a:gd name="T85" fmla="*/ 840 h 1094"/>
                <a:gd name="T86" fmla="*/ 888 w 1150"/>
                <a:gd name="T87" fmla="*/ 747 h 1094"/>
                <a:gd name="T88" fmla="*/ 911 w 1150"/>
                <a:gd name="T89" fmla="*/ 647 h 1094"/>
                <a:gd name="T90" fmla="*/ 918 w 1150"/>
                <a:gd name="T91" fmla="*/ 507 h 1094"/>
                <a:gd name="T92" fmla="*/ 899 w 1150"/>
                <a:gd name="T93" fmla="*/ 386 h 1094"/>
                <a:gd name="T94" fmla="*/ 867 w 1150"/>
                <a:gd name="T95" fmla="*/ 290 h 1094"/>
                <a:gd name="T96" fmla="*/ 816 w 1150"/>
                <a:gd name="T97" fmla="*/ 204 h 1094"/>
                <a:gd name="T98" fmla="*/ 747 w 1150"/>
                <a:gd name="T99" fmla="*/ 137 h 1094"/>
                <a:gd name="T100" fmla="*/ 660 w 1150"/>
                <a:gd name="T101" fmla="*/ 94 h 1094"/>
                <a:gd name="T102" fmla="*/ 575 w 1150"/>
                <a:gd name="T103" fmla="*/ 82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0" h="1094">
                  <a:moveTo>
                    <a:pt x="575" y="1094"/>
                  </a:moveTo>
                  <a:lnTo>
                    <a:pt x="575" y="1094"/>
                  </a:lnTo>
                  <a:lnTo>
                    <a:pt x="546" y="1093"/>
                  </a:lnTo>
                  <a:lnTo>
                    <a:pt x="517" y="1091"/>
                  </a:lnTo>
                  <a:lnTo>
                    <a:pt x="487" y="1087"/>
                  </a:lnTo>
                  <a:lnTo>
                    <a:pt x="460" y="1082"/>
                  </a:lnTo>
                  <a:lnTo>
                    <a:pt x="431" y="1076"/>
                  </a:lnTo>
                  <a:lnTo>
                    <a:pt x="405" y="1069"/>
                  </a:lnTo>
                  <a:lnTo>
                    <a:pt x="378" y="1060"/>
                  </a:lnTo>
                  <a:lnTo>
                    <a:pt x="351" y="1051"/>
                  </a:lnTo>
                  <a:lnTo>
                    <a:pt x="326" y="1039"/>
                  </a:lnTo>
                  <a:lnTo>
                    <a:pt x="301" y="1027"/>
                  </a:lnTo>
                  <a:lnTo>
                    <a:pt x="277" y="1014"/>
                  </a:lnTo>
                  <a:lnTo>
                    <a:pt x="253" y="1000"/>
                  </a:lnTo>
                  <a:lnTo>
                    <a:pt x="231" y="984"/>
                  </a:lnTo>
                  <a:lnTo>
                    <a:pt x="209" y="968"/>
                  </a:lnTo>
                  <a:lnTo>
                    <a:pt x="188" y="950"/>
                  </a:lnTo>
                  <a:lnTo>
                    <a:pt x="168" y="933"/>
                  </a:lnTo>
                  <a:lnTo>
                    <a:pt x="149" y="914"/>
                  </a:lnTo>
                  <a:lnTo>
                    <a:pt x="131" y="894"/>
                  </a:lnTo>
                  <a:lnTo>
                    <a:pt x="114" y="873"/>
                  </a:lnTo>
                  <a:lnTo>
                    <a:pt x="98" y="851"/>
                  </a:lnTo>
                  <a:lnTo>
                    <a:pt x="82" y="830"/>
                  </a:lnTo>
                  <a:lnTo>
                    <a:pt x="69" y="806"/>
                  </a:lnTo>
                  <a:lnTo>
                    <a:pt x="56" y="783"/>
                  </a:lnTo>
                  <a:lnTo>
                    <a:pt x="45" y="758"/>
                  </a:lnTo>
                  <a:lnTo>
                    <a:pt x="34" y="734"/>
                  </a:lnTo>
                  <a:lnTo>
                    <a:pt x="25" y="708"/>
                  </a:lnTo>
                  <a:lnTo>
                    <a:pt x="17" y="683"/>
                  </a:lnTo>
                  <a:lnTo>
                    <a:pt x="11" y="656"/>
                  </a:lnTo>
                  <a:lnTo>
                    <a:pt x="6" y="629"/>
                  </a:lnTo>
                  <a:lnTo>
                    <a:pt x="2" y="602"/>
                  </a:lnTo>
                  <a:lnTo>
                    <a:pt x="0" y="574"/>
                  </a:lnTo>
                  <a:lnTo>
                    <a:pt x="0" y="547"/>
                  </a:lnTo>
                  <a:lnTo>
                    <a:pt x="0" y="547"/>
                  </a:lnTo>
                  <a:lnTo>
                    <a:pt x="0" y="519"/>
                  </a:lnTo>
                  <a:lnTo>
                    <a:pt x="2" y="491"/>
                  </a:lnTo>
                  <a:lnTo>
                    <a:pt x="6" y="464"/>
                  </a:lnTo>
                  <a:lnTo>
                    <a:pt x="11" y="437"/>
                  </a:lnTo>
                  <a:lnTo>
                    <a:pt x="17" y="411"/>
                  </a:lnTo>
                  <a:lnTo>
                    <a:pt x="25" y="385"/>
                  </a:lnTo>
                  <a:lnTo>
                    <a:pt x="34" y="360"/>
                  </a:lnTo>
                  <a:lnTo>
                    <a:pt x="45" y="335"/>
                  </a:lnTo>
                  <a:lnTo>
                    <a:pt x="56" y="310"/>
                  </a:lnTo>
                  <a:lnTo>
                    <a:pt x="69" y="287"/>
                  </a:lnTo>
                  <a:lnTo>
                    <a:pt x="82" y="264"/>
                  </a:lnTo>
                  <a:lnTo>
                    <a:pt x="98" y="242"/>
                  </a:lnTo>
                  <a:lnTo>
                    <a:pt x="114" y="220"/>
                  </a:lnTo>
                  <a:lnTo>
                    <a:pt x="131" y="200"/>
                  </a:lnTo>
                  <a:lnTo>
                    <a:pt x="149" y="180"/>
                  </a:lnTo>
                  <a:lnTo>
                    <a:pt x="168" y="161"/>
                  </a:lnTo>
                  <a:lnTo>
                    <a:pt x="188" y="143"/>
                  </a:lnTo>
                  <a:lnTo>
                    <a:pt x="209" y="125"/>
                  </a:lnTo>
                  <a:lnTo>
                    <a:pt x="231" y="109"/>
                  </a:lnTo>
                  <a:lnTo>
                    <a:pt x="253" y="94"/>
                  </a:lnTo>
                  <a:lnTo>
                    <a:pt x="277" y="79"/>
                  </a:lnTo>
                  <a:lnTo>
                    <a:pt x="301" y="66"/>
                  </a:lnTo>
                  <a:lnTo>
                    <a:pt x="326" y="54"/>
                  </a:lnTo>
                  <a:lnTo>
                    <a:pt x="351" y="44"/>
                  </a:lnTo>
                  <a:lnTo>
                    <a:pt x="378" y="33"/>
                  </a:lnTo>
                  <a:lnTo>
                    <a:pt x="405" y="24"/>
                  </a:lnTo>
                  <a:lnTo>
                    <a:pt x="431" y="17"/>
                  </a:lnTo>
                  <a:lnTo>
                    <a:pt x="460" y="11"/>
                  </a:lnTo>
                  <a:lnTo>
                    <a:pt x="487" y="6"/>
                  </a:lnTo>
                  <a:lnTo>
                    <a:pt x="517" y="3"/>
                  </a:lnTo>
                  <a:lnTo>
                    <a:pt x="546" y="1"/>
                  </a:lnTo>
                  <a:lnTo>
                    <a:pt x="575" y="0"/>
                  </a:lnTo>
                  <a:lnTo>
                    <a:pt x="575" y="0"/>
                  </a:lnTo>
                  <a:lnTo>
                    <a:pt x="605" y="1"/>
                  </a:lnTo>
                  <a:lnTo>
                    <a:pt x="634" y="3"/>
                  </a:lnTo>
                  <a:lnTo>
                    <a:pt x="662" y="6"/>
                  </a:lnTo>
                  <a:lnTo>
                    <a:pt x="691" y="11"/>
                  </a:lnTo>
                  <a:lnTo>
                    <a:pt x="719" y="17"/>
                  </a:lnTo>
                  <a:lnTo>
                    <a:pt x="746" y="24"/>
                  </a:lnTo>
                  <a:lnTo>
                    <a:pt x="773" y="33"/>
                  </a:lnTo>
                  <a:lnTo>
                    <a:pt x="798" y="44"/>
                  </a:lnTo>
                  <a:lnTo>
                    <a:pt x="824" y="54"/>
                  </a:lnTo>
                  <a:lnTo>
                    <a:pt x="848" y="66"/>
                  </a:lnTo>
                  <a:lnTo>
                    <a:pt x="873" y="79"/>
                  </a:lnTo>
                  <a:lnTo>
                    <a:pt x="895" y="94"/>
                  </a:lnTo>
                  <a:lnTo>
                    <a:pt x="919" y="109"/>
                  </a:lnTo>
                  <a:lnTo>
                    <a:pt x="940" y="125"/>
                  </a:lnTo>
                  <a:lnTo>
                    <a:pt x="961" y="143"/>
                  </a:lnTo>
                  <a:lnTo>
                    <a:pt x="981" y="161"/>
                  </a:lnTo>
                  <a:lnTo>
                    <a:pt x="1000" y="180"/>
                  </a:lnTo>
                  <a:lnTo>
                    <a:pt x="1018" y="200"/>
                  </a:lnTo>
                  <a:lnTo>
                    <a:pt x="1035" y="220"/>
                  </a:lnTo>
                  <a:lnTo>
                    <a:pt x="1052" y="242"/>
                  </a:lnTo>
                  <a:lnTo>
                    <a:pt x="1066" y="264"/>
                  </a:lnTo>
                  <a:lnTo>
                    <a:pt x="1080" y="287"/>
                  </a:lnTo>
                  <a:lnTo>
                    <a:pt x="1093" y="310"/>
                  </a:lnTo>
                  <a:lnTo>
                    <a:pt x="1104" y="335"/>
                  </a:lnTo>
                  <a:lnTo>
                    <a:pt x="1115" y="360"/>
                  </a:lnTo>
                  <a:lnTo>
                    <a:pt x="1123" y="385"/>
                  </a:lnTo>
                  <a:lnTo>
                    <a:pt x="1132" y="411"/>
                  </a:lnTo>
                  <a:lnTo>
                    <a:pt x="1138" y="437"/>
                  </a:lnTo>
                  <a:lnTo>
                    <a:pt x="1143" y="464"/>
                  </a:lnTo>
                  <a:lnTo>
                    <a:pt x="1147" y="491"/>
                  </a:lnTo>
                  <a:lnTo>
                    <a:pt x="1149" y="519"/>
                  </a:lnTo>
                  <a:lnTo>
                    <a:pt x="1150" y="547"/>
                  </a:lnTo>
                  <a:lnTo>
                    <a:pt x="1150" y="547"/>
                  </a:lnTo>
                  <a:lnTo>
                    <a:pt x="1149" y="574"/>
                  </a:lnTo>
                  <a:lnTo>
                    <a:pt x="1147" y="602"/>
                  </a:lnTo>
                  <a:lnTo>
                    <a:pt x="1143" y="629"/>
                  </a:lnTo>
                  <a:lnTo>
                    <a:pt x="1138" y="656"/>
                  </a:lnTo>
                  <a:lnTo>
                    <a:pt x="1132" y="683"/>
                  </a:lnTo>
                  <a:lnTo>
                    <a:pt x="1123" y="708"/>
                  </a:lnTo>
                  <a:lnTo>
                    <a:pt x="1115" y="734"/>
                  </a:lnTo>
                  <a:lnTo>
                    <a:pt x="1104" y="758"/>
                  </a:lnTo>
                  <a:lnTo>
                    <a:pt x="1093" y="783"/>
                  </a:lnTo>
                  <a:lnTo>
                    <a:pt x="1080" y="806"/>
                  </a:lnTo>
                  <a:lnTo>
                    <a:pt x="1066" y="830"/>
                  </a:lnTo>
                  <a:lnTo>
                    <a:pt x="1052" y="851"/>
                  </a:lnTo>
                  <a:lnTo>
                    <a:pt x="1035" y="873"/>
                  </a:lnTo>
                  <a:lnTo>
                    <a:pt x="1018" y="894"/>
                  </a:lnTo>
                  <a:lnTo>
                    <a:pt x="1000" y="914"/>
                  </a:lnTo>
                  <a:lnTo>
                    <a:pt x="981" y="933"/>
                  </a:lnTo>
                  <a:lnTo>
                    <a:pt x="961" y="950"/>
                  </a:lnTo>
                  <a:lnTo>
                    <a:pt x="940" y="968"/>
                  </a:lnTo>
                  <a:lnTo>
                    <a:pt x="919" y="984"/>
                  </a:lnTo>
                  <a:lnTo>
                    <a:pt x="895" y="1000"/>
                  </a:lnTo>
                  <a:lnTo>
                    <a:pt x="873" y="1014"/>
                  </a:lnTo>
                  <a:lnTo>
                    <a:pt x="848" y="1027"/>
                  </a:lnTo>
                  <a:lnTo>
                    <a:pt x="824" y="1039"/>
                  </a:lnTo>
                  <a:lnTo>
                    <a:pt x="798" y="1051"/>
                  </a:lnTo>
                  <a:lnTo>
                    <a:pt x="773" y="1060"/>
                  </a:lnTo>
                  <a:lnTo>
                    <a:pt x="746" y="1069"/>
                  </a:lnTo>
                  <a:lnTo>
                    <a:pt x="719" y="1076"/>
                  </a:lnTo>
                  <a:lnTo>
                    <a:pt x="691" y="1082"/>
                  </a:lnTo>
                  <a:lnTo>
                    <a:pt x="662" y="1087"/>
                  </a:lnTo>
                  <a:lnTo>
                    <a:pt x="634" y="1091"/>
                  </a:lnTo>
                  <a:lnTo>
                    <a:pt x="605" y="1093"/>
                  </a:lnTo>
                  <a:lnTo>
                    <a:pt x="575" y="1094"/>
                  </a:lnTo>
                  <a:lnTo>
                    <a:pt x="575" y="1094"/>
                  </a:lnTo>
                  <a:close/>
                  <a:moveTo>
                    <a:pt x="575" y="82"/>
                  </a:moveTo>
                  <a:lnTo>
                    <a:pt x="575" y="82"/>
                  </a:lnTo>
                  <a:lnTo>
                    <a:pt x="553" y="83"/>
                  </a:lnTo>
                  <a:lnTo>
                    <a:pt x="531" y="86"/>
                  </a:lnTo>
                  <a:lnTo>
                    <a:pt x="510" y="90"/>
                  </a:lnTo>
                  <a:lnTo>
                    <a:pt x="490" y="94"/>
                  </a:lnTo>
                  <a:lnTo>
                    <a:pt x="471" y="100"/>
                  </a:lnTo>
                  <a:lnTo>
                    <a:pt x="453" y="108"/>
                  </a:lnTo>
                  <a:lnTo>
                    <a:pt x="435" y="116"/>
                  </a:lnTo>
                  <a:lnTo>
                    <a:pt x="419" y="125"/>
                  </a:lnTo>
                  <a:lnTo>
                    <a:pt x="403" y="137"/>
                  </a:lnTo>
                  <a:lnTo>
                    <a:pt x="387" y="148"/>
                  </a:lnTo>
                  <a:lnTo>
                    <a:pt x="373" y="161"/>
                  </a:lnTo>
                  <a:lnTo>
                    <a:pt x="360" y="174"/>
                  </a:lnTo>
                  <a:lnTo>
                    <a:pt x="346" y="189"/>
                  </a:lnTo>
                  <a:lnTo>
                    <a:pt x="334" y="204"/>
                  </a:lnTo>
                  <a:lnTo>
                    <a:pt x="323" y="219"/>
                  </a:lnTo>
                  <a:lnTo>
                    <a:pt x="312" y="237"/>
                  </a:lnTo>
                  <a:lnTo>
                    <a:pt x="302" y="253"/>
                  </a:lnTo>
                  <a:lnTo>
                    <a:pt x="292" y="272"/>
                  </a:lnTo>
                  <a:lnTo>
                    <a:pt x="284" y="290"/>
                  </a:lnTo>
                  <a:lnTo>
                    <a:pt x="276" y="308"/>
                  </a:lnTo>
                  <a:lnTo>
                    <a:pt x="269" y="327"/>
                  </a:lnTo>
                  <a:lnTo>
                    <a:pt x="262" y="346"/>
                  </a:lnTo>
                  <a:lnTo>
                    <a:pt x="256" y="367"/>
                  </a:lnTo>
                  <a:lnTo>
                    <a:pt x="251" y="386"/>
                  </a:lnTo>
                  <a:lnTo>
                    <a:pt x="247" y="407"/>
                  </a:lnTo>
                  <a:lnTo>
                    <a:pt x="243" y="426"/>
                  </a:lnTo>
                  <a:lnTo>
                    <a:pt x="240" y="446"/>
                  </a:lnTo>
                  <a:lnTo>
                    <a:pt x="237" y="467"/>
                  </a:lnTo>
                  <a:lnTo>
                    <a:pt x="233" y="507"/>
                  </a:lnTo>
                  <a:lnTo>
                    <a:pt x="232" y="547"/>
                  </a:lnTo>
                  <a:lnTo>
                    <a:pt x="232" y="547"/>
                  </a:lnTo>
                  <a:lnTo>
                    <a:pt x="233" y="587"/>
                  </a:lnTo>
                  <a:lnTo>
                    <a:pt x="237" y="626"/>
                  </a:lnTo>
                  <a:lnTo>
                    <a:pt x="240" y="647"/>
                  </a:lnTo>
                  <a:lnTo>
                    <a:pt x="243" y="667"/>
                  </a:lnTo>
                  <a:lnTo>
                    <a:pt x="247" y="687"/>
                  </a:lnTo>
                  <a:lnTo>
                    <a:pt x="251" y="707"/>
                  </a:lnTo>
                  <a:lnTo>
                    <a:pt x="256" y="728"/>
                  </a:lnTo>
                  <a:lnTo>
                    <a:pt x="262" y="747"/>
                  </a:lnTo>
                  <a:lnTo>
                    <a:pt x="269" y="766"/>
                  </a:lnTo>
                  <a:lnTo>
                    <a:pt x="276" y="785"/>
                  </a:lnTo>
                  <a:lnTo>
                    <a:pt x="284" y="804"/>
                  </a:lnTo>
                  <a:lnTo>
                    <a:pt x="292" y="822"/>
                  </a:lnTo>
                  <a:lnTo>
                    <a:pt x="302" y="840"/>
                  </a:lnTo>
                  <a:lnTo>
                    <a:pt x="312" y="857"/>
                  </a:lnTo>
                  <a:lnTo>
                    <a:pt x="323" y="874"/>
                  </a:lnTo>
                  <a:lnTo>
                    <a:pt x="334" y="889"/>
                  </a:lnTo>
                  <a:lnTo>
                    <a:pt x="346" y="904"/>
                  </a:lnTo>
                  <a:lnTo>
                    <a:pt x="360" y="919"/>
                  </a:lnTo>
                  <a:lnTo>
                    <a:pt x="373" y="932"/>
                  </a:lnTo>
                  <a:lnTo>
                    <a:pt x="387" y="945"/>
                  </a:lnTo>
                  <a:lnTo>
                    <a:pt x="403" y="957"/>
                  </a:lnTo>
                  <a:lnTo>
                    <a:pt x="419" y="968"/>
                  </a:lnTo>
                  <a:lnTo>
                    <a:pt x="435" y="977"/>
                  </a:lnTo>
                  <a:lnTo>
                    <a:pt x="453" y="986"/>
                  </a:lnTo>
                  <a:lnTo>
                    <a:pt x="471" y="993"/>
                  </a:lnTo>
                  <a:lnTo>
                    <a:pt x="490" y="1000"/>
                  </a:lnTo>
                  <a:lnTo>
                    <a:pt x="510" y="1005"/>
                  </a:lnTo>
                  <a:lnTo>
                    <a:pt x="531" y="1008"/>
                  </a:lnTo>
                  <a:lnTo>
                    <a:pt x="553" y="1010"/>
                  </a:lnTo>
                  <a:lnTo>
                    <a:pt x="575" y="1011"/>
                  </a:lnTo>
                  <a:lnTo>
                    <a:pt x="575" y="1011"/>
                  </a:lnTo>
                  <a:lnTo>
                    <a:pt x="598" y="1010"/>
                  </a:lnTo>
                  <a:lnTo>
                    <a:pt x="619" y="1008"/>
                  </a:lnTo>
                  <a:lnTo>
                    <a:pt x="640" y="1005"/>
                  </a:lnTo>
                  <a:lnTo>
                    <a:pt x="660" y="1000"/>
                  </a:lnTo>
                  <a:lnTo>
                    <a:pt x="679" y="993"/>
                  </a:lnTo>
                  <a:lnTo>
                    <a:pt x="697" y="986"/>
                  </a:lnTo>
                  <a:lnTo>
                    <a:pt x="715" y="977"/>
                  </a:lnTo>
                  <a:lnTo>
                    <a:pt x="732" y="968"/>
                  </a:lnTo>
                  <a:lnTo>
                    <a:pt x="747" y="957"/>
                  </a:lnTo>
                  <a:lnTo>
                    <a:pt x="762" y="945"/>
                  </a:lnTo>
                  <a:lnTo>
                    <a:pt x="777" y="932"/>
                  </a:lnTo>
                  <a:lnTo>
                    <a:pt x="791" y="919"/>
                  </a:lnTo>
                  <a:lnTo>
                    <a:pt x="803" y="904"/>
                  </a:lnTo>
                  <a:lnTo>
                    <a:pt x="816" y="889"/>
                  </a:lnTo>
                  <a:lnTo>
                    <a:pt x="828" y="874"/>
                  </a:lnTo>
                  <a:lnTo>
                    <a:pt x="838" y="857"/>
                  </a:lnTo>
                  <a:lnTo>
                    <a:pt x="848" y="840"/>
                  </a:lnTo>
                  <a:lnTo>
                    <a:pt x="858" y="822"/>
                  </a:lnTo>
                  <a:lnTo>
                    <a:pt x="867" y="804"/>
                  </a:lnTo>
                  <a:lnTo>
                    <a:pt x="874" y="785"/>
                  </a:lnTo>
                  <a:lnTo>
                    <a:pt x="881" y="766"/>
                  </a:lnTo>
                  <a:lnTo>
                    <a:pt x="888" y="747"/>
                  </a:lnTo>
                  <a:lnTo>
                    <a:pt x="894" y="728"/>
                  </a:lnTo>
                  <a:lnTo>
                    <a:pt x="899" y="707"/>
                  </a:lnTo>
                  <a:lnTo>
                    <a:pt x="904" y="687"/>
                  </a:lnTo>
                  <a:lnTo>
                    <a:pt x="908" y="667"/>
                  </a:lnTo>
                  <a:lnTo>
                    <a:pt x="911" y="647"/>
                  </a:lnTo>
                  <a:lnTo>
                    <a:pt x="914" y="626"/>
                  </a:lnTo>
                  <a:lnTo>
                    <a:pt x="918" y="587"/>
                  </a:lnTo>
                  <a:lnTo>
                    <a:pt x="919" y="547"/>
                  </a:lnTo>
                  <a:lnTo>
                    <a:pt x="919" y="547"/>
                  </a:lnTo>
                  <a:lnTo>
                    <a:pt x="918" y="507"/>
                  </a:lnTo>
                  <a:lnTo>
                    <a:pt x="914" y="467"/>
                  </a:lnTo>
                  <a:lnTo>
                    <a:pt x="911" y="446"/>
                  </a:lnTo>
                  <a:lnTo>
                    <a:pt x="908" y="426"/>
                  </a:lnTo>
                  <a:lnTo>
                    <a:pt x="904" y="407"/>
                  </a:lnTo>
                  <a:lnTo>
                    <a:pt x="899" y="386"/>
                  </a:lnTo>
                  <a:lnTo>
                    <a:pt x="894" y="367"/>
                  </a:lnTo>
                  <a:lnTo>
                    <a:pt x="888" y="346"/>
                  </a:lnTo>
                  <a:lnTo>
                    <a:pt x="881" y="327"/>
                  </a:lnTo>
                  <a:lnTo>
                    <a:pt x="874" y="308"/>
                  </a:lnTo>
                  <a:lnTo>
                    <a:pt x="867" y="290"/>
                  </a:lnTo>
                  <a:lnTo>
                    <a:pt x="858" y="272"/>
                  </a:lnTo>
                  <a:lnTo>
                    <a:pt x="848" y="253"/>
                  </a:lnTo>
                  <a:lnTo>
                    <a:pt x="838" y="237"/>
                  </a:lnTo>
                  <a:lnTo>
                    <a:pt x="828" y="219"/>
                  </a:lnTo>
                  <a:lnTo>
                    <a:pt x="816" y="204"/>
                  </a:lnTo>
                  <a:lnTo>
                    <a:pt x="803" y="189"/>
                  </a:lnTo>
                  <a:lnTo>
                    <a:pt x="791" y="174"/>
                  </a:lnTo>
                  <a:lnTo>
                    <a:pt x="777" y="161"/>
                  </a:lnTo>
                  <a:lnTo>
                    <a:pt x="762" y="148"/>
                  </a:lnTo>
                  <a:lnTo>
                    <a:pt x="747" y="137"/>
                  </a:lnTo>
                  <a:lnTo>
                    <a:pt x="732" y="125"/>
                  </a:lnTo>
                  <a:lnTo>
                    <a:pt x="715" y="116"/>
                  </a:lnTo>
                  <a:lnTo>
                    <a:pt x="697" y="108"/>
                  </a:lnTo>
                  <a:lnTo>
                    <a:pt x="679" y="100"/>
                  </a:lnTo>
                  <a:lnTo>
                    <a:pt x="660" y="94"/>
                  </a:lnTo>
                  <a:lnTo>
                    <a:pt x="640" y="90"/>
                  </a:lnTo>
                  <a:lnTo>
                    <a:pt x="619" y="86"/>
                  </a:lnTo>
                  <a:lnTo>
                    <a:pt x="598" y="83"/>
                  </a:lnTo>
                  <a:lnTo>
                    <a:pt x="575" y="82"/>
                  </a:lnTo>
                  <a:lnTo>
                    <a:pt x="575"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6" name="Freeform 19"/>
            <p:cNvSpPr>
              <a:spLocks/>
            </p:cNvSpPr>
            <p:nvPr userDrawn="1"/>
          </p:nvSpPr>
          <p:spPr bwMode="auto">
            <a:xfrm>
              <a:off x="6593134" y="893931"/>
              <a:ext cx="90489" cy="144463"/>
            </a:xfrm>
            <a:custGeom>
              <a:avLst/>
              <a:gdLst>
                <a:gd name="T0" fmla="*/ 38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6 w 683"/>
                <a:gd name="T19" fmla="*/ 787 h 1102"/>
                <a:gd name="T20" fmla="*/ 501 w 683"/>
                <a:gd name="T21" fmla="*/ 720 h 1102"/>
                <a:gd name="T22" fmla="*/ 413 w 683"/>
                <a:gd name="T23" fmla="*/ 659 h 1102"/>
                <a:gd name="T24" fmla="*/ 168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1 w 683"/>
                <a:gd name="T49" fmla="*/ 79 h 1102"/>
                <a:gd name="T50" fmla="*/ 540 w 683"/>
                <a:gd name="T51" fmla="*/ 46 h 1102"/>
                <a:gd name="T52" fmla="*/ 595 w 683"/>
                <a:gd name="T53" fmla="*/ 0 h 1102"/>
                <a:gd name="T54" fmla="*/ 553 w 683"/>
                <a:gd name="T55" fmla="*/ 326 h 1102"/>
                <a:gd name="T56" fmla="*/ 512 w 683"/>
                <a:gd name="T57" fmla="*/ 200 h 1102"/>
                <a:gd name="T58" fmla="*/ 473 w 683"/>
                <a:gd name="T59" fmla="*/ 145 h 1102"/>
                <a:gd name="T60" fmla="*/ 420 w 683"/>
                <a:gd name="T61" fmla="*/ 106 h 1102"/>
                <a:gd name="T62" fmla="*/ 348 w 683"/>
                <a:gd name="T63" fmla="*/ 82 h 1102"/>
                <a:gd name="T64" fmla="*/ 277 w 683"/>
                <a:gd name="T65" fmla="*/ 78 h 1102"/>
                <a:gd name="T66" fmla="*/ 200 w 683"/>
                <a:gd name="T67" fmla="*/ 104 h 1102"/>
                <a:gd name="T68" fmla="*/ 148 w 683"/>
                <a:gd name="T69" fmla="*/ 158 h 1102"/>
                <a:gd name="T70" fmla="*/ 128 w 683"/>
                <a:gd name="T71" fmla="*/ 231 h 1102"/>
                <a:gd name="T72" fmla="*/ 139 w 683"/>
                <a:gd name="T73" fmla="*/ 292 h 1102"/>
                <a:gd name="T74" fmla="*/ 191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3 w 683"/>
                <a:gd name="T89" fmla="*/ 947 h 1102"/>
                <a:gd name="T90" fmla="*/ 597 w 683"/>
                <a:gd name="T91" fmla="*/ 1007 h 1102"/>
                <a:gd name="T92" fmla="*/ 536 w 683"/>
                <a:gd name="T93" fmla="*/ 1053 h 1102"/>
                <a:gd name="T94" fmla="*/ 466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8" y="752"/>
                  </a:lnTo>
                  <a:lnTo>
                    <a:pt x="41" y="771"/>
                  </a:lnTo>
                  <a:lnTo>
                    <a:pt x="46" y="795"/>
                  </a:lnTo>
                  <a:lnTo>
                    <a:pt x="54" y="821"/>
                  </a:lnTo>
                  <a:lnTo>
                    <a:pt x="59" y="835"/>
                  </a:lnTo>
                  <a:lnTo>
                    <a:pt x="64" y="849"/>
                  </a:lnTo>
                  <a:lnTo>
                    <a:pt x="70" y="863"/>
                  </a:lnTo>
                  <a:lnTo>
                    <a:pt x="77" y="878"/>
                  </a:lnTo>
                  <a:lnTo>
                    <a:pt x="84" y="893"/>
                  </a:lnTo>
                  <a:lnTo>
                    <a:pt x="93" y="907"/>
                  </a:lnTo>
                  <a:lnTo>
                    <a:pt x="104" y="921"/>
                  </a:lnTo>
                  <a:lnTo>
                    <a:pt x="115" y="935"/>
                  </a:lnTo>
                  <a:lnTo>
                    <a:pt x="127" y="948"/>
                  </a:lnTo>
                  <a:lnTo>
                    <a:pt x="140" y="961"/>
                  </a:lnTo>
                  <a:lnTo>
                    <a:pt x="155" y="974"/>
                  </a:lnTo>
                  <a:lnTo>
                    <a:pt x="171" y="985"/>
                  </a:lnTo>
                  <a:lnTo>
                    <a:pt x="189" y="995"/>
                  </a:lnTo>
                  <a:lnTo>
                    <a:pt x="207" y="1004"/>
                  </a:lnTo>
                  <a:lnTo>
                    <a:pt x="227" y="1012"/>
                  </a:lnTo>
                  <a:lnTo>
                    <a:pt x="250" y="1020"/>
                  </a:lnTo>
                  <a:lnTo>
                    <a:pt x="273" y="1026"/>
                  </a:lnTo>
                  <a:lnTo>
                    <a:pt x="298" y="1030"/>
                  </a:lnTo>
                  <a:lnTo>
                    <a:pt x="326" y="1032"/>
                  </a:lnTo>
                  <a:lnTo>
                    <a:pt x="354" y="1033"/>
                  </a:lnTo>
                  <a:lnTo>
                    <a:pt x="354" y="1033"/>
                  </a:lnTo>
                  <a:lnTo>
                    <a:pt x="377" y="1032"/>
                  </a:lnTo>
                  <a:lnTo>
                    <a:pt x="398" y="1030"/>
                  </a:lnTo>
                  <a:lnTo>
                    <a:pt x="420" y="1025"/>
                  </a:lnTo>
                  <a:lnTo>
                    <a:pt x="439" y="1019"/>
                  </a:lnTo>
                  <a:lnTo>
                    <a:pt x="458" y="1011"/>
                  </a:lnTo>
                  <a:lnTo>
                    <a:pt x="476" y="1002"/>
                  </a:lnTo>
                  <a:lnTo>
                    <a:pt x="492" y="992"/>
                  </a:lnTo>
                  <a:lnTo>
                    <a:pt x="508" y="980"/>
                  </a:lnTo>
                  <a:lnTo>
                    <a:pt x="522" y="966"/>
                  </a:lnTo>
                  <a:lnTo>
                    <a:pt x="533" y="952"/>
                  </a:lnTo>
                  <a:lnTo>
                    <a:pt x="544" y="937"/>
                  </a:lnTo>
                  <a:lnTo>
                    <a:pt x="553" y="919"/>
                  </a:lnTo>
                  <a:lnTo>
                    <a:pt x="560" y="902"/>
                  </a:lnTo>
                  <a:lnTo>
                    <a:pt x="565" y="884"/>
                  </a:lnTo>
                  <a:lnTo>
                    <a:pt x="569" y="864"/>
                  </a:lnTo>
                  <a:lnTo>
                    <a:pt x="570" y="844"/>
                  </a:lnTo>
                  <a:lnTo>
                    <a:pt x="570" y="844"/>
                  </a:lnTo>
                  <a:lnTo>
                    <a:pt x="569" y="828"/>
                  </a:lnTo>
                  <a:lnTo>
                    <a:pt x="566" y="814"/>
                  </a:lnTo>
                  <a:lnTo>
                    <a:pt x="562" y="800"/>
                  </a:lnTo>
                  <a:lnTo>
                    <a:pt x="556"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2" y="634"/>
                  </a:lnTo>
                  <a:lnTo>
                    <a:pt x="206" y="550"/>
                  </a:lnTo>
                  <a:lnTo>
                    <a:pt x="206" y="550"/>
                  </a:lnTo>
                  <a:lnTo>
                    <a:pt x="186" y="540"/>
                  </a:lnTo>
                  <a:lnTo>
                    <a:pt x="168" y="529"/>
                  </a:lnTo>
                  <a:lnTo>
                    <a:pt x="151" y="516"/>
                  </a:lnTo>
                  <a:lnTo>
                    <a:pt x="133" y="502"/>
                  </a:lnTo>
                  <a:lnTo>
                    <a:pt x="117" y="488"/>
                  </a:lnTo>
                  <a:lnTo>
                    <a:pt x="101"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0" y="154"/>
                  </a:lnTo>
                  <a:lnTo>
                    <a:pt x="46" y="142"/>
                  </a:lnTo>
                  <a:lnTo>
                    <a:pt x="54" y="132"/>
                  </a:lnTo>
                  <a:lnTo>
                    <a:pt x="61" y="121"/>
                  </a:lnTo>
                  <a:lnTo>
                    <a:pt x="68" y="112"/>
                  </a:lnTo>
                  <a:lnTo>
                    <a:pt x="76" y="101"/>
                  </a:lnTo>
                  <a:lnTo>
                    <a:pt x="85" y="92"/>
                  </a:lnTo>
                  <a:lnTo>
                    <a:pt x="94" y="83"/>
                  </a:lnTo>
                  <a:lnTo>
                    <a:pt x="105" y="75"/>
                  </a:lnTo>
                  <a:lnTo>
                    <a:pt x="115" y="67"/>
                  </a:lnTo>
                  <a:lnTo>
                    <a:pt x="125" y="60"/>
                  </a:lnTo>
                  <a:lnTo>
                    <a:pt x="136" y="52"/>
                  </a:lnTo>
                  <a:lnTo>
                    <a:pt x="148" y="45"/>
                  </a:lnTo>
                  <a:lnTo>
                    <a:pt x="160" y="39"/>
                  </a:lnTo>
                  <a:lnTo>
                    <a:pt x="172" y="34"/>
                  </a:lnTo>
                  <a:lnTo>
                    <a:pt x="185" y="29"/>
                  </a:lnTo>
                  <a:lnTo>
                    <a:pt x="199" y="24"/>
                  </a:lnTo>
                  <a:lnTo>
                    <a:pt x="212" y="20"/>
                  </a:lnTo>
                  <a:lnTo>
                    <a:pt x="225" y="17"/>
                  </a:lnTo>
                  <a:lnTo>
                    <a:pt x="240" y="14"/>
                  </a:lnTo>
                  <a:lnTo>
                    <a:pt x="255" y="12"/>
                  </a:lnTo>
                  <a:lnTo>
                    <a:pt x="269" y="9"/>
                  </a:lnTo>
                  <a:lnTo>
                    <a:pt x="285" y="8"/>
                  </a:lnTo>
                  <a:lnTo>
                    <a:pt x="300" y="8"/>
                  </a:lnTo>
                  <a:lnTo>
                    <a:pt x="300" y="8"/>
                  </a:lnTo>
                  <a:lnTo>
                    <a:pt x="319" y="8"/>
                  </a:lnTo>
                  <a:lnTo>
                    <a:pt x="337" y="10"/>
                  </a:lnTo>
                  <a:lnTo>
                    <a:pt x="353" y="12"/>
                  </a:lnTo>
                  <a:lnTo>
                    <a:pt x="368" y="15"/>
                  </a:lnTo>
                  <a:lnTo>
                    <a:pt x="384" y="18"/>
                  </a:lnTo>
                  <a:lnTo>
                    <a:pt x="398" y="21"/>
                  </a:lnTo>
                  <a:lnTo>
                    <a:pt x="411" y="25"/>
                  </a:lnTo>
                  <a:lnTo>
                    <a:pt x="425" y="30"/>
                  </a:lnTo>
                  <a:lnTo>
                    <a:pt x="448" y="40"/>
                  </a:lnTo>
                  <a:lnTo>
                    <a:pt x="471" y="52"/>
                  </a:lnTo>
                  <a:lnTo>
                    <a:pt x="491" y="66"/>
                  </a:lnTo>
                  <a:lnTo>
                    <a:pt x="511" y="79"/>
                  </a:lnTo>
                  <a:lnTo>
                    <a:pt x="511" y="79"/>
                  </a:lnTo>
                  <a:lnTo>
                    <a:pt x="519" y="73"/>
                  </a:lnTo>
                  <a:lnTo>
                    <a:pt x="526" y="65"/>
                  </a:lnTo>
                  <a:lnTo>
                    <a:pt x="533" y="57"/>
                  </a:lnTo>
                  <a:lnTo>
                    <a:pt x="540" y="46"/>
                  </a:lnTo>
                  <a:lnTo>
                    <a:pt x="546" y="36"/>
                  </a:lnTo>
                  <a:lnTo>
                    <a:pt x="553" y="25"/>
                  </a:lnTo>
                  <a:lnTo>
                    <a:pt x="557" y="13"/>
                  </a:lnTo>
                  <a:lnTo>
                    <a:pt x="561" y="0"/>
                  </a:lnTo>
                  <a:lnTo>
                    <a:pt x="595" y="0"/>
                  </a:lnTo>
                  <a:lnTo>
                    <a:pt x="595" y="380"/>
                  </a:lnTo>
                  <a:lnTo>
                    <a:pt x="559" y="380"/>
                  </a:lnTo>
                  <a:lnTo>
                    <a:pt x="559" y="380"/>
                  </a:lnTo>
                  <a:lnTo>
                    <a:pt x="557" y="353"/>
                  </a:lnTo>
                  <a:lnTo>
                    <a:pt x="553" y="326"/>
                  </a:lnTo>
                  <a:lnTo>
                    <a:pt x="547" y="300"/>
                  </a:lnTo>
                  <a:lnTo>
                    <a:pt x="541" y="274"/>
                  </a:lnTo>
                  <a:lnTo>
                    <a:pt x="533" y="249"/>
                  </a:lnTo>
                  <a:lnTo>
                    <a:pt x="523" y="223"/>
                  </a:lnTo>
                  <a:lnTo>
                    <a:pt x="512" y="200"/>
                  </a:lnTo>
                  <a:lnTo>
                    <a:pt x="504" y="187"/>
                  </a:lnTo>
                  <a:lnTo>
                    <a:pt x="497" y="177"/>
                  </a:lnTo>
                  <a:lnTo>
                    <a:pt x="490" y="166"/>
                  </a:lnTo>
                  <a:lnTo>
                    <a:pt x="482" y="156"/>
                  </a:lnTo>
                  <a:lnTo>
                    <a:pt x="473" y="145"/>
                  </a:lnTo>
                  <a:lnTo>
                    <a:pt x="464" y="136"/>
                  </a:lnTo>
                  <a:lnTo>
                    <a:pt x="453" y="128"/>
                  </a:lnTo>
                  <a:lnTo>
                    <a:pt x="443" y="120"/>
                  </a:lnTo>
                  <a:lnTo>
                    <a:pt x="431" y="112"/>
                  </a:lnTo>
                  <a:lnTo>
                    <a:pt x="420"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8" y="112"/>
                  </a:lnTo>
                  <a:lnTo>
                    <a:pt x="175" y="122"/>
                  </a:lnTo>
                  <a:lnTo>
                    <a:pt x="165" y="133"/>
                  </a:lnTo>
                  <a:lnTo>
                    <a:pt x="156" y="144"/>
                  </a:lnTo>
                  <a:lnTo>
                    <a:pt x="148" y="158"/>
                  </a:lnTo>
                  <a:lnTo>
                    <a:pt x="140" y="171"/>
                  </a:lnTo>
                  <a:lnTo>
                    <a:pt x="135" y="185"/>
                  </a:lnTo>
                  <a:lnTo>
                    <a:pt x="131" y="200"/>
                  </a:lnTo>
                  <a:lnTo>
                    <a:pt x="128" y="215"/>
                  </a:lnTo>
                  <a:lnTo>
                    <a:pt x="128" y="231"/>
                  </a:lnTo>
                  <a:lnTo>
                    <a:pt x="128" y="231"/>
                  </a:lnTo>
                  <a:lnTo>
                    <a:pt x="128" y="248"/>
                  </a:lnTo>
                  <a:lnTo>
                    <a:pt x="131" y="263"/>
                  </a:lnTo>
                  <a:lnTo>
                    <a:pt x="134" y="277"/>
                  </a:lnTo>
                  <a:lnTo>
                    <a:pt x="139" y="292"/>
                  </a:lnTo>
                  <a:lnTo>
                    <a:pt x="147" y="305"/>
                  </a:lnTo>
                  <a:lnTo>
                    <a:pt x="155" y="317"/>
                  </a:lnTo>
                  <a:lnTo>
                    <a:pt x="165" y="331"/>
                  </a:lnTo>
                  <a:lnTo>
                    <a:pt x="177" y="343"/>
                  </a:lnTo>
                  <a:lnTo>
                    <a:pt x="191" y="355"/>
                  </a:lnTo>
                  <a:lnTo>
                    <a:pt x="206" y="366"/>
                  </a:lnTo>
                  <a:lnTo>
                    <a:pt x="223" y="379"/>
                  </a:lnTo>
                  <a:lnTo>
                    <a:pt x="242" y="392"/>
                  </a:lnTo>
                  <a:lnTo>
                    <a:pt x="263" y="404"/>
                  </a:lnTo>
                  <a:lnTo>
                    <a:pt x="287" y="417"/>
                  </a:lnTo>
                  <a:lnTo>
                    <a:pt x="339" y="445"/>
                  </a:lnTo>
                  <a:lnTo>
                    <a:pt x="502" y="530"/>
                  </a:lnTo>
                  <a:lnTo>
                    <a:pt x="502" y="530"/>
                  </a:lnTo>
                  <a:lnTo>
                    <a:pt x="526" y="542"/>
                  </a:lnTo>
                  <a:lnTo>
                    <a:pt x="548" y="556"/>
                  </a:lnTo>
                  <a:lnTo>
                    <a:pt x="568" y="571"/>
                  </a:lnTo>
                  <a:lnTo>
                    <a:pt x="586" y="585"/>
                  </a:lnTo>
                  <a:lnTo>
                    <a:pt x="603" y="601"/>
                  </a:lnTo>
                  <a:lnTo>
                    <a:pt x="618" y="617"/>
                  </a:lnTo>
                  <a:lnTo>
                    <a:pt x="631" y="633"/>
                  </a:lnTo>
                  <a:lnTo>
                    <a:pt x="643"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0" y="934"/>
                  </a:lnTo>
                  <a:lnTo>
                    <a:pt x="643" y="947"/>
                  </a:lnTo>
                  <a:lnTo>
                    <a:pt x="634" y="960"/>
                  </a:lnTo>
                  <a:lnTo>
                    <a:pt x="626" y="973"/>
                  </a:lnTo>
                  <a:lnTo>
                    <a:pt x="617" y="985"/>
                  </a:lnTo>
                  <a:lnTo>
                    <a:pt x="607" y="996"/>
                  </a:lnTo>
                  <a:lnTo>
                    <a:pt x="597" y="1007"/>
                  </a:lnTo>
                  <a:lnTo>
                    <a:pt x="585" y="1018"/>
                  </a:lnTo>
                  <a:lnTo>
                    <a:pt x="574" y="1028"/>
                  </a:lnTo>
                  <a:lnTo>
                    <a:pt x="562" y="1037"/>
                  </a:lnTo>
                  <a:lnTo>
                    <a:pt x="549" y="1045"/>
                  </a:lnTo>
                  <a:lnTo>
                    <a:pt x="536" y="1053"/>
                  </a:lnTo>
                  <a:lnTo>
                    <a:pt x="523" y="1062"/>
                  </a:lnTo>
                  <a:lnTo>
                    <a:pt x="509" y="1068"/>
                  </a:lnTo>
                  <a:lnTo>
                    <a:pt x="495" y="1075"/>
                  </a:lnTo>
                  <a:lnTo>
                    <a:pt x="480" y="1080"/>
                  </a:lnTo>
                  <a:lnTo>
                    <a:pt x="466" y="1085"/>
                  </a:lnTo>
                  <a:lnTo>
                    <a:pt x="450" y="1089"/>
                  </a:lnTo>
                  <a:lnTo>
                    <a:pt x="435" y="1093"/>
                  </a:lnTo>
                  <a:lnTo>
                    <a:pt x="419" y="1096"/>
                  </a:lnTo>
                  <a:lnTo>
                    <a:pt x="403" y="1099"/>
                  </a:lnTo>
                  <a:lnTo>
                    <a:pt x="387" y="1100"/>
                  </a:lnTo>
                  <a:lnTo>
                    <a:pt x="371" y="1101"/>
                  </a:lnTo>
                  <a:lnTo>
                    <a:pt x="354" y="1102"/>
                  </a:lnTo>
                  <a:lnTo>
                    <a:pt x="354" y="1102"/>
                  </a:lnTo>
                  <a:lnTo>
                    <a:pt x="330" y="1101"/>
                  </a:lnTo>
                  <a:lnTo>
                    <a:pt x="307" y="1099"/>
                  </a:lnTo>
                  <a:lnTo>
                    <a:pt x="285" y="1095"/>
                  </a:lnTo>
                  <a:lnTo>
                    <a:pt x="264" y="1091"/>
                  </a:lnTo>
                  <a:lnTo>
                    <a:pt x="245" y="1086"/>
                  </a:lnTo>
                  <a:lnTo>
                    <a:pt x="225" y="1080"/>
                  </a:lnTo>
                  <a:lnTo>
                    <a:pt x="208" y="1073"/>
                  </a:lnTo>
                  <a:lnTo>
                    <a:pt x="191" y="1067"/>
                  </a:lnTo>
                  <a:lnTo>
                    <a:pt x="160" y="1052"/>
                  </a:lnTo>
                  <a:lnTo>
                    <a:pt x="131" y="1039"/>
                  </a:lnTo>
                  <a:lnTo>
                    <a:pt x="107" y="1028"/>
                  </a:lnTo>
                  <a:lnTo>
                    <a:pt x="95" y="1024"/>
                  </a:lnTo>
                  <a:lnTo>
                    <a:pt x="85" y="1021"/>
                  </a:lnTo>
                  <a:lnTo>
                    <a:pt x="85" y="1021"/>
                  </a:lnTo>
                  <a:lnTo>
                    <a:pt x="77" y="1028"/>
                  </a:lnTo>
                  <a:lnTo>
                    <a:pt x="70" y="1036"/>
                  </a:lnTo>
                  <a:lnTo>
                    <a:pt x="62" y="1044"/>
                  </a:lnTo>
                  <a:lnTo>
                    <a:pt x="56" y="1053"/>
                  </a:lnTo>
                  <a:lnTo>
                    <a:pt x="48" y="1065"/>
                  </a:lnTo>
                  <a:lnTo>
                    <a:pt x="43" y="1076"/>
                  </a:lnTo>
                  <a:lnTo>
                    <a:pt x="38" y="1088"/>
                  </a:lnTo>
                  <a:lnTo>
                    <a:pt x="35" y="1102"/>
                  </a:lnTo>
                  <a:lnTo>
                    <a:pt x="0" y="1102"/>
                  </a:lnTo>
                  <a:lnTo>
                    <a:pt x="0" y="7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7" name="Freeform 20"/>
            <p:cNvSpPr>
              <a:spLocks/>
            </p:cNvSpPr>
            <p:nvPr userDrawn="1"/>
          </p:nvSpPr>
          <p:spPr bwMode="auto">
            <a:xfrm>
              <a:off x="6712196" y="898693"/>
              <a:ext cx="141288" cy="136525"/>
            </a:xfrm>
            <a:custGeom>
              <a:avLst/>
              <a:gdLst>
                <a:gd name="T0" fmla="*/ 304 w 1077"/>
                <a:gd name="T1" fmla="*/ 999 h 1035"/>
                <a:gd name="T2" fmla="*/ 352 w 1077"/>
                <a:gd name="T3" fmla="*/ 997 h 1035"/>
                <a:gd name="T4" fmla="*/ 390 w 1077"/>
                <a:gd name="T5" fmla="*/ 991 h 1035"/>
                <a:gd name="T6" fmla="*/ 419 w 1077"/>
                <a:gd name="T7" fmla="*/ 981 h 1035"/>
                <a:gd name="T8" fmla="*/ 431 w 1077"/>
                <a:gd name="T9" fmla="*/ 972 h 1035"/>
                <a:gd name="T10" fmla="*/ 441 w 1077"/>
                <a:gd name="T11" fmla="*/ 962 h 1035"/>
                <a:gd name="T12" fmla="*/ 448 w 1077"/>
                <a:gd name="T13" fmla="*/ 951 h 1035"/>
                <a:gd name="T14" fmla="*/ 460 w 1077"/>
                <a:gd name="T15" fmla="*/ 920 h 1035"/>
                <a:gd name="T16" fmla="*/ 466 w 1077"/>
                <a:gd name="T17" fmla="*/ 879 h 1035"/>
                <a:gd name="T18" fmla="*/ 469 w 1077"/>
                <a:gd name="T19" fmla="*/ 827 h 1035"/>
                <a:gd name="T20" fmla="*/ 469 w 1077"/>
                <a:gd name="T21" fmla="*/ 68 h 1035"/>
                <a:gd name="T22" fmla="*/ 245 w 1077"/>
                <a:gd name="T23" fmla="*/ 68 h 1035"/>
                <a:gd name="T24" fmla="*/ 192 w 1077"/>
                <a:gd name="T25" fmla="*/ 69 h 1035"/>
                <a:gd name="T26" fmla="*/ 150 w 1077"/>
                <a:gd name="T27" fmla="*/ 75 h 1035"/>
                <a:gd name="T28" fmla="*/ 119 w 1077"/>
                <a:gd name="T29" fmla="*/ 85 h 1035"/>
                <a:gd name="T30" fmla="*/ 94 w 1077"/>
                <a:gd name="T31" fmla="*/ 98 h 1035"/>
                <a:gd name="T32" fmla="*/ 77 w 1077"/>
                <a:gd name="T33" fmla="*/ 117 h 1035"/>
                <a:gd name="T34" fmla="*/ 64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2 w 1077"/>
                <a:gd name="T49" fmla="*/ 139 h 1035"/>
                <a:gd name="T50" fmla="*/ 1000 w 1077"/>
                <a:gd name="T51" fmla="*/ 117 h 1035"/>
                <a:gd name="T52" fmla="*/ 983 w 1077"/>
                <a:gd name="T53" fmla="*/ 98 h 1035"/>
                <a:gd name="T54" fmla="*/ 958 w 1077"/>
                <a:gd name="T55" fmla="*/ 85 h 1035"/>
                <a:gd name="T56" fmla="*/ 926 w 1077"/>
                <a:gd name="T57" fmla="*/ 75 h 1035"/>
                <a:gd name="T58" fmla="*/ 884 w 1077"/>
                <a:gd name="T59" fmla="*/ 69 h 1035"/>
                <a:gd name="T60" fmla="*/ 831 w 1077"/>
                <a:gd name="T61" fmla="*/ 68 h 1035"/>
                <a:gd name="T62" fmla="*/ 607 w 1077"/>
                <a:gd name="T63" fmla="*/ 797 h 1035"/>
                <a:gd name="T64" fmla="*/ 607 w 1077"/>
                <a:gd name="T65" fmla="*/ 827 h 1035"/>
                <a:gd name="T66" fmla="*/ 610 w 1077"/>
                <a:gd name="T67" fmla="*/ 879 h 1035"/>
                <a:gd name="T68" fmla="*/ 617 w 1077"/>
                <a:gd name="T69" fmla="*/ 920 h 1035"/>
                <a:gd name="T70" fmla="*/ 629 w 1077"/>
                <a:gd name="T71" fmla="*/ 951 h 1035"/>
                <a:gd name="T72" fmla="*/ 636 w 1077"/>
                <a:gd name="T73" fmla="*/ 962 h 1035"/>
                <a:gd name="T74" fmla="*/ 646 w 1077"/>
                <a:gd name="T75" fmla="*/ 972 h 1035"/>
                <a:gd name="T76" fmla="*/ 657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0" y="991"/>
                  </a:lnTo>
                  <a:lnTo>
                    <a:pt x="406" y="987"/>
                  </a:lnTo>
                  <a:lnTo>
                    <a:pt x="419" y="981"/>
                  </a:lnTo>
                  <a:lnTo>
                    <a:pt x="425" y="977"/>
                  </a:lnTo>
                  <a:lnTo>
                    <a:pt x="431" y="972"/>
                  </a:lnTo>
                  <a:lnTo>
                    <a:pt x="436" y="967"/>
                  </a:lnTo>
                  <a:lnTo>
                    <a:pt x="441" y="962"/>
                  </a:lnTo>
                  <a:lnTo>
                    <a:pt x="445" y="957"/>
                  </a:lnTo>
                  <a:lnTo>
                    <a:pt x="448" y="951"/>
                  </a:lnTo>
                  <a:lnTo>
                    <a:pt x="455" y="937"/>
                  </a:lnTo>
                  <a:lnTo>
                    <a:pt x="460" y="920"/>
                  </a:lnTo>
                  <a:lnTo>
                    <a:pt x="463" y="901"/>
                  </a:lnTo>
                  <a:lnTo>
                    <a:pt x="466" y="879"/>
                  </a:lnTo>
                  <a:lnTo>
                    <a:pt x="468" y="855"/>
                  </a:lnTo>
                  <a:lnTo>
                    <a:pt x="469" y="827"/>
                  </a:lnTo>
                  <a:lnTo>
                    <a:pt x="469" y="797"/>
                  </a:lnTo>
                  <a:lnTo>
                    <a:pt x="469" y="68"/>
                  </a:lnTo>
                  <a:lnTo>
                    <a:pt x="245" y="68"/>
                  </a:lnTo>
                  <a:lnTo>
                    <a:pt x="245" y="68"/>
                  </a:lnTo>
                  <a:lnTo>
                    <a:pt x="217" y="68"/>
                  </a:lnTo>
                  <a:lnTo>
                    <a:pt x="192" y="69"/>
                  </a:lnTo>
                  <a:lnTo>
                    <a:pt x="170" y="72"/>
                  </a:lnTo>
                  <a:lnTo>
                    <a:pt x="150" y="75"/>
                  </a:lnTo>
                  <a:lnTo>
                    <a:pt x="133" y="79"/>
                  </a:lnTo>
                  <a:lnTo>
                    <a:pt x="119" y="85"/>
                  </a:lnTo>
                  <a:lnTo>
                    <a:pt x="105" y="91"/>
                  </a:lnTo>
                  <a:lnTo>
                    <a:pt x="94" y="98"/>
                  </a:lnTo>
                  <a:lnTo>
                    <a:pt x="85" y="106"/>
                  </a:lnTo>
                  <a:lnTo>
                    <a:pt x="77" y="117"/>
                  </a:lnTo>
                  <a:lnTo>
                    <a:pt x="71" y="127"/>
                  </a:lnTo>
                  <a:lnTo>
                    <a:pt x="64" y="139"/>
                  </a:lnTo>
                  <a:lnTo>
                    <a:pt x="59" y="152"/>
                  </a:lnTo>
                  <a:lnTo>
                    <a:pt x="54" y="167"/>
                  </a:lnTo>
                  <a:lnTo>
                    <a:pt x="45" y="198"/>
                  </a:lnTo>
                  <a:lnTo>
                    <a:pt x="37" y="233"/>
                  </a:lnTo>
                  <a:lnTo>
                    <a:pt x="0" y="233"/>
                  </a:lnTo>
                  <a:lnTo>
                    <a:pt x="15" y="0"/>
                  </a:lnTo>
                  <a:lnTo>
                    <a:pt x="1061" y="0"/>
                  </a:lnTo>
                  <a:lnTo>
                    <a:pt x="1077" y="233"/>
                  </a:lnTo>
                  <a:lnTo>
                    <a:pt x="1040" y="233"/>
                  </a:lnTo>
                  <a:lnTo>
                    <a:pt x="1032" y="198"/>
                  </a:lnTo>
                  <a:lnTo>
                    <a:pt x="1032" y="198"/>
                  </a:lnTo>
                  <a:lnTo>
                    <a:pt x="1023" y="167"/>
                  </a:lnTo>
                  <a:lnTo>
                    <a:pt x="1017" y="152"/>
                  </a:lnTo>
                  <a:lnTo>
                    <a:pt x="1012" y="139"/>
                  </a:lnTo>
                  <a:lnTo>
                    <a:pt x="1006" y="127"/>
                  </a:lnTo>
                  <a:lnTo>
                    <a:pt x="1000" y="117"/>
                  </a:lnTo>
                  <a:lnTo>
                    <a:pt x="992" y="106"/>
                  </a:lnTo>
                  <a:lnTo>
                    <a:pt x="983" y="98"/>
                  </a:lnTo>
                  <a:lnTo>
                    <a:pt x="971" y="91"/>
                  </a:lnTo>
                  <a:lnTo>
                    <a:pt x="958" y="85"/>
                  </a:lnTo>
                  <a:lnTo>
                    <a:pt x="944" y="79"/>
                  </a:lnTo>
                  <a:lnTo>
                    <a:pt x="926" y="75"/>
                  </a:lnTo>
                  <a:lnTo>
                    <a:pt x="907" y="72"/>
                  </a:lnTo>
                  <a:lnTo>
                    <a:pt x="884" y="69"/>
                  </a:lnTo>
                  <a:lnTo>
                    <a:pt x="860" y="68"/>
                  </a:lnTo>
                  <a:lnTo>
                    <a:pt x="831" y="68"/>
                  </a:lnTo>
                  <a:lnTo>
                    <a:pt x="607" y="68"/>
                  </a:lnTo>
                  <a:lnTo>
                    <a:pt x="607" y="797"/>
                  </a:lnTo>
                  <a:lnTo>
                    <a:pt x="607" y="797"/>
                  </a:lnTo>
                  <a:lnTo>
                    <a:pt x="607" y="827"/>
                  </a:lnTo>
                  <a:lnTo>
                    <a:pt x="608" y="855"/>
                  </a:lnTo>
                  <a:lnTo>
                    <a:pt x="610" y="879"/>
                  </a:lnTo>
                  <a:lnTo>
                    <a:pt x="614" y="901"/>
                  </a:lnTo>
                  <a:lnTo>
                    <a:pt x="617" y="920"/>
                  </a:lnTo>
                  <a:lnTo>
                    <a:pt x="622" y="937"/>
                  </a:lnTo>
                  <a:lnTo>
                    <a:pt x="629" y="951"/>
                  </a:lnTo>
                  <a:lnTo>
                    <a:pt x="632" y="957"/>
                  </a:lnTo>
                  <a:lnTo>
                    <a:pt x="636" y="962"/>
                  </a:lnTo>
                  <a:lnTo>
                    <a:pt x="641" y="967"/>
                  </a:lnTo>
                  <a:lnTo>
                    <a:pt x="646" y="972"/>
                  </a:lnTo>
                  <a:lnTo>
                    <a:pt x="651" y="977"/>
                  </a:lnTo>
                  <a:lnTo>
                    <a:pt x="657" y="981"/>
                  </a:lnTo>
                  <a:lnTo>
                    <a:pt x="671" y="987"/>
                  </a:lnTo>
                  <a:lnTo>
                    <a:pt x="687" y="991"/>
                  </a:lnTo>
                  <a:lnTo>
                    <a:pt x="705" y="995"/>
                  </a:lnTo>
                  <a:lnTo>
                    <a:pt x="725" y="997"/>
                  </a:lnTo>
                  <a:lnTo>
                    <a:pt x="747" y="998"/>
                  </a:lnTo>
                  <a:lnTo>
                    <a:pt x="773" y="999"/>
                  </a:lnTo>
                  <a:lnTo>
                    <a:pt x="773" y="1035"/>
                  </a:lnTo>
                  <a:lnTo>
                    <a:pt x="304" y="1035"/>
                  </a:lnTo>
                  <a:lnTo>
                    <a:pt x="304" y="9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8" name="Freeform 21"/>
            <p:cNvSpPr>
              <a:spLocks noEditPoints="1"/>
            </p:cNvSpPr>
            <p:nvPr userDrawn="1"/>
          </p:nvSpPr>
          <p:spPr bwMode="auto">
            <a:xfrm>
              <a:off x="6851897" y="893931"/>
              <a:ext cx="157162" cy="141289"/>
            </a:xfrm>
            <a:custGeom>
              <a:avLst/>
              <a:gdLst>
                <a:gd name="T0" fmla="*/ 0 w 1196"/>
                <a:gd name="T1" fmla="*/ 1029 h 1065"/>
                <a:gd name="T2" fmla="*/ 48 w 1196"/>
                <a:gd name="T3" fmla="*/ 1027 h 1065"/>
                <a:gd name="T4" fmla="*/ 86 w 1196"/>
                <a:gd name="T5" fmla="*/ 1022 h 1065"/>
                <a:gd name="T6" fmla="*/ 115 w 1196"/>
                <a:gd name="T7" fmla="*/ 1013 h 1065"/>
                <a:gd name="T8" fmla="*/ 137 w 1196"/>
                <a:gd name="T9" fmla="*/ 999 h 1065"/>
                <a:gd name="T10" fmla="*/ 156 w 1196"/>
                <a:gd name="T11" fmla="*/ 979 h 1065"/>
                <a:gd name="T12" fmla="*/ 172 w 1196"/>
                <a:gd name="T13" fmla="*/ 953 h 1065"/>
                <a:gd name="T14" fmla="*/ 188 w 1196"/>
                <a:gd name="T15" fmla="*/ 920 h 1065"/>
                <a:gd name="T16" fmla="*/ 586 w 1196"/>
                <a:gd name="T17" fmla="*/ 0 h 1065"/>
                <a:gd name="T18" fmla="*/ 990 w 1196"/>
                <a:gd name="T19" fmla="*/ 879 h 1065"/>
                <a:gd name="T20" fmla="*/ 1008 w 1196"/>
                <a:gd name="T21" fmla="*/ 920 h 1065"/>
                <a:gd name="T22" fmla="*/ 1025 w 1196"/>
                <a:gd name="T23" fmla="*/ 953 h 1065"/>
                <a:gd name="T24" fmla="*/ 1041 w 1196"/>
                <a:gd name="T25" fmla="*/ 979 h 1065"/>
                <a:gd name="T26" fmla="*/ 1060 w 1196"/>
                <a:gd name="T27" fmla="*/ 999 h 1065"/>
                <a:gd name="T28" fmla="*/ 1082 w 1196"/>
                <a:gd name="T29" fmla="*/ 1013 h 1065"/>
                <a:gd name="T30" fmla="*/ 1111 w 1196"/>
                <a:gd name="T31" fmla="*/ 1022 h 1065"/>
                <a:gd name="T32" fmla="*/ 1148 w 1196"/>
                <a:gd name="T33" fmla="*/ 1027 h 1065"/>
                <a:gd name="T34" fmla="*/ 1196 w 1196"/>
                <a:gd name="T35" fmla="*/ 1029 h 1065"/>
                <a:gd name="T36" fmla="*/ 717 w 1196"/>
                <a:gd name="T37" fmla="*/ 1065 h 1065"/>
                <a:gd name="T38" fmla="*/ 717 w 1196"/>
                <a:gd name="T39" fmla="*/ 1029 h 1065"/>
                <a:gd name="T40" fmla="*/ 766 w 1196"/>
                <a:gd name="T41" fmla="*/ 1027 h 1065"/>
                <a:gd name="T42" fmla="*/ 805 w 1196"/>
                <a:gd name="T43" fmla="*/ 1022 h 1065"/>
                <a:gd name="T44" fmla="*/ 834 w 1196"/>
                <a:gd name="T45" fmla="*/ 1013 h 1065"/>
                <a:gd name="T46" fmla="*/ 854 w 1196"/>
                <a:gd name="T47" fmla="*/ 998 h 1065"/>
                <a:gd name="T48" fmla="*/ 865 w 1196"/>
                <a:gd name="T49" fmla="*/ 981 h 1065"/>
                <a:gd name="T50" fmla="*/ 868 w 1196"/>
                <a:gd name="T51" fmla="*/ 958 h 1065"/>
                <a:gd name="T52" fmla="*/ 864 w 1196"/>
                <a:gd name="T53" fmla="*/ 931 h 1065"/>
                <a:gd name="T54" fmla="*/ 852 w 1196"/>
                <a:gd name="T55" fmla="*/ 897 h 1065"/>
                <a:gd name="T56" fmla="*/ 352 w 1196"/>
                <a:gd name="T57" fmla="*/ 706 h 1065"/>
                <a:gd name="T58" fmla="*/ 269 w 1196"/>
                <a:gd name="T59" fmla="*/ 897 h 1065"/>
                <a:gd name="T60" fmla="*/ 257 w 1196"/>
                <a:gd name="T61" fmla="*/ 930 h 1065"/>
                <a:gd name="T62" fmla="*/ 253 w 1196"/>
                <a:gd name="T63" fmla="*/ 957 h 1065"/>
                <a:gd name="T64" fmla="*/ 256 w 1196"/>
                <a:gd name="T65" fmla="*/ 980 h 1065"/>
                <a:gd name="T66" fmla="*/ 267 w 1196"/>
                <a:gd name="T67" fmla="*/ 998 h 1065"/>
                <a:gd name="T68" fmla="*/ 288 w 1196"/>
                <a:gd name="T69" fmla="*/ 1012 h 1065"/>
                <a:gd name="T70" fmla="*/ 316 w 1196"/>
                <a:gd name="T71" fmla="*/ 1021 h 1065"/>
                <a:gd name="T72" fmla="*/ 355 w 1196"/>
                <a:gd name="T73" fmla="*/ 1027 h 1065"/>
                <a:gd name="T74" fmla="*/ 403 w 1196"/>
                <a:gd name="T75" fmla="*/ 1029 h 1065"/>
                <a:gd name="T76" fmla="*/ 0 w 1196"/>
                <a:gd name="T77" fmla="*/ 1065 h 1065"/>
                <a:gd name="T78" fmla="*/ 740 w 1196"/>
                <a:gd name="T79" fmla="*/ 643 h 1065"/>
                <a:gd name="T80" fmla="*/ 380 w 1196"/>
                <a:gd name="T81" fmla="*/ 643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6" h="1065">
                  <a:moveTo>
                    <a:pt x="0" y="1029"/>
                  </a:moveTo>
                  <a:lnTo>
                    <a:pt x="0" y="1029"/>
                  </a:lnTo>
                  <a:lnTo>
                    <a:pt x="26" y="1028"/>
                  </a:lnTo>
                  <a:lnTo>
                    <a:pt x="48" y="1027"/>
                  </a:lnTo>
                  <a:lnTo>
                    <a:pt x="68" y="1025"/>
                  </a:lnTo>
                  <a:lnTo>
                    <a:pt x="86" y="1022"/>
                  </a:lnTo>
                  <a:lnTo>
                    <a:pt x="102" y="1018"/>
                  </a:lnTo>
                  <a:lnTo>
                    <a:pt x="115" y="1013"/>
                  </a:lnTo>
                  <a:lnTo>
                    <a:pt x="127" y="1007"/>
                  </a:lnTo>
                  <a:lnTo>
                    <a:pt x="137" y="999"/>
                  </a:lnTo>
                  <a:lnTo>
                    <a:pt x="148" y="990"/>
                  </a:lnTo>
                  <a:lnTo>
                    <a:pt x="156" y="979"/>
                  </a:lnTo>
                  <a:lnTo>
                    <a:pt x="164" y="967"/>
                  </a:lnTo>
                  <a:lnTo>
                    <a:pt x="172" y="953"/>
                  </a:lnTo>
                  <a:lnTo>
                    <a:pt x="180" y="937"/>
                  </a:lnTo>
                  <a:lnTo>
                    <a:pt x="188" y="920"/>
                  </a:lnTo>
                  <a:lnTo>
                    <a:pt x="207" y="879"/>
                  </a:lnTo>
                  <a:lnTo>
                    <a:pt x="586" y="0"/>
                  </a:lnTo>
                  <a:lnTo>
                    <a:pt x="609" y="0"/>
                  </a:lnTo>
                  <a:lnTo>
                    <a:pt x="990" y="879"/>
                  </a:lnTo>
                  <a:lnTo>
                    <a:pt x="990" y="879"/>
                  </a:lnTo>
                  <a:lnTo>
                    <a:pt x="1008" y="920"/>
                  </a:lnTo>
                  <a:lnTo>
                    <a:pt x="1017" y="937"/>
                  </a:lnTo>
                  <a:lnTo>
                    <a:pt x="1025" y="953"/>
                  </a:lnTo>
                  <a:lnTo>
                    <a:pt x="1033" y="967"/>
                  </a:lnTo>
                  <a:lnTo>
                    <a:pt x="1041" y="979"/>
                  </a:lnTo>
                  <a:lnTo>
                    <a:pt x="1049" y="990"/>
                  </a:lnTo>
                  <a:lnTo>
                    <a:pt x="1060" y="999"/>
                  </a:lnTo>
                  <a:lnTo>
                    <a:pt x="1070" y="1007"/>
                  </a:lnTo>
                  <a:lnTo>
                    <a:pt x="1082" y="1013"/>
                  </a:lnTo>
                  <a:lnTo>
                    <a:pt x="1095" y="1018"/>
                  </a:lnTo>
                  <a:lnTo>
                    <a:pt x="1111" y="1022"/>
                  </a:lnTo>
                  <a:lnTo>
                    <a:pt x="1128" y="1025"/>
                  </a:lnTo>
                  <a:lnTo>
                    <a:pt x="1148" y="1027"/>
                  </a:lnTo>
                  <a:lnTo>
                    <a:pt x="1170" y="1028"/>
                  </a:lnTo>
                  <a:lnTo>
                    <a:pt x="1196" y="1029"/>
                  </a:lnTo>
                  <a:lnTo>
                    <a:pt x="1196" y="1065"/>
                  </a:lnTo>
                  <a:lnTo>
                    <a:pt x="717" y="1065"/>
                  </a:lnTo>
                  <a:lnTo>
                    <a:pt x="717" y="1029"/>
                  </a:lnTo>
                  <a:lnTo>
                    <a:pt x="717" y="1029"/>
                  </a:lnTo>
                  <a:lnTo>
                    <a:pt x="743" y="1028"/>
                  </a:lnTo>
                  <a:lnTo>
                    <a:pt x="766" y="1027"/>
                  </a:lnTo>
                  <a:lnTo>
                    <a:pt x="787" y="1025"/>
                  </a:lnTo>
                  <a:lnTo>
                    <a:pt x="805" y="1022"/>
                  </a:lnTo>
                  <a:lnTo>
                    <a:pt x="820" y="1018"/>
                  </a:lnTo>
                  <a:lnTo>
                    <a:pt x="834" y="1013"/>
                  </a:lnTo>
                  <a:lnTo>
                    <a:pt x="845" y="1006"/>
                  </a:lnTo>
                  <a:lnTo>
                    <a:pt x="854" y="998"/>
                  </a:lnTo>
                  <a:lnTo>
                    <a:pt x="861" y="990"/>
                  </a:lnTo>
                  <a:lnTo>
                    <a:pt x="865" y="981"/>
                  </a:lnTo>
                  <a:lnTo>
                    <a:pt x="868" y="970"/>
                  </a:lnTo>
                  <a:lnTo>
                    <a:pt x="868" y="958"/>
                  </a:lnTo>
                  <a:lnTo>
                    <a:pt x="867" y="945"/>
                  </a:lnTo>
                  <a:lnTo>
                    <a:pt x="864" y="931"/>
                  </a:lnTo>
                  <a:lnTo>
                    <a:pt x="859" y="915"/>
                  </a:lnTo>
                  <a:lnTo>
                    <a:pt x="852" y="897"/>
                  </a:lnTo>
                  <a:lnTo>
                    <a:pt x="769" y="706"/>
                  </a:lnTo>
                  <a:lnTo>
                    <a:pt x="352" y="706"/>
                  </a:lnTo>
                  <a:lnTo>
                    <a:pt x="269" y="897"/>
                  </a:lnTo>
                  <a:lnTo>
                    <a:pt x="269" y="897"/>
                  </a:lnTo>
                  <a:lnTo>
                    <a:pt x="262" y="915"/>
                  </a:lnTo>
                  <a:lnTo>
                    <a:pt x="257" y="930"/>
                  </a:lnTo>
                  <a:lnTo>
                    <a:pt x="254" y="944"/>
                  </a:lnTo>
                  <a:lnTo>
                    <a:pt x="253" y="957"/>
                  </a:lnTo>
                  <a:lnTo>
                    <a:pt x="253" y="969"/>
                  </a:lnTo>
                  <a:lnTo>
                    <a:pt x="256" y="980"/>
                  </a:lnTo>
                  <a:lnTo>
                    <a:pt x="260" y="989"/>
                  </a:lnTo>
                  <a:lnTo>
                    <a:pt x="267" y="998"/>
                  </a:lnTo>
                  <a:lnTo>
                    <a:pt x="276" y="1006"/>
                  </a:lnTo>
                  <a:lnTo>
                    <a:pt x="288" y="1012"/>
                  </a:lnTo>
                  <a:lnTo>
                    <a:pt x="301" y="1017"/>
                  </a:lnTo>
                  <a:lnTo>
                    <a:pt x="316" y="1021"/>
                  </a:lnTo>
                  <a:lnTo>
                    <a:pt x="335" y="1025"/>
                  </a:lnTo>
                  <a:lnTo>
                    <a:pt x="355" y="1027"/>
                  </a:lnTo>
                  <a:lnTo>
                    <a:pt x="378" y="1028"/>
                  </a:lnTo>
                  <a:lnTo>
                    <a:pt x="403" y="1029"/>
                  </a:lnTo>
                  <a:lnTo>
                    <a:pt x="403" y="1065"/>
                  </a:lnTo>
                  <a:lnTo>
                    <a:pt x="0" y="1065"/>
                  </a:lnTo>
                  <a:lnTo>
                    <a:pt x="0" y="1029"/>
                  </a:lnTo>
                  <a:close/>
                  <a:moveTo>
                    <a:pt x="740" y="643"/>
                  </a:moveTo>
                  <a:lnTo>
                    <a:pt x="559" y="226"/>
                  </a:lnTo>
                  <a:lnTo>
                    <a:pt x="380" y="643"/>
                  </a:lnTo>
                  <a:lnTo>
                    <a:pt x="740" y="6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69" name="Freeform 22"/>
            <p:cNvSpPr>
              <a:spLocks/>
            </p:cNvSpPr>
            <p:nvPr userDrawn="1"/>
          </p:nvSpPr>
          <p:spPr bwMode="auto">
            <a:xfrm>
              <a:off x="7007471" y="898693"/>
              <a:ext cx="142875" cy="136525"/>
            </a:xfrm>
            <a:custGeom>
              <a:avLst/>
              <a:gdLst>
                <a:gd name="T0" fmla="*/ 304 w 1077"/>
                <a:gd name="T1" fmla="*/ 999 h 1035"/>
                <a:gd name="T2" fmla="*/ 353 w 1077"/>
                <a:gd name="T3" fmla="*/ 997 h 1035"/>
                <a:gd name="T4" fmla="*/ 391 w 1077"/>
                <a:gd name="T5" fmla="*/ 991 h 1035"/>
                <a:gd name="T6" fmla="*/ 420 w 1077"/>
                <a:gd name="T7" fmla="*/ 981 h 1035"/>
                <a:gd name="T8" fmla="*/ 431 w 1077"/>
                <a:gd name="T9" fmla="*/ 972 h 1035"/>
                <a:gd name="T10" fmla="*/ 441 w 1077"/>
                <a:gd name="T11" fmla="*/ 962 h 1035"/>
                <a:gd name="T12" fmla="*/ 449 w 1077"/>
                <a:gd name="T13" fmla="*/ 951 h 1035"/>
                <a:gd name="T14" fmla="*/ 461 w 1077"/>
                <a:gd name="T15" fmla="*/ 920 h 1035"/>
                <a:gd name="T16" fmla="*/ 467 w 1077"/>
                <a:gd name="T17" fmla="*/ 879 h 1035"/>
                <a:gd name="T18" fmla="*/ 470 w 1077"/>
                <a:gd name="T19" fmla="*/ 827 h 1035"/>
                <a:gd name="T20" fmla="*/ 470 w 1077"/>
                <a:gd name="T21" fmla="*/ 68 h 1035"/>
                <a:gd name="T22" fmla="*/ 246 w 1077"/>
                <a:gd name="T23" fmla="*/ 68 h 1035"/>
                <a:gd name="T24" fmla="*/ 193 w 1077"/>
                <a:gd name="T25" fmla="*/ 69 h 1035"/>
                <a:gd name="T26" fmla="*/ 151 w 1077"/>
                <a:gd name="T27" fmla="*/ 75 h 1035"/>
                <a:gd name="T28" fmla="*/ 119 w 1077"/>
                <a:gd name="T29" fmla="*/ 85 h 1035"/>
                <a:gd name="T30" fmla="*/ 95 w 1077"/>
                <a:gd name="T31" fmla="*/ 98 h 1035"/>
                <a:gd name="T32" fmla="*/ 78 w 1077"/>
                <a:gd name="T33" fmla="*/ 117 h 1035"/>
                <a:gd name="T34" fmla="*/ 65 w 1077"/>
                <a:gd name="T35" fmla="*/ 139 h 1035"/>
                <a:gd name="T36" fmla="*/ 55 w 1077"/>
                <a:gd name="T37" fmla="*/ 167 h 1035"/>
                <a:gd name="T38" fmla="*/ 37 w 1077"/>
                <a:gd name="T39" fmla="*/ 233 h 1035"/>
                <a:gd name="T40" fmla="*/ 17 w 1077"/>
                <a:gd name="T41" fmla="*/ 0 h 1035"/>
                <a:gd name="T42" fmla="*/ 1077 w 1077"/>
                <a:gd name="T43" fmla="*/ 233 h 1035"/>
                <a:gd name="T44" fmla="*/ 1032 w 1077"/>
                <a:gd name="T45" fmla="*/ 198 h 1035"/>
                <a:gd name="T46" fmla="*/ 1024 w 1077"/>
                <a:gd name="T47" fmla="*/ 167 h 1035"/>
                <a:gd name="T48" fmla="*/ 1014 w 1077"/>
                <a:gd name="T49" fmla="*/ 139 h 1035"/>
                <a:gd name="T50" fmla="*/ 1000 w 1077"/>
                <a:gd name="T51" fmla="*/ 117 h 1035"/>
                <a:gd name="T52" fmla="*/ 983 w 1077"/>
                <a:gd name="T53" fmla="*/ 98 h 1035"/>
                <a:gd name="T54" fmla="*/ 960 w 1077"/>
                <a:gd name="T55" fmla="*/ 85 h 1035"/>
                <a:gd name="T56" fmla="*/ 927 w 1077"/>
                <a:gd name="T57" fmla="*/ 75 h 1035"/>
                <a:gd name="T58" fmla="*/ 886 w 1077"/>
                <a:gd name="T59" fmla="*/ 69 h 1035"/>
                <a:gd name="T60" fmla="*/ 833 w 1077"/>
                <a:gd name="T61" fmla="*/ 68 h 1035"/>
                <a:gd name="T62" fmla="*/ 608 w 1077"/>
                <a:gd name="T63" fmla="*/ 797 h 1035"/>
                <a:gd name="T64" fmla="*/ 609 w 1077"/>
                <a:gd name="T65" fmla="*/ 827 h 1035"/>
                <a:gd name="T66" fmla="*/ 611 w 1077"/>
                <a:gd name="T67" fmla="*/ 879 h 1035"/>
                <a:gd name="T68" fmla="*/ 618 w 1077"/>
                <a:gd name="T69" fmla="*/ 920 h 1035"/>
                <a:gd name="T70" fmla="*/ 629 w 1077"/>
                <a:gd name="T71" fmla="*/ 951 h 1035"/>
                <a:gd name="T72" fmla="*/ 637 w 1077"/>
                <a:gd name="T73" fmla="*/ 962 h 1035"/>
                <a:gd name="T74" fmla="*/ 647 w 1077"/>
                <a:gd name="T75" fmla="*/ 972 h 1035"/>
                <a:gd name="T76" fmla="*/ 658 w 1077"/>
                <a:gd name="T77" fmla="*/ 981 h 1035"/>
                <a:gd name="T78" fmla="*/ 688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30" y="998"/>
                  </a:lnTo>
                  <a:lnTo>
                    <a:pt x="353" y="997"/>
                  </a:lnTo>
                  <a:lnTo>
                    <a:pt x="373" y="995"/>
                  </a:lnTo>
                  <a:lnTo>
                    <a:pt x="391" y="991"/>
                  </a:lnTo>
                  <a:lnTo>
                    <a:pt x="406" y="987"/>
                  </a:lnTo>
                  <a:lnTo>
                    <a:pt x="420" y="981"/>
                  </a:lnTo>
                  <a:lnTo>
                    <a:pt x="426" y="977"/>
                  </a:lnTo>
                  <a:lnTo>
                    <a:pt x="431" y="972"/>
                  </a:lnTo>
                  <a:lnTo>
                    <a:pt x="436" y="967"/>
                  </a:lnTo>
                  <a:lnTo>
                    <a:pt x="441" y="962"/>
                  </a:lnTo>
                  <a:lnTo>
                    <a:pt x="445" y="957"/>
                  </a:lnTo>
                  <a:lnTo>
                    <a:pt x="449" y="951"/>
                  </a:lnTo>
                  <a:lnTo>
                    <a:pt x="455" y="937"/>
                  </a:lnTo>
                  <a:lnTo>
                    <a:pt x="461" y="920"/>
                  </a:lnTo>
                  <a:lnTo>
                    <a:pt x="465" y="901"/>
                  </a:lnTo>
                  <a:lnTo>
                    <a:pt x="467" y="879"/>
                  </a:lnTo>
                  <a:lnTo>
                    <a:pt x="469" y="855"/>
                  </a:lnTo>
                  <a:lnTo>
                    <a:pt x="470" y="827"/>
                  </a:lnTo>
                  <a:lnTo>
                    <a:pt x="470" y="797"/>
                  </a:lnTo>
                  <a:lnTo>
                    <a:pt x="470" y="68"/>
                  </a:lnTo>
                  <a:lnTo>
                    <a:pt x="246" y="68"/>
                  </a:lnTo>
                  <a:lnTo>
                    <a:pt x="246" y="68"/>
                  </a:lnTo>
                  <a:lnTo>
                    <a:pt x="217" y="68"/>
                  </a:lnTo>
                  <a:lnTo>
                    <a:pt x="193" y="69"/>
                  </a:lnTo>
                  <a:lnTo>
                    <a:pt x="170" y="72"/>
                  </a:lnTo>
                  <a:lnTo>
                    <a:pt x="151" y="75"/>
                  </a:lnTo>
                  <a:lnTo>
                    <a:pt x="134" y="79"/>
                  </a:lnTo>
                  <a:lnTo>
                    <a:pt x="119" y="85"/>
                  </a:lnTo>
                  <a:lnTo>
                    <a:pt x="107" y="91"/>
                  </a:lnTo>
                  <a:lnTo>
                    <a:pt x="95" y="98"/>
                  </a:lnTo>
                  <a:lnTo>
                    <a:pt x="86" y="106"/>
                  </a:lnTo>
                  <a:lnTo>
                    <a:pt x="78" y="117"/>
                  </a:lnTo>
                  <a:lnTo>
                    <a:pt x="71" y="127"/>
                  </a:lnTo>
                  <a:lnTo>
                    <a:pt x="65" y="139"/>
                  </a:lnTo>
                  <a:lnTo>
                    <a:pt x="60" y="152"/>
                  </a:lnTo>
                  <a:lnTo>
                    <a:pt x="55" y="167"/>
                  </a:lnTo>
                  <a:lnTo>
                    <a:pt x="45" y="198"/>
                  </a:lnTo>
                  <a:lnTo>
                    <a:pt x="37" y="233"/>
                  </a:lnTo>
                  <a:lnTo>
                    <a:pt x="0" y="233"/>
                  </a:lnTo>
                  <a:lnTo>
                    <a:pt x="17" y="0"/>
                  </a:lnTo>
                  <a:lnTo>
                    <a:pt x="1062" y="0"/>
                  </a:lnTo>
                  <a:lnTo>
                    <a:pt x="1077" y="233"/>
                  </a:lnTo>
                  <a:lnTo>
                    <a:pt x="1041" y="233"/>
                  </a:lnTo>
                  <a:lnTo>
                    <a:pt x="1032" y="198"/>
                  </a:lnTo>
                  <a:lnTo>
                    <a:pt x="1032" y="198"/>
                  </a:lnTo>
                  <a:lnTo>
                    <a:pt x="1024" y="167"/>
                  </a:lnTo>
                  <a:lnTo>
                    <a:pt x="1019" y="152"/>
                  </a:lnTo>
                  <a:lnTo>
                    <a:pt x="1014" y="139"/>
                  </a:lnTo>
                  <a:lnTo>
                    <a:pt x="1008" y="127"/>
                  </a:lnTo>
                  <a:lnTo>
                    <a:pt x="1000" y="117"/>
                  </a:lnTo>
                  <a:lnTo>
                    <a:pt x="992" y="106"/>
                  </a:lnTo>
                  <a:lnTo>
                    <a:pt x="983" y="98"/>
                  </a:lnTo>
                  <a:lnTo>
                    <a:pt x="972" y="91"/>
                  </a:lnTo>
                  <a:lnTo>
                    <a:pt x="960" y="85"/>
                  </a:lnTo>
                  <a:lnTo>
                    <a:pt x="944" y="79"/>
                  </a:lnTo>
                  <a:lnTo>
                    <a:pt x="927" y="75"/>
                  </a:lnTo>
                  <a:lnTo>
                    <a:pt x="907" y="72"/>
                  </a:lnTo>
                  <a:lnTo>
                    <a:pt x="886" y="69"/>
                  </a:lnTo>
                  <a:lnTo>
                    <a:pt x="860" y="68"/>
                  </a:lnTo>
                  <a:lnTo>
                    <a:pt x="833" y="68"/>
                  </a:lnTo>
                  <a:lnTo>
                    <a:pt x="608" y="68"/>
                  </a:lnTo>
                  <a:lnTo>
                    <a:pt x="608" y="797"/>
                  </a:lnTo>
                  <a:lnTo>
                    <a:pt x="608" y="797"/>
                  </a:lnTo>
                  <a:lnTo>
                    <a:pt x="609" y="827"/>
                  </a:lnTo>
                  <a:lnTo>
                    <a:pt x="609" y="855"/>
                  </a:lnTo>
                  <a:lnTo>
                    <a:pt x="611" y="879"/>
                  </a:lnTo>
                  <a:lnTo>
                    <a:pt x="614" y="901"/>
                  </a:lnTo>
                  <a:lnTo>
                    <a:pt x="618" y="920"/>
                  </a:lnTo>
                  <a:lnTo>
                    <a:pt x="623" y="937"/>
                  </a:lnTo>
                  <a:lnTo>
                    <a:pt x="629" y="951"/>
                  </a:lnTo>
                  <a:lnTo>
                    <a:pt x="633" y="957"/>
                  </a:lnTo>
                  <a:lnTo>
                    <a:pt x="637" y="962"/>
                  </a:lnTo>
                  <a:lnTo>
                    <a:pt x="642" y="967"/>
                  </a:lnTo>
                  <a:lnTo>
                    <a:pt x="647" y="972"/>
                  </a:lnTo>
                  <a:lnTo>
                    <a:pt x="653" y="977"/>
                  </a:lnTo>
                  <a:lnTo>
                    <a:pt x="658" y="981"/>
                  </a:lnTo>
                  <a:lnTo>
                    <a:pt x="672" y="987"/>
                  </a:lnTo>
                  <a:lnTo>
                    <a:pt x="688" y="991"/>
                  </a:lnTo>
                  <a:lnTo>
                    <a:pt x="705" y="995"/>
                  </a:lnTo>
                  <a:lnTo>
                    <a:pt x="725" y="997"/>
                  </a:lnTo>
                  <a:lnTo>
                    <a:pt x="748" y="998"/>
                  </a:lnTo>
                  <a:lnTo>
                    <a:pt x="773" y="999"/>
                  </a:lnTo>
                  <a:lnTo>
                    <a:pt x="773" y="1035"/>
                  </a:lnTo>
                  <a:lnTo>
                    <a:pt x="304" y="1035"/>
                  </a:lnTo>
                  <a:lnTo>
                    <a:pt x="304" y="9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0" name="Freeform 23"/>
            <p:cNvSpPr>
              <a:spLocks/>
            </p:cNvSpPr>
            <p:nvPr userDrawn="1"/>
          </p:nvSpPr>
          <p:spPr bwMode="auto">
            <a:xfrm>
              <a:off x="7182096" y="893931"/>
              <a:ext cx="88900" cy="144463"/>
            </a:xfrm>
            <a:custGeom>
              <a:avLst/>
              <a:gdLst>
                <a:gd name="T0" fmla="*/ 39 w 683"/>
                <a:gd name="T1" fmla="*/ 752 h 1102"/>
                <a:gd name="T2" fmla="*/ 64 w 683"/>
                <a:gd name="T3" fmla="*/ 849 h 1102"/>
                <a:gd name="T4" fmla="*/ 104 w 683"/>
                <a:gd name="T5" fmla="*/ 921 h 1102"/>
                <a:gd name="T6" fmla="*/ 171 w 683"/>
                <a:gd name="T7" fmla="*/ 985 h 1102"/>
                <a:gd name="T8" fmla="*/ 273 w 683"/>
                <a:gd name="T9" fmla="*/ 1026 h 1102"/>
                <a:gd name="T10" fmla="*/ 377 w 683"/>
                <a:gd name="T11" fmla="*/ 1032 h 1102"/>
                <a:gd name="T12" fmla="*/ 476 w 683"/>
                <a:gd name="T13" fmla="*/ 1002 h 1102"/>
                <a:gd name="T14" fmla="*/ 544 w 683"/>
                <a:gd name="T15" fmla="*/ 937 h 1102"/>
                <a:gd name="T16" fmla="*/ 570 w 683"/>
                <a:gd name="T17" fmla="*/ 844 h 1102"/>
                <a:gd name="T18" fmla="*/ 555 w 683"/>
                <a:gd name="T19" fmla="*/ 787 h 1102"/>
                <a:gd name="T20" fmla="*/ 501 w 683"/>
                <a:gd name="T21" fmla="*/ 720 h 1102"/>
                <a:gd name="T22" fmla="*/ 413 w 683"/>
                <a:gd name="T23" fmla="*/ 659 h 1102"/>
                <a:gd name="T24" fmla="*/ 169 w 683"/>
                <a:gd name="T25" fmla="*/ 529 h 1102"/>
                <a:gd name="T26" fmla="*/ 86 w 683"/>
                <a:gd name="T27" fmla="*/ 455 h 1102"/>
                <a:gd name="T28" fmla="*/ 30 w 683"/>
                <a:gd name="T29" fmla="*/ 358 h 1102"/>
                <a:gd name="T30" fmla="*/ 14 w 683"/>
                <a:gd name="T31" fmla="*/ 265 h 1102"/>
                <a:gd name="T32" fmla="*/ 23 w 683"/>
                <a:gd name="T33" fmla="*/ 201 h 1102"/>
                <a:gd name="T34" fmla="*/ 46 w 683"/>
                <a:gd name="T35" fmla="*/ 142 h 1102"/>
                <a:gd name="T36" fmla="*/ 85 w 683"/>
                <a:gd name="T37" fmla="*/ 92 h 1102"/>
                <a:gd name="T38" fmla="*/ 136 w 683"/>
                <a:gd name="T39" fmla="*/ 52 h 1102"/>
                <a:gd name="T40" fmla="*/ 199 w 683"/>
                <a:gd name="T41" fmla="*/ 24 h 1102"/>
                <a:gd name="T42" fmla="*/ 269 w 683"/>
                <a:gd name="T43" fmla="*/ 9 h 1102"/>
                <a:gd name="T44" fmla="*/ 337 w 683"/>
                <a:gd name="T45" fmla="*/ 10 h 1102"/>
                <a:gd name="T46" fmla="*/ 411 w 683"/>
                <a:gd name="T47" fmla="*/ 25 h 1102"/>
                <a:gd name="T48" fmla="*/ 510 w 683"/>
                <a:gd name="T49" fmla="*/ 79 h 1102"/>
                <a:gd name="T50" fmla="*/ 540 w 683"/>
                <a:gd name="T51" fmla="*/ 46 h 1102"/>
                <a:gd name="T52" fmla="*/ 595 w 683"/>
                <a:gd name="T53" fmla="*/ 0 h 1102"/>
                <a:gd name="T54" fmla="*/ 552 w 683"/>
                <a:gd name="T55" fmla="*/ 326 h 1102"/>
                <a:gd name="T56" fmla="*/ 511 w 683"/>
                <a:gd name="T57" fmla="*/ 200 h 1102"/>
                <a:gd name="T58" fmla="*/ 473 w 683"/>
                <a:gd name="T59" fmla="*/ 145 h 1102"/>
                <a:gd name="T60" fmla="*/ 419 w 683"/>
                <a:gd name="T61" fmla="*/ 106 h 1102"/>
                <a:gd name="T62" fmla="*/ 348 w 683"/>
                <a:gd name="T63" fmla="*/ 82 h 1102"/>
                <a:gd name="T64" fmla="*/ 277 w 683"/>
                <a:gd name="T65" fmla="*/ 78 h 1102"/>
                <a:gd name="T66" fmla="*/ 200 w 683"/>
                <a:gd name="T67" fmla="*/ 104 h 1102"/>
                <a:gd name="T68" fmla="*/ 147 w 683"/>
                <a:gd name="T69" fmla="*/ 158 h 1102"/>
                <a:gd name="T70" fmla="*/ 128 w 683"/>
                <a:gd name="T71" fmla="*/ 231 h 1102"/>
                <a:gd name="T72" fmla="*/ 139 w 683"/>
                <a:gd name="T73" fmla="*/ 292 h 1102"/>
                <a:gd name="T74" fmla="*/ 190 w 683"/>
                <a:gd name="T75" fmla="*/ 355 h 1102"/>
                <a:gd name="T76" fmla="*/ 287 w 683"/>
                <a:gd name="T77" fmla="*/ 417 h 1102"/>
                <a:gd name="T78" fmla="*/ 548 w 683"/>
                <a:gd name="T79" fmla="*/ 556 h 1102"/>
                <a:gd name="T80" fmla="*/ 631 w 683"/>
                <a:gd name="T81" fmla="*/ 633 h 1102"/>
                <a:gd name="T82" fmla="*/ 674 w 683"/>
                <a:gd name="T83" fmla="*/ 720 h 1102"/>
                <a:gd name="T84" fmla="*/ 683 w 683"/>
                <a:gd name="T85" fmla="*/ 792 h 1102"/>
                <a:gd name="T86" fmla="*/ 673 w 683"/>
                <a:gd name="T87" fmla="*/ 874 h 1102"/>
                <a:gd name="T88" fmla="*/ 642 w 683"/>
                <a:gd name="T89" fmla="*/ 947 h 1102"/>
                <a:gd name="T90" fmla="*/ 596 w 683"/>
                <a:gd name="T91" fmla="*/ 1007 h 1102"/>
                <a:gd name="T92" fmla="*/ 536 w 683"/>
                <a:gd name="T93" fmla="*/ 1053 h 1102"/>
                <a:gd name="T94" fmla="*/ 465 w 683"/>
                <a:gd name="T95" fmla="*/ 1085 h 1102"/>
                <a:gd name="T96" fmla="*/ 387 w 683"/>
                <a:gd name="T97" fmla="*/ 1100 h 1102"/>
                <a:gd name="T98" fmla="*/ 307 w 683"/>
                <a:gd name="T99" fmla="*/ 1099 h 1102"/>
                <a:gd name="T100" fmla="*/ 208 w 683"/>
                <a:gd name="T101" fmla="*/ 1073 h 1102"/>
                <a:gd name="T102" fmla="*/ 95 w 683"/>
                <a:gd name="T103" fmla="*/ 1024 h 1102"/>
                <a:gd name="T104" fmla="*/ 62 w 683"/>
                <a:gd name="T105" fmla="*/ 1044 h 1102"/>
                <a:gd name="T106" fmla="*/ 35 w 683"/>
                <a:gd name="T10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3" h="1102">
                  <a:moveTo>
                    <a:pt x="0" y="723"/>
                  </a:moveTo>
                  <a:lnTo>
                    <a:pt x="36" y="723"/>
                  </a:lnTo>
                  <a:lnTo>
                    <a:pt x="36" y="723"/>
                  </a:lnTo>
                  <a:lnTo>
                    <a:pt x="37" y="736"/>
                  </a:lnTo>
                  <a:lnTo>
                    <a:pt x="39" y="752"/>
                  </a:lnTo>
                  <a:lnTo>
                    <a:pt x="41" y="771"/>
                  </a:lnTo>
                  <a:lnTo>
                    <a:pt x="46" y="795"/>
                  </a:lnTo>
                  <a:lnTo>
                    <a:pt x="53" y="821"/>
                  </a:lnTo>
                  <a:lnTo>
                    <a:pt x="59" y="835"/>
                  </a:lnTo>
                  <a:lnTo>
                    <a:pt x="64" y="849"/>
                  </a:lnTo>
                  <a:lnTo>
                    <a:pt x="70" y="863"/>
                  </a:lnTo>
                  <a:lnTo>
                    <a:pt x="77" y="878"/>
                  </a:lnTo>
                  <a:lnTo>
                    <a:pt x="85" y="893"/>
                  </a:lnTo>
                  <a:lnTo>
                    <a:pt x="93" y="907"/>
                  </a:lnTo>
                  <a:lnTo>
                    <a:pt x="104" y="921"/>
                  </a:lnTo>
                  <a:lnTo>
                    <a:pt x="115" y="935"/>
                  </a:lnTo>
                  <a:lnTo>
                    <a:pt x="127" y="948"/>
                  </a:lnTo>
                  <a:lnTo>
                    <a:pt x="140" y="961"/>
                  </a:lnTo>
                  <a:lnTo>
                    <a:pt x="155" y="974"/>
                  </a:lnTo>
                  <a:lnTo>
                    <a:pt x="171" y="985"/>
                  </a:lnTo>
                  <a:lnTo>
                    <a:pt x="188" y="995"/>
                  </a:lnTo>
                  <a:lnTo>
                    <a:pt x="207" y="1004"/>
                  </a:lnTo>
                  <a:lnTo>
                    <a:pt x="227" y="1012"/>
                  </a:lnTo>
                  <a:lnTo>
                    <a:pt x="250" y="1020"/>
                  </a:lnTo>
                  <a:lnTo>
                    <a:pt x="273" y="1026"/>
                  </a:lnTo>
                  <a:lnTo>
                    <a:pt x="298" y="1030"/>
                  </a:lnTo>
                  <a:lnTo>
                    <a:pt x="325" y="1032"/>
                  </a:lnTo>
                  <a:lnTo>
                    <a:pt x="354" y="1033"/>
                  </a:lnTo>
                  <a:lnTo>
                    <a:pt x="354" y="1033"/>
                  </a:lnTo>
                  <a:lnTo>
                    <a:pt x="377" y="1032"/>
                  </a:lnTo>
                  <a:lnTo>
                    <a:pt x="398" y="1030"/>
                  </a:lnTo>
                  <a:lnTo>
                    <a:pt x="419" y="1025"/>
                  </a:lnTo>
                  <a:lnTo>
                    <a:pt x="439" y="1019"/>
                  </a:lnTo>
                  <a:lnTo>
                    <a:pt x="458" y="1011"/>
                  </a:lnTo>
                  <a:lnTo>
                    <a:pt x="476" y="1002"/>
                  </a:lnTo>
                  <a:lnTo>
                    <a:pt x="492" y="992"/>
                  </a:lnTo>
                  <a:lnTo>
                    <a:pt x="507" y="980"/>
                  </a:lnTo>
                  <a:lnTo>
                    <a:pt x="522" y="966"/>
                  </a:lnTo>
                  <a:lnTo>
                    <a:pt x="534" y="952"/>
                  </a:lnTo>
                  <a:lnTo>
                    <a:pt x="544" y="937"/>
                  </a:lnTo>
                  <a:lnTo>
                    <a:pt x="553" y="919"/>
                  </a:lnTo>
                  <a:lnTo>
                    <a:pt x="560" y="902"/>
                  </a:lnTo>
                  <a:lnTo>
                    <a:pt x="566" y="884"/>
                  </a:lnTo>
                  <a:lnTo>
                    <a:pt x="569" y="864"/>
                  </a:lnTo>
                  <a:lnTo>
                    <a:pt x="570" y="844"/>
                  </a:lnTo>
                  <a:lnTo>
                    <a:pt x="570" y="844"/>
                  </a:lnTo>
                  <a:lnTo>
                    <a:pt x="569" y="828"/>
                  </a:lnTo>
                  <a:lnTo>
                    <a:pt x="566" y="814"/>
                  </a:lnTo>
                  <a:lnTo>
                    <a:pt x="562" y="800"/>
                  </a:lnTo>
                  <a:lnTo>
                    <a:pt x="555" y="787"/>
                  </a:lnTo>
                  <a:lnTo>
                    <a:pt x="547" y="772"/>
                  </a:lnTo>
                  <a:lnTo>
                    <a:pt x="538" y="759"/>
                  </a:lnTo>
                  <a:lnTo>
                    <a:pt x="527" y="746"/>
                  </a:lnTo>
                  <a:lnTo>
                    <a:pt x="515" y="732"/>
                  </a:lnTo>
                  <a:lnTo>
                    <a:pt x="501" y="720"/>
                  </a:lnTo>
                  <a:lnTo>
                    <a:pt x="486" y="707"/>
                  </a:lnTo>
                  <a:lnTo>
                    <a:pt x="470" y="695"/>
                  </a:lnTo>
                  <a:lnTo>
                    <a:pt x="452" y="682"/>
                  </a:lnTo>
                  <a:lnTo>
                    <a:pt x="434" y="670"/>
                  </a:lnTo>
                  <a:lnTo>
                    <a:pt x="413" y="659"/>
                  </a:lnTo>
                  <a:lnTo>
                    <a:pt x="371" y="634"/>
                  </a:lnTo>
                  <a:lnTo>
                    <a:pt x="206" y="550"/>
                  </a:lnTo>
                  <a:lnTo>
                    <a:pt x="206" y="550"/>
                  </a:lnTo>
                  <a:lnTo>
                    <a:pt x="186" y="540"/>
                  </a:lnTo>
                  <a:lnTo>
                    <a:pt x="169" y="529"/>
                  </a:lnTo>
                  <a:lnTo>
                    <a:pt x="151" y="516"/>
                  </a:lnTo>
                  <a:lnTo>
                    <a:pt x="133" y="502"/>
                  </a:lnTo>
                  <a:lnTo>
                    <a:pt x="117" y="488"/>
                  </a:lnTo>
                  <a:lnTo>
                    <a:pt x="100" y="472"/>
                  </a:lnTo>
                  <a:lnTo>
                    <a:pt x="86" y="455"/>
                  </a:lnTo>
                  <a:lnTo>
                    <a:pt x="72" y="438"/>
                  </a:lnTo>
                  <a:lnTo>
                    <a:pt x="60" y="419"/>
                  </a:lnTo>
                  <a:lnTo>
                    <a:pt x="48" y="400"/>
                  </a:lnTo>
                  <a:lnTo>
                    <a:pt x="38" y="380"/>
                  </a:lnTo>
                  <a:lnTo>
                    <a:pt x="30" y="358"/>
                  </a:lnTo>
                  <a:lnTo>
                    <a:pt x="23" y="336"/>
                  </a:lnTo>
                  <a:lnTo>
                    <a:pt x="18" y="313"/>
                  </a:lnTo>
                  <a:lnTo>
                    <a:pt x="15" y="290"/>
                  </a:lnTo>
                  <a:lnTo>
                    <a:pt x="14" y="265"/>
                  </a:lnTo>
                  <a:lnTo>
                    <a:pt x="14" y="265"/>
                  </a:lnTo>
                  <a:lnTo>
                    <a:pt x="15" y="252"/>
                  </a:lnTo>
                  <a:lnTo>
                    <a:pt x="16" y="240"/>
                  </a:lnTo>
                  <a:lnTo>
                    <a:pt x="17" y="226"/>
                  </a:lnTo>
                  <a:lnTo>
                    <a:pt x="20" y="213"/>
                  </a:lnTo>
                  <a:lnTo>
                    <a:pt x="23" y="201"/>
                  </a:lnTo>
                  <a:lnTo>
                    <a:pt x="26" y="188"/>
                  </a:lnTo>
                  <a:lnTo>
                    <a:pt x="30" y="177"/>
                  </a:lnTo>
                  <a:lnTo>
                    <a:pt x="35" y="165"/>
                  </a:lnTo>
                  <a:lnTo>
                    <a:pt x="41" y="154"/>
                  </a:lnTo>
                  <a:lnTo>
                    <a:pt x="46" y="142"/>
                  </a:lnTo>
                  <a:lnTo>
                    <a:pt x="53" y="132"/>
                  </a:lnTo>
                  <a:lnTo>
                    <a:pt x="61" y="121"/>
                  </a:lnTo>
                  <a:lnTo>
                    <a:pt x="68" y="112"/>
                  </a:lnTo>
                  <a:lnTo>
                    <a:pt x="76" y="101"/>
                  </a:lnTo>
                  <a:lnTo>
                    <a:pt x="85" y="92"/>
                  </a:lnTo>
                  <a:lnTo>
                    <a:pt x="94" y="83"/>
                  </a:lnTo>
                  <a:lnTo>
                    <a:pt x="105" y="75"/>
                  </a:lnTo>
                  <a:lnTo>
                    <a:pt x="115" y="67"/>
                  </a:lnTo>
                  <a:lnTo>
                    <a:pt x="125" y="60"/>
                  </a:lnTo>
                  <a:lnTo>
                    <a:pt x="136" y="52"/>
                  </a:lnTo>
                  <a:lnTo>
                    <a:pt x="147" y="45"/>
                  </a:lnTo>
                  <a:lnTo>
                    <a:pt x="160" y="39"/>
                  </a:lnTo>
                  <a:lnTo>
                    <a:pt x="172" y="34"/>
                  </a:lnTo>
                  <a:lnTo>
                    <a:pt x="185" y="29"/>
                  </a:lnTo>
                  <a:lnTo>
                    <a:pt x="199" y="24"/>
                  </a:lnTo>
                  <a:lnTo>
                    <a:pt x="212" y="20"/>
                  </a:lnTo>
                  <a:lnTo>
                    <a:pt x="226" y="17"/>
                  </a:lnTo>
                  <a:lnTo>
                    <a:pt x="239" y="14"/>
                  </a:lnTo>
                  <a:lnTo>
                    <a:pt x="255" y="12"/>
                  </a:lnTo>
                  <a:lnTo>
                    <a:pt x="269" y="9"/>
                  </a:lnTo>
                  <a:lnTo>
                    <a:pt x="284" y="8"/>
                  </a:lnTo>
                  <a:lnTo>
                    <a:pt x="300" y="8"/>
                  </a:lnTo>
                  <a:lnTo>
                    <a:pt x="300" y="8"/>
                  </a:lnTo>
                  <a:lnTo>
                    <a:pt x="319" y="8"/>
                  </a:lnTo>
                  <a:lnTo>
                    <a:pt x="337" y="10"/>
                  </a:lnTo>
                  <a:lnTo>
                    <a:pt x="353" y="12"/>
                  </a:lnTo>
                  <a:lnTo>
                    <a:pt x="369" y="15"/>
                  </a:lnTo>
                  <a:lnTo>
                    <a:pt x="384" y="18"/>
                  </a:lnTo>
                  <a:lnTo>
                    <a:pt x="398" y="21"/>
                  </a:lnTo>
                  <a:lnTo>
                    <a:pt x="411" y="25"/>
                  </a:lnTo>
                  <a:lnTo>
                    <a:pt x="425" y="30"/>
                  </a:lnTo>
                  <a:lnTo>
                    <a:pt x="448" y="40"/>
                  </a:lnTo>
                  <a:lnTo>
                    <a:pt x="471" y="52"/>
                  </a:lnTo>
                  <a:lnTo>
                    <a:pt x="491" y="66"/>
                  </a:lnTo>
                  <a:lnTo>
                    <a:pt x="510" y="79"/>
                  </a:lnTo>
                  <a:lnTo>
                    <a:pt x="510" y="79"/>
                  </a:lnTo>
                  <a:lnTo>
                    <a:pt x="519" y="73"/>
                  </a:lnTo>
                  <a:lnTo>
                    <a:pt x="526" y="65"/>
                  </a:lnTo>
                  <a:lnTo>
                    <a:pt x="533" y="57"/>
                  </a:lnTo>
                  <a:lnTo>
                    <a:pt x="540" y="46"/>
                  </a:lnTo>
                  <a:lnTo>
                    <a:pt x="546" y="36"/>
                  </a:lnTo>
                  <a:lnTo>
                    <a:pt x="552" y="25"/>
                  </a:lnTo>
                  <a:lnTo>
                    <a:pt x="557" y="13"/>
                  </a:lnTo>
                  <a:lnTo>
                    <a:pt x="561" y="0"/>
                  </a:lnTo>
                  <a:lnTo>
                    <a:pt x="595" y="0"/>
                  </a:lnTo>
                  <a:lnTo>
                    <a:pt x="595" y="380"/>
                  </a:lnTo>
                  <a:lnTo>
                    <a:pt x="560" y="380"/>
                  </a:lnTo>
                  <a:lnTo>
                    <a:pt x="560" y="380"/>
                  </a:lnTo>
                  <a:lnTo>
                    <a:pt x="556" y="353"/>
                  </a:lnTo>
                  <a:lnTo>
                    <a:pt x="552" y="326"/>
                  </a:lnTo>
                  <a:lnTo>
                    <a:pt x="547" y="300"/>
                  </a:lnTo>
                  <a:lnTo>
                    <a:pt x="541" y="274"/>
                  </a:lnTo>
                  <a:lnTo>
                    <a:pt x="533" y="249"/>
                  </a:lnTo>
                  <a:lnTo>
                    <a:pt x="523" y="223"/>
                  </a:lnTo>
                  <a:lnTo>
                    <a:pt x="511" y="200"/>
                  </a:lnTo>
                  <a:lnTo>
                    <a:pt x="504" y="187"/>
                  </a:lnTo>
                  <a:lnTo>
                    <a:pt x="497" y="177"/>
                  </a:lnTo>
                  <a:lnTo>
                    <a:pt x="490" y="166"/>
                  </a:lnTo>
                  <a:lnTo>
                    <a:pt x="482" y="156"/>
                  </a:lnTo>
                  <a:lnTo>
                    <a:pt x="473" y="145"/>
                  </a:lnTo>
                  <a:lnTo>
                    <a:pt x="463" y="136"/>
                  </a:lnTo>
                  <a:lnTo>
                    <a:pt x="453" y="128"/>
                  </a:lnTo>
                  <a:lnTo>
                    <a:pt x="443" y="120"/>
                  </a:lnTo>
                  <a:lnTo>
                    <a:pt x="431" y="112"/>
                  </a:lnTo>
                  <a:lnTo>
                    <a:pt x="419" y="106"/>
                  </a:lnTo>
                  <a:lnTo>
                    <a:pt x="406" y="99"/>
                  </a:lnTo>
                  <a:lnTo>
                    <a:pt x="393" y="93"/>
                  </a:lnTo>
                  <a:lnTo>
                    <a:pt x="379" y="89"/>
                  </a:lnTo>
                  <a:lnTo>
                    <a:pt x="363" y="85"/>
                  </a:lnTo>
                  <a:lnTo>
                    <a:pt x="348" y="82"/>
                  </a:lnTo>
                  <a:lnTo>
                    <a:pt x="331" y="79"/>
                  </a:lnTo>
                  <a:lnTo>
                    <a:pt x="313" y="78"/>
                  </a:lnTo>
                  <a:lnTo>
                    <a:pt x="295" y="78"/>
                  </a:lnTo>
                  <a:lnTo>
                    <a:pt x="295" y="78"/>
                  </a:lnTo>
                  <a:lnTo>
                    <a:pt x="277" y="78"/>
                  </a:lnTo>
                  <a:lnTo>
                    <a:pt x="260" y="81"/>
                  </a:lnTo>
                  <a:lnTo>
                    <a:pt x="244" y="84"/>
                  </a:lnTo>
                  <a:lnTo>
                    <a:pt x="228" y="89"/>
                  </a:lnTo>
                  <a:lnTo>
                    <a:pt x="214" y="95"/>
                  </a:lnTo>
                  <a:lnTo>
                    <a:pt x="200" y="104"/>
                  </a:lnTo>
                  <a:lnTo>
                    <a:pt x="187" y="112"/>
                  </a:lnTo>
                  <a:lnTo>
                    <a:pt x="175" y="122"/>
                  </a:lnTo>
                  <a:lnTo>
                    <a:pt x="165" y="133"/>
                  </a:lnTo>
                  <a:lnTo>
                    <a:pt x="156" y="144"/>
                  </a:lnTo>
                  <a:lnTo>
                    <a:pt x="147" y="158"/>
                  </a:lnTo>
                  <a:lnTo>
                    <a:pt x="140" y="171"/>
                  </a:lnTo>
                  <a:lnTo>
                    <a:pt x="135" y="185"/>
                  </a:lnTo>
                  <a:lnTo>
                    <a:pt x="131" y="200"/>
                  </a:lnTo>
                  <a:lnTo>
                    <a:pt x="129" y="215"/>
                  </a:lnTo>
                  <a:lnTo>
                    <a:pt x="128" y="231"/>
                  </a:lnTo>
                  <a:lnTo>
                    <a:pt x="128" y="231"/>
                  </a:lnTo>
                  <a:lnTo>
                    <a:pt x="128" y="248"/>
                  </a:lnTo>
                  <a:lnTo>
                    <a:pt x="131" y="263"/>
                  </a:lnTo>
                  <a:lnTo>
                    <a:pt x="134" y="277"/>
                  </a:lnTo>
                  <a:lnTo>
                    <a:pt x="139" y="292"/>
                  </a:lnTo>
                  <a:lnTo>
                    <a:pt x="146" y="305"/>
                  </a:lnTo>
                  <a:lnTo>
                    <a:pt x="155" y="317"/>
                  </a:lnTo>
                  <a:lnTo>
                    <a:pt x="165" y="331"/>
                  </a:lnTo>
                  <a:lnTo>
                    <a:pt x="177" y="343"/>
                  </a:lnTo>
                  <a:lnTo>
                    <a:pt x="190" y="355"/>
                  </a:lnTo>
                  <a:lnTo>
                    <a:pt x="206" y="366"/>
                  </a:lnTo>
                  <a:lnTo>
                    <a:pt x="223" y="379"/>
                  </a:lnTo>
                  <a:lnTo>
                    <a:pt x="243" y="392"/>
                  </a:lnTo>
                  <a:lnTo>
                    <a:pt x="263" y="404"/>
                  </a:lnTo>
                  <a:lnTo>
                    <a:pt x="287" y="417"/>
                  </a:lnTo>
                  <a:lnTo>
                    <a:pt x="339" y="445"/>
                  </a:lnTo>
                  <a:lnTo>
                    <a:pt x="502" y="530"/>
                  </a:lnTo>
                  <a:lnTo>
                    <a:pt x="502" y="530"/>
                  </a:lnTo>
                  <a:lnTo>
                    <a:pt x="526" y="542"/>
                  </a:lnTo>
                  <a:lnTo>
                    <a:pt x="548" y="556"/>
                  </a:lnTo>
                  <a:lnTo>
                    <a:pt x="568" y="571"/>
                  </a:lnTo>
                  <a:lnTo>
                    <a:pt x="586" y="585"/>
                  </a:lnTo>
                  <a:lnTo>
                    <a:pt x="604" y="601"/>
                  </a:lnTo>
                  <a:lnTo>
                    <a:pt x="618" y="617"/>
                  </a:lnTo>
                  <a:lnTo>
                    <a:pt x="631" y="633"/>
                  </a:lnTo>
                  <a:lnTo>
                    <a:pt x="642" y="651"/>
                  </a:lnTo>
                  <a:lnTo>
                    <a:pt x="653" y="667"/>
                  </a:lnTo>
                  <a:lnTo>
                    <a:pt x="661" y="684"/>
                  </a:lnTo>
                  <a:lnTo>
                    <a:pt x="668" y="703"/>
                  </a:lnTo>
                  <a:lnTo>
                    <a:pt x="674" y="720"/>
                  </a:lnTo>
                  <a:lnTo>
                    <a:pt x="678" y="738"/>
                  </a:lnTo>
                  <a:lnTo>
                    <a:pt x="681" y="756"/>
                  </a:lnTo>
                  <a:lnTo>
                    <a:pt x="682" y="774"/>
                  </a:lnTo>
                  <a:lnTo>
                    <a:pt x="683" y="792"/>
                  </a:lnTo>
                  <a:lnTo>
                    <a:pt x="683" y="792"/>
                  </a:lnTo>
                  <a:lnTo>
                    <a:pt x="683" y="809"/>
                  </a:lnTo>
                  <a:lnTo>
                    <a:pt x="681" y="826"/>
                  </a:lnTo>
                  <a:lnTo>
                    <a:pt x="679" y="843"/>
                  </a:lnTo>
                  <a:lnTo>
                    <a:pt x="676" y="859"/>
                  </a:lnTo>
                  <a:lnTo>
                    <a:pt x="673" y="874"/>
                  </a:lnTo>
                  <a:lnTo>
                    <a:pt x="668" y="890"/>
                  </a:lnTo>
                  <a:lnTo>
                    <a:pt x="663" y="905"/>
                  </a:lnTo>
                  <a:lnTo>
                    <a:pt x="657" y="919"/>
                  </a:lnTo>
                  <a:lnTo>
                    <a:pt x="651" y="934"/>
                  </a:lnTo>
                  <a:lnTo>
                    <a:pt x="642" y="947"/>
                  </a:lnTo>
                  <a:lnTo>
                    <a:pt x="634" y="960"/>
                  </a:lnTo>
                  <a:lnTo>
                    <a:pt x="626" y="973"/>
                  </a:lnTo>
                  <a:lnTo>
                    <a:pt x="617" y="985"/>
                  </a:lnTo>
                  <a:lnTo>
                    <a:pt x="607" y="996"/>
                  </a:lnTo>
                  <a:lnTo>
                    <a:pt x="596" y="1007"/>
                  </a:lnTo>
                  <a:lnTo>
                    <a:pt x="585" y="1018"/>
                  </a:lnTo>
                  <a:lnTo>
                    <a:pt x="574" y="1028"/>
                  </a:lnTo>
                  <a:lnTo>
                    <a:pt x="562" y="1037"/>
                  </a:lnTo>
                  <a:lnTo>
                    <a:pt x="549" y="1045"/>
                  </a:lnTo>
                  <a:lnTo>
                    <a:pt x="536" y="1053"/>
                  </a:lnTo>
                  <a:lnTo>
                    <a:pt x="523" y="1062"/>
                  </a:lnTo>
                  <a:lnTo>
                    <a:pt x="509" y="1068"/>
                  </a:lnTo>
                  <a:lnTo>
                    <a:pt x="495" y="1075"/>
                  </a:lnTo>
                  <a:lnTo>
                    <a:pt x="480" y="1080"/>
                  </a:lnTo>
                  <a:lnTo>
                    <a:pt x="465" y="1085"/>
                  </a:lnTo>
                  <a:lnTo>
                    <a:pt x="450" y="1089"/>
                  </a:lnTo>
                  <a:lnTo>
                    <a:pt x="435" y="1093"/>
                  </a:lnTo>
                  <a:lnTo>
                    <a:pt x="419" y="1096"/>
                  </a:lnTo>
                  <a:lnTo>
                    <a:pt x="403" y="1099"/>
                  </a:lnTo>
                  <a:lnTo>
                    <a:pt x="387" y="1100"/>
                  </a:lnTo>
                  <a:lnTo>
                    <a:pt x="370" y="1101"/>
                  </a:lnTo>
                  <a:lnTo>
                    <a:pt x="354" y="1102"/>
                  </a:lnTo>
                  <a:lnTo>
                    <a:pt x="354" y="1102"/>
                  </a:lnTo>
                  <a:lnTo>
                    <a:pt x="329" y="1101"/>
                  </a:lnTo>
                  <a:lnTo>
                    <a:pt x="307" y="1099"/>
                  </a:lnTo>
                  <a:lnTo>
                    <a:pt x="286" y="1095"/>
                  </a:lnTo>
                  <a:lnTo>
                    <a:pt x="264" y="1091"/>
                  </a:lnTo>
                  <a:lnTo>
                    <a:pt x="245" y="1086"/>
                  </a:lnTo>
                  <a:lnTo>
                    <a:pt x="225" y="1080"/>
                  </a:lnTo>
                  <a:lnTo>
                    <a:pt x="208" y="1073"/>
                  </a:lnTo>
                  <a:lnTo>
                    <a:pt x="190" y="1067"/>
                  </a:lnTo>
                  <a:lnTo>
                    <a:pt x="160" y="1052"/>
                  </a:lnTo>
                  <a:lnTo>
                    <a:pt x="131" y="1039"/>
                  </a:lnTo>
                  <a:lnTo>
                    <a:pt x="107" y="1028"/>
                  </a:lnTo>
                  <a:lnTo>
                    <a:pt x="95" y="1024"/>
                  </a:lnTo>
                  <a:lnTo>
                    <a:pt x="85" y="1021"/>
                  </a:lnTo>
                  <a:lnTo>
                    <a:pt x="85" y="1021"/>
                  </a:lnTo>
                  <a:lnTo>
                    <a:pt x="77" y="1028"/>
                  </a:lnTo>
                  <a:lnTo>
                    <a:pt x="70" y="1036"/>
                  </a:lnTo>
                  <a:lnTo>
                    <a:pt x="62" y="1044"/>
                  </a:lnTo>
                  <a:lnTo>
                    <a:pt x="55" y="1053"/>
                  </a:lnTo>
                  <a:lnTo>
                    <a:pt x="49" y="1065"/>
                  </a:lnTo>
                  <a:lnTo>
                    <a:pt x="43" y="1076"/>
                  </a:lnTo>
                  <a:lnTo>
                    <a:pt x="38" y="1088"/>
                  </a:lnTo>
                  <a:lnTo>
                    <a:pt x="35" y="1102"/>
                  </a:lnTo>
                  <a:lnTo>
                    <a:pt x="0" y="1102"/>
                  </a:lnTo>
                  <a:lnTo>
                    <a:pt x="0" y="7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1" name="Freeform 24"/>
            <p:cNvSpPr>
              <a:spLocks noEditPoints="1"/>
            </p:cNvSpPr>
            <p:nvPr userDrawn="1"/>
          </p:nvSpPr>
          <p:spPr bwMode="auto">
            <a:xfrm>
              <a:off x="7310683" y="898693"/>
              <a:ext cx="133350" cy="136525"/>
            </a:xfrm>
            <a:custGeom>
              <a:avLst/>
              <a:gdLst>
                <a:gd name="T0" fmla="*/ 49 w 1009"/>
                <a:gd name="T1" fmla="*/ 997 h 1035"/>
                <a:gd name="T2" fmla="*/ 115 w 1009"/>
                <a:gd name="T3" fmla="*/ 981 h 1035"/>
                <a:gd name="T4" fmla="*/ 136 w 1009"/>
                <a:gd name="T5" fmla="*/ 962 h 1035"/>
                <a:gd name="T6" fmla="*/ 155 w 1009"/>
                <a:gd name="T7" fmla="*/ 920 h 1035"/>
                <a:gd name="T8" fmla="*/ 163 w 1009"/>
                <a:gd name="T9" fmla="*/ 827 h 1035"/>
                <a:gd name="T10" fmla="*/ 163 w 1009"/>
                <a:gd name="T11" fmla="*/ 206 h 1035"/>
                <a:gd name="T12" fmla="*/ 155 w 1009"/>
                <a:gd name="T13" fmla="*/ 114 h 1035"/>
                <a:gd name="T14" fmla="*/ 136 w 1009"/>
                <a:gd name="T15" fmla="*/ 72 h 1035"/>
                <a:gd name="T16" fmla="*/ 115 w 1009"/>
                <a:gd name="T17" fmla="*/ 54 h 1035"/>
                <a:gd name="T18" fmla="*/ 49 w 1009"/>
                <a:gd name="T19" fmla="*/ 38 h 1035"/>
                <a:gd name="T20" fmla="*/ 456 w 1009"/>
                <a:gd name="T21" fmla="*/ 0 h 1035"/>
                <a:gd name="T22" fmla="*/ 520 w 1009"/>
                <a:gd name="T23" fmla="*/ 3 h 1035"/>
                <a:gd name="T24" fmla="*/ 597 w 1009"/>
                <a:gd name="T25" fmla="*/ 17 h 1035"/>
                <a:gd name="T26" fmla="*/ 663 w 1009"/>
                <a:gd name="T27" fmla="*/ 42 h 1035"/>
                <a:gd name="T28" fmla="*/ 718 w 1009"/>
                <a:gd name="T29" fmla="*/ 76 h 1035"/>
                <a:gd name="T30" fmla="*/ 763 w 1009"/>
                <a:gd name="T31" fmla="*/ 118 h 1035"/>
                <a:gd name="T32" fmla="*/ 796 w 1009"/>
                <a:gd name="T33" fmla="*/ 166 h 1035"/>
                <a:gd name="T34" fmla="*/ 817 w 1009"/>
                <a:gd name="T35" fmla="*/ 219 h 1035"/>
                <a:gd name="T36" fmla="*/ 826 w 1009"/>
                <a:gd name="T37" fmla="*/ 276 h 1035"/>
                <a:gd name="T38" fmla="*/ 825 w 1009"/>
                <a:gd name="T39" fmla="*/ 319 h 1035"/>
                <a:gd name="T40" fmla="*/ 815 w 1009"/>
                <a:gd name="T41" fmla="*/ 372 h 1035"/>
                <a:gd name="T42" fmla="*/ 794 w 1009"/>
                <a:gd name="T43" fmla="*/ 421 h 1035"/>
                <a:gd name="T44" fmla="*/ 764 w 1009"/>
                <a:gd name="T45" fmla="*/ 465 h 1035"/>
                <a:gd name="T46" fmla="*/ 726 w 1009"/>
                <a:gd name="T47" fmla="*/ 503 h 1035"/>
                <a:gd name="T48" fmla="*/ 677 w 1009"/>
                <a:gd name="T49" fmla="*/ 535 h 1035"/>
                <a:gd name="T50" fmla="*/ 620 w 1009"/>
                <a:gd name="T51" fmla="*/ 559 h 1035"/>
                <a:gd name="T52" fmla="*/ 555 w 1009"/>
                <a:gd name="T53" fmla="*/ 576 h 1035"/>
                <a:gd name="T54" fmla="*/ 689 w 1009"/>
                <a:gd name="T55" fmla="*/ 779 h 1035"/>
                <a:gd name="T56" fmla="*/ 767 w 1009"/>
                <a:gd name="T57" fmla="*/ 863 h 1035"/>
                <a:gd name="T58" fmla="*/ 848 w 1009"/>
                <a:gd name="T59" fmla="*/ 929 h 1035"/>
                <a:gd name="T60" fmla="*/ 930 w 1009"/>
                <a:gd name="T61" fmla="*/ 977 h 1035"/>
                <a:gd name="T62" fmla="*/ 1009 w 1009"/>
                <a:gd name="T63" fmla="*/ 999 h 1035"/>
                <a:gd name="T64" fmla="*/ 302 w 1009"/>
                <a:gd name="T65" fmla="*/ 581 h 1035"/>
                <a:gd name="T66" fmla="*/ 303 w 1009"/>
                <a:gd name="T67" fmla="*/ 855 h 1035"/>
                <a:gd name="T68" fmla="*/ 316 w 1009"/>
                <a:gd name="T69" fmla="*/ 937 h 1035"/>
                <a:gd name="T70" fmla="*/ 335 w 1009"/>
                <a:gd name="T71" fmla="*/ 967 h 1035"/>
                <a:gd name="T72" fmla="*/ 365 w 1009"/>
                <a:gd name="T73" fmla="*/ 987 h 1035"/>
                <a:gd name="T74" fmla="*/ 440 w 1009"/>
                <a:gd name="T75" fmla="*/ 998 h 1035"/>
                <a:gd name="T76" fmla="*/ 0 w 1009"/>
                <a:gd name="T77" fmla="*/ 999 h 1035"/>
                <a:gd name="T78" fmla="*/ 494 w 1009"/>
                <a:gd name="T79" fmla="*/ 516 h 1035"/>
                <a:gd name="T80" fmla="*/ 541 w 1009"/>
                <a:gd name="T81" fmla="*/ 505 h 1035"/>
                <a:gd name="T82" fmla="*/ 580 w 1009"/>
                <a:gd name="T83" fmla="*/ 486 h 1035"/>
                <a:gd name="T84" fmla="*/ 633 w 1009"/>
                <a:gd name="T85" fmla="*/ 437 h 1035"/>
                <a:gd name="T86" fmla="*/ 665 w 1009"/>
                <a:gd name="T87" fmla="*/ 359 h 1035"/>
                <a:gd name="T88" fmla="*/ 672 w 1009"/>
                <a:gd name="T89" fmla="*/ 291 h 1035"/>
                <a:gd name="T90" fmla="*/ 660 w 1009"/>
                <a:gd name="T91" fmla="*/ 204 h 1035"/>
                <a:gd name="T92" fmla="*/ 619 w 1009"/>
                <a:gd name="T93" fmla="*/ 131 h 1035"/>
                <a:gd name="T94" fmla="*/ 571 w 1009"/>
                <a:gd name="T95" fmla="*/ 91 h 1035"/>
                <a:gd name="T96" fmla="*/ 529 w 1009"/>
                <a:gd name="T97" fmla="*/ 74 h 1035"/>
                <a:gd name="T98" fmla="*/ 481 w 1009"/>
                <a:gd name="T99" fmla="*/ 65 h 1035"/>
                <a:gd name="T100" fmla="*/ 302 w 1009"/>
                <a:gd name="T101" fmla="*/ 51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09" h="1035">
                  <a:moveTo>
                    <a:pt x="0" y="999"/>
                  </a:moveTo>
                  <a:lnTo>
                    <a:pt x="0" y="999"/>
                  </a:lnTo>
                  <a:lnTo>
                    <a:pt x="25" y="998"/>
                  </a:lnTo>
                  <a:lnTo>
                    <a:pt x="49" y="997"/>
                  </a:lnTo>
                  <a:lnTo>
                    <a:pt x="68" y="995"/>
                  </a:lnTo>
                  <a:lnTo>
                    <a:pt x="87" y="991"/>
                  </a:lnTo>
                  <a:lnTo>
                    <a:pt x="102" y="987"/>
                  </a:lnTo>
                  <a:lnTo>
                    <a:pt x="115" y="981"/>
                  </a:lnTo>
                  <a:lnTo>
                    <a:pt x="120" y="977"/>
                  </a:lnTo>
                  <a:lnTo>
                    <a:pt x="126" y="972"/>
                  </a:lnTo>
                  <a:lnTo>
                    <a:pt x="132" y="967"/>
                  </a:lnTo>
                  <a:lnTo>
                    <a:pt x="136" y="962"/>
                  </a:lnTo>
                  <a:lnTo>
                    <a:pt x="140" y="957"/>
                  </a:lnTo>
                  <a:lnTo>
                    <a:pt x="144" y="951"/>
                  </a:lnTo>
                  <a:lnTo>
                    <a:pt x="150" y="937"/>
                  </a:lnTo>
                  <a:lnTo>
                    <a:pt x="155" y="920"/>
                  </a:lnTo>
                  <a:lnTo>
                    <a:pt x="158" y="901"/>
                  </a:lnTo>
                  <a:lnTo>
                    <a:pt x="161" y="879"/>
                  </a:lnTo>
                  <a:lnTo>
                    <a:pt x="163" y="855"/>
                  </a:lnTo>
                  <a:lnTo>
                    <a:pt x="163" y="827"/>
                  </a:lnTo>
                  <a:lnTo>
                    <a:pt x="164" y="797"/>
                  </a:lnTo>
                  <a:lnTo>
                    <a:pt x="164" y="236"/>
                  </a:lnTo>
                  <a:lnTo>
                    <a:pt x="164" y="236"/>
                  </a:lnTo>
                  <a:lnTo>
                    <a:pt x="163" y="206"/>
                  </a:lnTo>
                  <a:lnTo>
                    <a:pt x="163" y="178"/>
                  </a:lnTo>
                  <a:lnTo>
                    <a:pt x="161" y="153"/>
                  </a:lnTo>
                  <a:lnTo>
                    <a:pt x="158" y="132"/>
                  </a:lnTo>
                  <a:lnTo>
                    <a:pt x="155" y="114"/>
                  </a:lnTo>
                  <a:lnTo>
                    <a:pt x="150" y="97"/>
                  </a:lnTo>
                  <a:lnTo>
                    <a:pt x="144" y="83"/>
                  </a:lnTo>
                  <a:lnTo>
                    <a:pt x="140" y="77"/>
                  </a:lnTo>
                  <a:lnTo>
                    <a:pt x="136" y="72"/>
                  </a:lnTo>
                  <a:lnTo>
                    <a:pt x="132" y="67"/>
                  </a:lnTo>
                  <a:lnTo>
                    <a:pt x="126" y="61"/>
                  </a:lnTo>
                  <a:lnTo>
                    <a:pt x="120" y="57"/>
                  </a:lnTo>
                  <a:lnTo>
                    <a:pt x="115" y="54"/>
                  </a:lnTo>
                  <a:lnTo>
                    <a:pt x="102" y="48"/>
                  </a:lnTo>
                  <a:lnTo>
                    <a:pt x="87" y="43"/>
                  </a:lnTo>
                  <a:lnTo>
                    <a:pt x="68" y="40"/>
                  </a:lnTo>
                  <a:lnTo>
                    <a:pt x="49" y="38"/>
                  </a:lnTo>
                  <a:lnTo>
                    <a:pt x="25" y="37"/>
                  </a:lnTo>
                  <a:lnTo>
                    <a:pt x="0" y="36"/>
                  </a:lnTo>
                  <a:lnTo>
                    <a:pt x="0" y="0"/>
                  </a:lnTo>
                  <a:lnTo>
                    <a:pt x="456" y="0"/>
                  </a:lnTo>
                  <a:lnTo>
                    <a:pt x="456" y="0"/>
                  </a:lnTo>
                  <a:lnTo>
                    <a:pt x="478" y="0"/>
                  </a:lnTo>
                  <a:lnTo>
                    <a:pt x="500" y="1"/>
                  </a:lnTo>
                  <a:lnTo>
                    <a:pt x="520" y="3"/>
                  </a:lnTo>
                  <a:lnTo>
                    <a:pt x="541" y="6"/>
                  </a:lnTo>
                  <a:lnTo>
                    <a:pt x="560" y="9"/>
                  </a:lnTo>
                  <a:lnTo>
                    <a:pt x="578" y="13"/>
                  </a:lnTo>
                  <a:lnTo>
                    <a:pt x="597" y="17"/>
                  </a:lnTo>
                  <a:lnTo>
                    <a:pt x="614" y="23"/>
                  </a:lnTo>
                  <a:lnTo>
                    <a:pt x="632" y="29"/>
                  </a:lnTo>
                  <a:lnTo>
                    <a:pt x="648" y="35"/>
                  </a:lnTo>
                  <a:lnTo>
                    <a:pt x="663" y="42"/>
                  </a:lnTo>
                  <a:lnTo>
                    <a:pt x="679" y="50"/>
                  </a:lnTo>
                  <a:lnTo>
                    <a:pt x="693" y="58"/>
                  </a:lnTo>
                  <a:lnTo>
                    <a:pt x="706" y="67"/>
                  </a:lnTo>
                  <a:lnTo>
                    <a:pt x="718" y="76"/>
                  </a:lnTo>
                  <a:lnTo>
                    <a:pt x="731" y="85"/>
                  </a:lnTo>
                  <a:lnTo>
                    <a:pt x="742" y="95"/>
                  </a:lnTo>
                  <a:lnTo>
                    <a:pt x="753" y="106"/>
                  </a:lnTo>
                  <a:lnTo>
                    <a:pt x="763" y="118"/>
                  </a:lnTo>
                  <a:lnTo>
                    <a:pt x="773" y="129"/>
                  </a:lnTo>
                  <a:lnTo>
                    <a:pt x="781" y="140"/>
                  </a:lnTo>
                  <a:lnTo>
                    <a:pt x="789" y="152"/>
                  </a:lnTo>
                  <a:lnTo>
                    <a:pt x="796" y="166"/>
                  </a:lnTo>
                  <a:lnTo>
                    <a:pt x="802" y="178"/>
                  </a:lnTo>
                  <a:lnTo>
                    <a:pt x="807" y="191"/>
                  </a:lnTo>
                  <a:lnTo>
                    <a:pt x="813" y="205"/>
                  </a:lnTo>
                  <a:lnTo>
                    <a:pt x="817" y="219"/>
                  </a:lnTo>
                  <a:lnTo>
                    <a:pt x="821" y="233"/>
                  </a:lnTo>
                  <a:lnTo>
                    <a:pt x="823" y="248"/>
                  </a:lnTo>
                  <a:lnTo>
                    <a:pt x="825" y="262"/>
                  </a:lnTo>
                  <a:lnTo>
                    <a:pt x="826" y="276"/>
                  </a:lnTo>
                  <a:lnTo>
                    <a:pt x="827" y="291"/>
                  </a:lnTo>
                  <a:lnTo>
                    <a:pt x="827" y="291"/>
                  </a:lnTo>
                  <a:lnTo>
                    <a:pt x="826" y="306"/>
                  </a:lnTo>
                  <a:lnTo>
                    <a:pt x="825" y="319"/>
                  </a:lnTo>
                  <a:lnTo>
                    <a:pt x="824" y="332"/>
                  </a:lnTo>
                  <a:lnTo>
                    <a:pt x="822" y="346"/>
                  </a:lnTo>
                  <a:lnTo>
                    <a:pt x="819" y="359"/>
                  </a:lnTo>
                  <a:lnTo>
                    <a:pt x="815" y="372"/>
                  </a:lnTo>
                  <a:lnTo>
                    <a:pt x="810" y="385"/>
                  </a:lnTo>
                  <a:lnTo>
                    <a:pt x="805" y="397"/>
                  </a:lnTo>
                  <a:lnTo>
                    <a:pt x="800" y="409"/>
                  </a:lnTo>
                  <a:lnTo>
                    <a:pt x="794" y="421"/>
                  </a:lnTo>
                  <a:lnTo>
                    <a:pt x="788" y="433"/>
                  </a:lnTo>
                  <a:lnTo>
                    <a:pt x="781" y="444"/>
                  </a:lnTo>
                  <a:lnTo>
                    <a:pt x="773" y="454"/>
                  </a:lnTo>
                  <a:lnTo>
                    <a:pt x="764" y="465"/>
                  </a:lnTo>
                  <a:lnTo>
                    <a:pt x="755" y="475"/>
                  </a:lnTo>
                  <a:lnTo>
                    <a:pt x="746" y="485"/>
                  </a:lnTo>
                  <a:lnTo>
                    <a:pt x="736" y="494"/>
                  </a:lnTo>
                  <a:lnTo>
                    <a:pt x="726" y="503"/>
                  </a:lnTo>
                  <a:lnTo>
                    <a:pt x="714" y="511"/>
                  </a:lnTo>
                  <a:lnTo>
                    <a:pt x="702" y="519"/>
                  </a:lnTo>
                  <a:lnTo>
                    <a:pt x="690" y="528"/>
                  </a:lnTo>
                  <a:lnTo>
                    <a:pt x="677" y="535"/>
                  </a:lnTo>
                  <a:lnTo>
                    <a:pt x="663" y="542"/>
                  </a:lnTo>
                  <a:lnTo>
                    <a:pt x="650" y="548"/>
                  </a:lnTo>
                  <a:lnTo>
                    <a:pt x="635" y="554"/>
                  </a:lnTo>
                  <a:lnTo>
                    <a:pt x="620" y="559"/>
                  </a:lnTo>
                  <a:lnTo>
                    <a:pt x="605" y="564"/>
                  </a:lnTo>
                  <a:lnTo>
                    <a:pt x="589" y="569"/>
                  </a:lnTo>
                  <a:lnTo>
                    <a:pt x="572" y="573"/>
                  </a:lnTo>
                  <a:lnTo>
                    <a:pt x="555" y="576"/>
                  </a:lnTo>
                  <a:lnTo>
                    <a:pt x="537" y="579"/>
                  </a:lnTo>
                  <a:lnTo>
                    <a:pt x="519" y="581"/>
                  </a:lnTo>
                  <a:lnTo>
                    <a:pt x="689" y="779"/>
                  </a:lnTo>
                  <a:lnTo>
                    <a:pt x="689" y="779"/>
                  </a:lnTo>
                  <a:lnTo>
                    <a:pt x="707" y="802"/>
                  </a:lnTo>
                  <a:lnTo>
                    <a:pt x="728" y="823"/>
                  </a:lnTo>
                  <a:lnTo>
                    <a:pt x="747" y="844"/>
                  </a:lnTo>
                  <a:lnTo>
                    <a:pt x="767" y="863"/>
                  </a:lnTo>
                  <a:lnTo>
                    <a:pt x="787" y="881"/>
                  </a:lnTo>
                  <a:lnTo>
                    <a:pt x="807" y="899"/>
                  </a:lnTo>
                  <a:lnTo>
                    <a:pt x="828" y="915"/>
                  </a:lnTo>
                  <a:lnTo>
                    <a:pt x="848" y="929"/>
                  </a:lnTo>
                  <a:lnTo>
                    <a:pt x="869" y="944"/>
                  </a:lnTo>
                  <a:lnTo>
                    <a:pt x="889" y="956"/>
                  </a:lnTo>
                  <a:lnTo>
                    <a:pt x="910" y="966"/>
                  </a:lnTo>
                  <a:lnTo>
                    <a:pt x="930" y="977"/>
                  </a:lnTo>
                  <a:lnTo>
                    <a:pt x="950" y="985"/>
                  </a:lnTo>
                  <a:lnTo>
                    <a:pt x="970" y="991"/>
                  </a:lnTo>
                  <a:lnTo>
                    <a:pt x="989" y="996"/>
                  </a:lnTo>
                  <a:lnTo>
                    <a:pt x="1009" y="999"/>
                  </a:lnTo>
                  <a:lnTo>
                    <a:pt x="1009" y="1035"/>
                  </a:lnTo>
                  <a:lnTo>
                    <a:pt x="725" y="1035"/>
                  </a:lnTo>
                  <a:lnTo>
                    <a:pt x="383" y="581"/>
                  </a:lnTo>
                  <a:lnTo>
                    <a:pt x="302" y="581"/>
                  </a:lnTo>
                  <a:lnTo>
                    <a:pt x="302" y="797"/>
                  </a:lnTo>
                  <a:lnTo>
                    <a:pt x="302" y="797"/>
                  </a:lnTo>
                  <a:lnTo>
                    <a:pt x="302" y="827"/>
                  </a:lnTo>
                  <a:lnTo>
                    <a:pt x="303" y="855"/>
                  </a:lnTo>
                  <a:lnTo>
                    <a:pt x="304" y="879"/>
                  </a:lnTo>
                  <a:lnTo>
                    <a:pt x="307" y="901"/>
                  </a:lnTo>
                  <a:lnTo>
                    <a:pt x="312" y="920"/>
                  </a:lnTo>
                  <a:lnTo>
                    <a:pt x="316" y="937"/>
                  </a:lnTo>
                  <a:lnTo>
                    <a:pt x="323" y="951"/>
                  </a:lnTo>
                  <a:lnTo>
                    <a:pt x="326" y="957"/>
                  </a:lnTo>
                  <a:lnTo>
                    <a:pt x="330" y="962"/>
                  </a:lnTo>
                  <a:lnTo>
                    <a:pt x="335" y="967"/>
                  </a:lnTo>
                  <a:lnTo>
                    <a:pt x="340" y="972"/>
                  </a:lnTo>
                  <a:lnTo>
                    <a:pt x="345" y="977"/>
                  </a:lnTo>
                  <a:lnTo>
                    <a:pt x="351" y="981"/>
                  </a:lnTo>
                  <a:lnTo>
                    <a:pt x="365" y="987"/>
                  </a:lnTo>
                  <a:lnTo>
                    <a:pt x="380" y="991"/>
                  </a:lnTo>
                  <a:lnTo>
                    <a:pt x="397" y="995"/>
                  </a:lnTo>
                  <a:lnTo>
                    <a:pt x="418" y="997"/>
                  </a:lnTo>
                  <a:lnTo>
                    <a:pt x="440" y="998"/>
                  </a:lnTo>
                  <a:lnTo>
                    <a:pt x="466" y="999"/>
                  </a:lnTo>
                  <a:lnTo>
                    <a:pt x="466" y="1035"/>
                  </a:lnTo>
                  <a:lnTo>
                    <a:pt x="0" y="1035"/>
                  </a:lnTo>
                  <a:lnTo>
                    <a:pt x="0" y="999"/>
                  </a:lnTo>
                  <a:close/>
                  <a:moveTo>
                    <a:pt x="454" y="519"/>
                  </a:moveTo>
                  <a:lnTo>
                    <a:pt x="454" y="519"/>
                  </a:lnTo>
                  <a:lnTo>
                    <a:pt x="481" y="517"/>
                  </a:lnTo>
                  <a:lnTo>
                    <a:pt x="494" y="516"/>
                  </a:lnTo>
                  <a:lnTo>
                    <a:pt x="507" y="514"/>
                  </a:lnTo>
                  <a:lnTo>
                    <a:pt x="518" y="512"/>
                  </a:lnTo>
                  <a:lnTo>
                    <a:pt x="529" y="509"/>
                  </a:lnTo>
                  <a:lnTo>
                    <a:pt x="541" y="505"/>
                  </a:lnTo>
                  <a:lnTo>
                    <a:pt x="552" y="501"/>
                  </a:lnTo>
                  <a:lnTo>
                    <a:pt x="561" y="497"/>
                  </a:lnTo>
                  <a:lnTo>
                    <a:pt x="571" y="492"/>
                  </a:lnTo>
                  <a:lnTo>
                    <a:pt x="580" y="486"/>
                  </a:lnTo>
                  <a:lnTo>
                    <a:pt x="589" y="481"/>
                  </a:lnTo>
                  <a:lnTo>
                    <a:pt x="605" y="467"/>
                  </a:lnTo>
                  <a:lnTo>
                    <a:pt x="619" y="452"/>
                  </a:lnTo>
                  <a:lnTo>
                    <a:pt x="633" y="437"/>
                  </a:lnTo>
                  <a:lnTo>
                    <a:pt x="643" y="418"/>
                  </a:lnTo>
                  <a:lnTo>
                    <a:pt x="652" y="400"/>
                  </a:lnTo>
                  <a:lnTo>
                    <a:pt x="660" y="380"/>
                  </a:lnTo>
                  <a:lnTo>
                    <a:pt x="665" y="359"/>
                  </a:lnTo>
                  <a:lnTo>
                    <a:pt x="669" y="338"/>
                  </a:lnTo>
                  <a:lnTo>
                    <a:pt x="672" y="315"/>
                  </a:lnTo>
                  <a:lnTo>
                    <a:pt x="672" y="291"/>
                  </a:lnTo>
                  <a:lnTo>
                    <a:pt x="672" y="291"/>
                  </a:lnTo>
                  <a:lnTo>
                    <a:pt x="672" y="268"/>
                  </a:lnTo>
                  <a:lnTo>
                    <a:pt x="669" y="245"/>
                  </a:lnTo>
                  <a:lnTo>
                    <a:pt x="665" y="224"/>
                  </a:lnTo>
                  <a:lnTo>
                    <a:pt x="660" y="204"/>
                  </a:lnTo>
                  <a:lnTo>
                    <a:pt x="652" y="183"/>
                  </a:lnTo>
                  <a:lnTo>
                    <a:pt x="643" y="165"/>
                  </a:lnTo>
                  <a:lnTo>
                    <a:pt x="633" y="147"/>
                  </a:lnTo>
                  <a:lnTo>
                    <a:pt x="619" y="131"/>
                  </a:lnTo>
                  <a:lnTo>
                    <a:pt x="605" y="117"/>
                  </a:lnTo>
                  <a:lnTo>
                    <a:pt x="589" y="103"/>
                  </a:lnTo>
                  <a:lnTo>
                    <a:pt x="580" y="97"/>
                  </a:lnTo>
                  <a:lnTo>
                    <a:pt x="571" y="91"/>
                  </a:lnTo>
                  <a:lnTo>
                    <a:pt x="561" y="86"/>
                  </a:lnTo>
                  <a:lnTo>
                    <a:pt x="552" y="82"/>
                  </a:lnTo>
                  <a:lnTo>
                    <a:pt x="541" y="78"/>
                  </a:lnTo>
                  <a:lnTo>
                    <a:pt x="529" y="74"/>
                  </a:lnTo>
                  <a:lnTo>
                    <a:pt x="518" y="71"/>
                  </a:lnTo>
                  <a:lnTo>
                    <a:pt x="507" y="69"/>
                  </a:lnTo>
                  <a:lnTo>
                    <a:pt x="494" y="67"/>
                  </a:lnTo>
                  <a:lnTo>
                    <a:pt x="481" y="65"/>
                  </a:lnTo>
                  <a:lnTo>
                    <a:pt x="468" y="63"/>
                  </a:lnTo>
                  <a:lnTo>
                    <a:pt x="454" y="63"/>
                  </a:lnTo>
                  <a:lnTo>
                    <a:pt x="302" y="63"/>
                  </a:lnTo>
                  <a:lnTo>
                    <a:pt x="302" y="519"/>
                  </a:lnTo>
                  <a:lnTo>
                    <a:pt x="454" y="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2" name="Freeform 25"/>
            <p:cNvSpPr>
              <a:spLocks noEditPoints="1"/>
            </p:cNvSpPr>
            <p:nvPr userDrawn="1"/>
          </p:nvSpPr>
          <p:spPr bwMode="auto">
            <a:xfrm>
              <a:off x="7451971" y="843129"/>
              <a:ext cx="157162" cy="192088"/>
            </a:xfrm>
            <a:custGeom>
              <a:avLst/>
              <a:gdLst>
                <a:gd name="T0" fmla="*/ 48 w 1195"/>
                <a:gd name="T1" fmla="*/ 1411 h 1449"/>
                <a:gd name="T2" fmla="*/ 115 w 1195"/>
                <a:gd name="T3" fmla="*/ 1397 h 1449"/>
                <a:gd name="T4" fmla="*/ 157 w 1195"/>
                <a:gd name="T5" fmla="*/ 1363 h 1449"/>
                <a:gd name="T6" fmla="*/ 188 w 1195"/>
                <a:gd name="T7" fmla="*/ 1304 h 1449"/>
                <a:gd name="T8" fmla="*/ 990 w 1195"/>
                <a:gd name="T9" fmla="*/ 1263 h 1449"/>
                <a:gd name="T10" fmla="*/ 1025 w 1195"/>
                <a:gd name="T11" fmla="*/ 1337 h 1449"/>
                <a:gd name="T12" fmla="*/ 1059 w 1195"/>
                <a:gd name="T13" fmla="*/ 1383 h 1449"/>
                <a:gd name="T14" fmla="*/ 1111 w 1195"/>
                <a:gd name="T15" fmla="*/ 1406 h 1449"/>
                <a:gd name="T16" fmla="*/ 1195 w 1195"/>
                <a:gd name="T17" fmla="*/ 1413 h 1449"/>
                <a:gd name="T18" fmla="*/ 718 w 1195"/>
                <a:gd name="T19" fmla="*/ 1413 h 1449"/>
                <a:gd name="T20" fmla="*/ 805 w 1195"/>
                <a:gd name="T21" fmla="*/ 1406 h 1449"/>
                <a:gd name="T22" fmla="*/ 854 w 1195"/>
                <a:gd name="T23" fmla="*/ 1382 h 1449"/>
                <a:gd name="T24" fmla="*/ 868 w 1195"/>
                <a:gd name="T25" fmla="*/ 1342 h 1449"/>
                <a:gd name="T26" fmla="*/ 852 w 1195"/>
                <a:gd name="T27" fmla="*/ 1281 h 1449"/>
                <a:gd name="T28" fmla="*/ 269 w 1195"/>
                <a:gd name="T29" fmla="*/ 1281 h 1449"/>
                <a:gd name="T30" fmla="*/ 253 w 1195"/>
                <a:gd name="T31" fmla="*/ 1341 h 1449"/>
                <a:gd name="T32" fmla="*/ 267 w 1195"/>
                <a:gd name="T33" fmla="*/ 1382 h 1449"/>
                <a:gd name="T34" fmla="*/ 316 w 1195"/>
                <a:gd name="T35" fmla="*/ 1405 h 1449"/>
                <a:gd name="T36" fmla="*/ 404 w 1195"/>
                <a:gd name="T37" fmla="*/ 1413 h 1449"/>
                <a:gd name="T38" fmla="*/ 740 w 1195"/>
                <a:gd name="T39" fmla="*/ 1027 h 1449"/>
                <a:gd name="T40" fmla="*/ 450 w 1195"/>
                <a:gd name="T41" fmla="*/ 141 h 1449"/>
                <a:gd name="T42" fmla="*/ 456 w 1195"/>
                <a:gd name="T43" fmla="*/ 99 h 1449"/>
                <a:gd name="T44" fmla="*/ 482 w 1195"/>
                <a:gd name="T45" fmla="*/ 51 h 1449"/>
                <a:gd name="T46" fmla="*/ 524 w 1195"/>
                <a:gd name="T47" fmla="*/ 17 h 1449"/>
                <a:gd name="T48" fmla="*/ 577 w 1195"/>
                <a:gd name="T49" fmla="*/ 1 h 1449"/>
                <a:gd name="T50" fmla="*/ 621 w 1195"/>
                <a:gd name="T51" fmla="*/ 3 h 1449"/>
                <a:gd name="T52" fmla="*/ 672 w 1195"/>
                <a:gd name="T53" fmla="*/ 25 h 1449"/>
                <a:gd name="T54" fmla="*/ 711 w 1195"/>
                <a:gd name="T55" fmla="*/ 62 h 1449"/>
                <a:gd name="T56" fmla="*/ 732 w 1195"/>
                <a:gd name="T57" fmla="*/ 112 h 1449"/>
                <a:gd name="T58" fmla="*/ 734 w 1195"/>
                <a:gd name="T59" fmla="*/ 156 h 1449"/>
                <a:gd name="T60" fmla="*/ 718 w 1195"/>
                <a:gd name="T61" fmla="*/ 210 h 1449"/>
                <a:gd name="T62" fmla="*/ 683 w 1195"/>
                <a:gd name="T63" fmla="*/ 252 h 1449"/>
                <a:gd name="T64" fmla="*/ 634 w 1195"/>
                <a:gd name="T65" fmla="*/ 278 h 1449"/>
                <a:gd name="T66" fmla="*/ 591 w 1195"/>
                <a:gd name="T67" fmla="*/ 284 h 1449"/>
                <a:gd name="T68" fmla="*/ 536 w 1195"/>
                <a:gd name="T69" fmla="*/ 273 h 1449"/>
                <a:gd name="T70" fmla="*/ 491 w 1195"/>
                <a:gd name="T71" fmla="*/ 242 h 1449"/>
                <a:gd name="T72" fmla="*/ 461 w 1195"/>
                <a:gd name="T73" fmla="*/ 197 h 1449"/>
                <a:gd name="T74" fmla="*/ 450 w 1195"/>
                <a:gd name="T75" fmla="*/ 141 h 1449"/>
                <a:gd name="T76" fmla="*/ 671 w 1195"/>
                <a:gd name="T77" fmla="*/ 133 h 1449"/>
                <a:gd name="T78" fmla="*/ 662 w 1195"/>
                <a:gd name="T79" fmla="*/ 104 h 1449"/>
                <a:gd name="T80" fmla="*/ 642 w 1195"/>
                <a:gd name="T81" fmla="*/ 82 h 1449"/>
                <a:gd name="T82" fmla="*/ 615 w 1195"/>
                <a:gd name="T83" fmla="*/ 67 h 1449"/>
                <a:gd name="T84" fmla="*/ 591 w 1195"/>
                <a:gd name="T85" fmla="*/ 63 h 1449"/>
                <a:gd name="T86" fmla="*/ 562 w 1195"/>
                <a:gd name="T87" fmla="*/ 70 h 1449"/>
                <a:gd name="T88" fmla="*/ 536 w 1195"/>
                <a:gd name="T89" fmla="*/ 86 h 1449"/>
                <a:gd name="T90" fmla="*/ 519 w 1195"/>
                <a:gd name="T91" fmla="*/ 111 h 1449"/>
                <a:gd name="T92" fmla="*/ 512 w 1195"/>
                <a:gd name="T93" fmla="*/ 141 h 1449"/>
                <a:gd name="T94" fmla="*/ 516 w 1195"/>
                <a:gd name="T95" fmla="*/ 165 h 1449"/>
                <a:gd name="T96" fmla="*/ 531 w 1195"/>
                <a:gd name="T97" fmla="*/ 191 h 1449"/>
                <a:gd name="T98" fmla="*/ 554 w 1195"/>
                <a:gd name="T99" fmla="*/ 211 h 1449"/>
                <a:gd name="T100" fmla="*/ 584 w 1195"/>
                <a:gd name="T101" fmla="*/ 220 h 1449"/>
                <a:gd name="T102" fmla="*/ 608 w 1195"/>
                <a:gd name="T103" fmla="*/ 219 h 1449"/>
                <a:gd name="T104" fmla="*/ 636 w 1195"/>
                <a:gd name="T105" fmla="*/ 207 h 1449"/>
                <a:gd name="T106" fmla="*/ 658 w 1195"/>
                <a:gd name="T107" fmla="*/ 185 h 1449"/>
                <a:gd name="T108" fmla="*/ 669 w 1195"/>
                <a:gd name="T109" fmla="*/ 157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5" h="1449">
                  <a:moveTo>
                    <a:pt x="0" y="1413"/>
                  </a:moveTo>
                  <a:lnTo>
                    <a:pt x="0" y="1413"/>
                  </a:lnTo>
                  <a:lnTo>
                    <a:pt x="26" y="1412"/>
                  </a:lnTo>
                  <a:lnTo>
                    <a:pt x="48" y="1411"/>
                  </a:lnTo>
                  <a:lnTo>
                    <a:pt x="69" y="1409"/>
                  </a:lnTo>
                  <a:lnTo>
                    <a:pt x="86" y="1406"/>
                  </a:lnTo>
                  <a:lnTo>
                    <a:pt x="101" y="1402"/>
                  </a:lnTo>
                  <a:lnTo>
                    <a:pt x="115" y="1397"/>
                  </a:lnTo>
                  <a:lnTo>
                    <a:pt x="127" y="1391"/>
                  </a:lnTo>
                  <a:lnTo>
                    <a:pt x="138" y="1383"/>
                  </a:lnTo>
                  <a:lnTo>
                    <a:pt x="147" y="1374"/>
                  </a:lnTo>
                  <a:lnTo>
                    <a:pt x="157" y="1363"/>
                  </a:lnTo>
                  <a:lnTo>
                    <a:pt x="165" y="1351"/>
                  </a:lnTo>
                  <a:lnTo>
                    <a:pt x="172" y="1337"/>
                  </a:lnTo>
                  <a:lnTo>
                    <a:pt x="180" y="1321"/>
                  </a:lnTo>
                  <a:lnTo>
                    <a:pt x="188" y="1304"/>
                  </a:lnTo>
                  <a:lnTo>
                    <a:pt x="207" y="1263"/>
                  </a:lnTo>
                  <a:lnTo>
                    <a:pt x="586" y="384"/>
                  </a:lnTo>
                  <a:lnTo>
                    <a:pt x="609" y="384"/>
                  </a:lnTo>
                  <a:lnTo>
                    <a:pt x="990" y="1263"/>
                  </a:lnTo>
                  <a:lnTo>
                    <a:pt x="990" y="1263"/>
                  </a:lnTo>
                  <a:lnTo>
                    <a:pt x="1008" y="1304"/>
                  </a:lnTo>
                  <a:lnTo>
                    <a:pt x="1017" y="1321"/>
                  </a:lnTo>
                  <a:lnTo>
                    <a:pt x="1025" y="1337"/>
                  </a:lnTo>
                  <a:lnTo>
                    <a:pt x="1033" y="1351"/>
                  </a:lnTo>
                  <a:lnTo>
                    <a:pt x="1041" y="1363"/>
                  </a:lnTo>
                  <a:lnTo>
                    <a:pt x="1049" y="1374"/>
                  </a:lnTo>
                  <a:lnTo>
                    <a:pt x="1059" y="1383"/>
                  </a:lnTo>
                  <a:lnTo>
                    <a:pt x="1070" y="1391"/>
                  </a:lnTo>
                  <a:lnTo>
                    <a:pt x="1082" y="1397"/>
                  </a:lnTo>
                  <a:lnTo>
                    <a:pt x="1095" y="1402"/>
                  </a:lnTo>
                  <a:lnTo>
                    <a:pt x="1111" y="1406"/>
                  </a:lnTo>
                  <a:lnTo>
                    <a:pt x="1128" y="1409"/>
                  </a:lnTo>
                  <a:lnTo>
                    <a:pt x="1147" y="1411"/>
                  </a:lnTo>
                  <a:lnTo>
                    <a:pt x="1170" y="1412"/>
                  </a:lnTo>
                  <a:lnTo>
                    <a:pt x="1195" y="1413"/>
                  </a:lnTo>
                  <a:lnTo>
                    <a:pt x="1195" y="1449"/>
                  </a:lnTo>
                  <a:lnTo>
                    <a:pt x="718" y="1449"/>
                  </a:lnTo>
                  <a:lnTo>
                    <a:pt x="718" y="1413"/>
                  </a:lnTo>
                  <a:lnTo>
                    <a:pt x="718" y="1413"/>
                  </a:lnTo>
                  <a:lnTo>
                    <a:pt x="744" y="1412"/>
                  </a:lnTo>
                  <a:lnTo>
                    <a:pt x="766" y="1411"/>
                  </a:lnTo>
                  <a:lnTo>
                    <a:pt x="786" y="1409"/>
                  </a:lnTo>
                  <a:lnTo>
                    <a:pt x="805" y="1406"/>
                  </a:lnTo>
                  <a:lnTo>
                    <a:pt x="820" y="1402"/>
                  </a:lnTo>
                  <a:lnTo>
                    <a:pt x="834" y="1397"/>
                  </a:lnTo>
                  <a:lnTo>
                    <a:pt x="845" y="1390"/>
                  </a:lnTo>
                  <a:lnTo>
                    <a:pt x="854" y="1382"/>
                  </a:lnTo>
                  <a:lnTo>
                    <a:pt x="861" y="1374"/>
                  </a:lnTo>
                  <a:lnTo>
                    <a:pt x="865" y="1365"/>
                  </a:lnTo>
                  <a:lnTo>
                    <a:pt x="868" y="1354"/>
                  </a:lnTo>
                  <a:lnTo>
                    <a:pt x="868" y="1342"/>
                  </a:lnTo>
                  <a:lnTo>
                    <a:pt x="867" y="1329"/>
                  </a:lnTo>
                  <a:lnTo>
                    <a:pt x="864" y="1315"/>
                  </a:lnTo>
                  <a:lnTo>
                    <a:pt x="859" y="1299"/>
                  </a:lnTo>
                  <a:lnTo>
                    <a:pt x="852" y="1281"/>
                  </a:lnTo>
                  <a:lnTo>
                    <a:pt x="769" y="1090"/>
                  </a:lnTo>
                  <a:lnTo>
                    <a:pt x="352" y="1090"/>
                  </a:lnTo>
                  <a:lnTo>
                    <a:pt x="269" y="1281"/>
                  </a:lnTo>
                  <a:lnTo>
                    <a:pt x="269" y="1281"/>
                  </a:lnTo>
                  <a:lnTo>
                    <a:pt x="262" y="1299"/>
                  </a:lnTo>
                  <a:lnTo>
                    <a:pt x="257" y="1314"/>
                  </a:lnTo>
                  <a:lnTo>
                    <a:pt x="254" y="1328"/>
                  </a:lnTo>
                  <a:lnTo>
                    <a:pt x="253" y="1341"/>
                  </a:lnTo>
                  <a:lnTo>
                    <a:pt x="253" y="1353"/>
                  </a:lnTo>
                  <a:lnTo>
                    <a:pt x="256" y="1364"/>
                  </a:lnTo>
                  <a:lnTo>
                    <a:pt x="260" y="1373"/>
                  </a:lnTo>
                  <a:lnTo>
                    <a:pt x="267" y="1382"/>
                  </a:lnTo>
                  <a:lnTo>
                    <a:pt x="276" y="1390"/>
                  </a:lnTo>
                  <a:lnTo>
                    <a:pt x="287" y="1396"/>
                  </a:lnTo>
                  <a:lnTo>
                    <a:pt x="301" y="1401"/>
                  </a:lnTo>
                  <a:lnTo>
                    <a:pt x="316" y="1405"/>
                  </a:lnTo>
                  <a:lnTo>
                    <a:pt x="335" y="1409"/>
                  </a:lnTo>
                  <a:lnTo>
                    <a:pt x="355" y="1411"/>
                  </a:lnTo>
                  <a:lnTo>
                    <a:pt x="378" y="1412"/>
                  </a:lnTo>
                  <a:lnTo>
                    <a:pt x="404" y="1413"/>
                  </a:lnTo>
                  <a:lnTo>
                    <a:pt x="404" y="1449"/>
                  </a:lnTo>
                  <a:lnTo>
                    <a:pt x="0" y="1449"/>
                  </a:lnTo>
                  <a:lnTo>
                    <a:pt x="0" y="1413"/>
                  </a:lnTo>
                  <a:close/>
                  <a:moveTo>
                    <a:pt x="740" y="1027"/>
                  </a:moveTo>
                  <a:lnTo>
                    <a:pt x="558" y="610"/>
                  </a:lnTo>
                  <a:lnTo>
                    <a:pt x="380" y="1027"/>
                  </a:lnTo>
                  <a:lnTo>
                    <a:pt x="740" y="1027"/>
                  </a:lnTo>
                  <a:close/>
                  <a:moveTo>
                    <a:pt x="450" y="141"/>
                  </a:moveTo>
                  <a:lnTo>
                    <a:pt x="450" y="141"/>
                  </a:lnTo>
                  <a:lnTo>
                    <a:pt x="451" y="127"/>
                  </a:lnTo>
                  <a:lnTo>
                    <a:pt x="453" y="112"/>
                  </a:lnTo>
                  <a:lnTo>
                    <a:pt x="456" y="99"/>
                  </a:lnTo>
                  <a:lnTo>
                    <a:pt x="461" y="87"/>
                  </a:lnTo>
                  <a:lnTo>
                    <a:pt x="467" y="74"/>
                  </a:lnTo>
                  <a:lnTo>
                    <a:pt x="474" y="62"/>
                  </a:lnTo>
                  <a:lnTo>
                    <a:pt x="482" y="51"/>
                  </a:lnTo>
                  <a:lnTo>
                    <a:pt x="491" y="42"/>
                  </a:lnTo>
                  <a:lnTo>
                    <a:pt x="501" y="33"/>
                  </a:lnTo>
                  <a:lnTo>
                    <a:pt x="512" y="25"/>
                  </a:lnTo>
                  <a:lnTo>
                    <a:pt x="524" y="17"/>
                  </a:lnTo>
                  <a:lnTo>
                    <a:pt x="536" y="11"/>
                  </a:lnTo>
                  <a:lnTo>
                    <a:pt x="549" y="6"/>
                  </a:lnTo>
                  <a:lnTo>
                    <a:pt x="563" y="3"/>
                  </a:lnTo>
                  <a:lnTo>
                    <a:pt x="577" y="1"/>
                  </a:lnTo>
                  <a:lnTo>
                    <a:pt x="591" y="0"/>
                  </a:lnTo>
                  <a:lnTo>
                    <a:pt x="591" y="0"/>
                  </a:lnTo>
                  <a:lnTo>
                    <a:pt x="607" y="1"/>
                  </a:lnTo>
                  <a:lnTo>
                    <a:pt x="621" y="3"/>
                  </a:lnTo>
                  <a:lnTo>
                    <a:pt x="634" y="6"/>
                  </a:lnTo>
                  <a:lnTo>
                    <a:pt x="647" y="11"/>
                  </a:lnTo>
                  <a:lnTo>
                    <a:pt x="660" y="17"/>
                  </a:lnTo>
                  <a:lnTo>
                    <a:pt x="672" y="25"/>
                  </a:lnTo>
                  <a:lnTo>
                    <a:pt x="683" y="33"/>
                  </a:lnTo>
                  <a:lnTo>
                    <a:pt x="693" y="42"/>
                  </a:lnTo>
                  <a:lnTo>
                    <a:pt x="703" y="51"/>
                  </a:lnTo>
                  <a:lnTo>
                    <a:pt x="711" y="62"/>
                  </a:lnTo>
                  <a:lnTo>
                    <a:pt x="718" y="74"/>
                  </a:lnTo>
                  <a:lnTo>
                    <a:pt x="724" y="87"/>
                  </a:lnTo>
                  <a:lnTo>
                    <a:pt x="728" y="99"/>
                  </a:lnTo>
                  <a:lnTo>
                    <a:pt x="732" y="112"/>
                  </a:lnTo>
                  <a:lnTo>
                    <a:pt x="734" y="127"/>
                  </a:lnTo>
                  <a:lnTo>
                    <a:pt x="735" y="141"/>
                  </a:lnTo>
                  <a:lnTo>
                    <a:pt x="735" y="141"/>
                  </a:lnTo>
                  <a:lnTo>
                    <a:pt x="734" y="156"/>
                  </a:lnTo>
                  <a:lnTo>
                    <a:pt x="732" y="170"/>
                  </a:lnTo>
                  <a:lnTo>
                    <a:pt x="728" y="184"/>
                  </a:lnTo>
                  <a:lnTo>
                    <a:pt x="724" y="197"/>
                  </a:lnTo>
                  <a:lnTo>
                    <a:pt x="718" y="210"/>
                  </a:lnTo>
                  <a:lnTo>
                    <a:pt x="711" y="222"/>
                  </a:lnTo>
                  <a:lnTo>
                    <a:pt x="703" y="232"/>
                  </a:lnTo>
                  <a:lnTo>
                    <a:pt x="693" y="242"/>
                  </a:lnTo>
                  <a:lnTo>
                    <a:pt x="683" y="252"/>
                  </a:lnTo>
                  <a:lnTo>
                    <a:pt x="672" y="260"/>
                  </a:lnTo>
                  <a:lnTo>
                    <a:pt x="660" y="267"/>
                  </a:lnTo>
                  <a:lnTo>
                    <a:pt x="647" y="273"/>
                  </a:lnTo>
                  <a:lnTo>
                    <a:pt x="634" y="278"/>
                  </a:lnTo>
                  <a:lnTo>
                    <a:pt x="621" y="281"/>
                  </a:lnTo>
                  <a:lnTo>
                    <a:pt x="607" y="284"/>
                  </a:lnTo>
                  <a:lnTo>
                    <a:pt x="591" y="284"/>
                  </a:lnTo>
                  <a:lnTo>
                    <a:pt x="591" y="284"/>
                  </a:lnTo>
                  <a:lnTo>
                    <a:pt x="577" y="284"/>
                  </a:lnTo>
                  <a:lnTo>
                    <a:pt x="563" y="281"/>
                  </a:lnTo>
                  <a:lnTo>
                    <a:pt x="549" y="278"/>
                  </a:lnTo>
                  <a:lnTo>
                    <a:pt x="536" y="273"/>
                  </a:lnTo>
                  <a:lnTo>
                    <a:pt x="524" y="267"/>
                  </a:lnTo>
                  <a:lnTo>
                    <a:pt x="512" y="260"/>
                  </a:lnTo>
                  <a:lnTo>
                    <a:pt x="501" y="252"/>
                  </a:lnTo>
                  <a:lnTo>
                    <a:pt x="491" y="242"/>
                  </a:lnTo>
                  <a:lnTo>
                    <a:pt x="482" y="232"/>
                  </a:lnTo>
                  <a:lnTo>
                    <a:pt x="474" y="222"/>
                  </a:lnTo>
                  <a:lnTo>
                    <a:pt x="467" y="210"/>
                  </a:lnTo>
                  <a:lnTo>
                    <a:pt x="461" y="197"/>
                  </a:lnTo>
                  <a:lnTo>
                    <a:pt x="456" y="184"/>
                  </a:lnTo>
                  <a:lnTo>
                    <a:pt x="453" y="170"/>
                  </a:lnTo>
                  <a:lnTo>
                    <a:pt x="451" y="156"/>
                  </a:lnTo>
                  <a:lnTo>
                    <a:pt x="450" y="141"/>
                  </a:lnTo>
                  <a:lnTo>
                    <a:pt x="450" y="141"/>
                  </a:lnTo>
                  <a:close/>
                  <a:moveTo>
                    <a:pt x="671" y="141"/>
                  </a:moveTo>
                  <a:lnTo>
                    <a:pt x="671" y="141"/>
                  </a:lnTo>
                  <a:lnTo>
                    <a:pt x="671" y="133"/>
                  </a:lnTo>
                  <a:lnTo>
                    <a:pt x="669" y="126"/>
                  </a:lnTo>
                  <a:lnTo>
                    <a:pt x="668" y="119"/>
                  </a:lnTo>
                  <a:lnTo>
                    <a:pt x="665" y="111"/>
                  </a:lnTo>
                  <a:lnTo>
                    <a:pt x="662" y="104"/>
                  </a:lnTo>
                  <a:lnTo>
                    <a:pt x="658" y="98"/>
                  </a:lnTo>
                  <a:lnTo>
                    <a:pt x="653" y="92"/>
                  </a:lnTo>
                  <a:lnTo>
                    <a:pt x="647" y="86"/>
                  </a:lnTo>
                  <a:lnTo>
                    <a:pt x="642" y="82"/>
                  </a:lnTo>
                  <a:lnTo>
                    <a:pt x="636" y="77"/>
                  </a:lnTo>
                  <a:lnTo>
                    <a:pt x="629" y="73"/>
                  </a:lnTo>
                  <a:lnTo>
                    <a:pt x="622" y="70"/>
                  </a:lnTo>
                  <a:lnTo>
                    <a:pt x="615" y="67"/>
                  </a:lnTo>
                  <a:lnTo>
                    <a:pt x="608" y="65"/>
                  </a:lnTo>
                  <a:lnTo>
                    <a:pt x="599" y="64"/>
                  </a:lnTo>
                  <a:lnTo>
                    <a:pt x="591" y="63"/>
                  </a:lnTo>
                  <a:lnTo>
                    <a:pt x="591" y="63"/>
                  </a:lnTo>
                  <a:lnTo>
                    <a:pt x="584" y="64"/>
                  </a:lnTo>
                  <a:lnTo>
                    <a:pt x="576" y="65"/>
                  </a:lnTo>
                  <a:lnTo>
                    <a:pt x="569" y="67"/>
                  </a:lnTo>
                  <a:lnTo>
                    <a:pt x="562" y="70"/>
                  </a:lnTo>
                  <a:lnTo>
                    <a:pt x="554" y="73"/>
                  </a:lnTo>
                  <a:lnTo>
                    <a:pt x="547" y="77"/>
                  </a:lnTo>
                  <a:lnTo>
                    <a:pt x="541" y="82"/>
                  </a:lnTo>
                  <a:lnTo>
                    <a:pt x="536" y="86"/>
                  </a:lnTo>
                  <a:lnTo>
                    <a:pt x="531" y="92"/>
                  </a:lnTo>
                  <a:lnTo>
                    <a:pt x="526" y="98"/>
                  </a:lnTo>
                  <a:lnTo>
                    <a:pt x="522" y="104"/>
                  </a:lnTo>
                  <a:lnTo>
                    <a:pt x="519" y="111"/>
                  </a:lnTo>
                  <a:lnTo>
                    <a:pt x="516" y="119"/>
                  </a:lnTo>
                  <a:lnTo>
                    <a:pt x="513" y="126"/>
                  </a:lnTo>
                  <a:lnTo>
                    <a:pt x="512" y="133"/>
                  </a:lnTo>
                  <a:lnTo>
                    <a:pt x="512" y="141"/>
                  </a:lnTo>
                  <a:lnTo>
                    <a:pt x="512" y="141"/>
                  </a:lnTo>
                  <a:lnTo>
                    <a:pt x="512" y="149"/>
                  </a:lnTo>
                  <a:lnTo>
                    <a:pt x="513" y="157"/>
                  </a:lnTo>
                  <a:lnTo>
                    <a:pt x="516" y="165"/>
                  </a:lnTo>
                  <a:lnTo>
                    <a:pt x="519" y="172"/>
                  </a:lnTo>
                  <a:lnTo>
                    <a:pt x="522" y="179"/>
                  </a:lnTo>
                  <a:lnTo>
                    <a:pt x="526" y="185"/>
                  </a:lnTo>
                  <a:lnTo>
                    <a:pt x="531" y="191"/>
                  </a:lnTo>
                  <a:lnTo>
                    <a:pt x="536" y="197"/>
                  </a:lnTo>
                  <a:lnTo>
                    <a:pt x="541" y="202"/>
                  </a:lnTo>
                  <a:lnTo>
                    <a:pt x="547" y="207"/>
                  </a:lnTo>
                  <a:lnTo>
                    <a:pt x="554" y="211"/>
                  </a:lnTo>
                  <a:lnTo>
                    <a:pt x="562" y="215"/>
                  </a:lnTo>
                  <a:lnTo>
                    <a:pt x="569" y="217"/>
                  </a:lnTo>
                  <a:lnTo>
                    <a:pt x="576" y="219"/>
                  </a:lnTo>
                  <a:lnTo>
                    <a:pt x="584" y="220"/>
                  </a:lnTo>
                  <a:lnTo>
                    <a:pt x="591" y="221"/>
                  </a:lnTo>
                  <a:lnTo>
                    <a:pt x="591" y="221"/>
                  </a:lnTo>
                  <a:lnTo>
                    <a:pt x="599" y="220"/>
                  </a:lnTo>
                  <a:lnTo>
                    <a:pt x="608" y="219"/>
                  </a:lnTo>
                  <a:lnTo>
                    <a:pt x="615" y="217"/>
                  </a:lnTo>
                  <a:lnTo>
                    <a:pt x="622" y="215"/>
                  </a:lnTo>
                  <a:lnTo>
                    <a:pt x="629" y="211"/>
                  </a:lnTo>
                  <a:lnTo>
                    <a:pt x="636" y="207"/>
                  </a:lnTo>
                  <a:lnTo>
                    <a:pt x="642" y="202"/>
                  </a:lnTo>
                  <a:lnTo>
                    <a:pt x="647" y="197"/>
                  </a:lnTo>
                  <a:lnTo>
                    <a:pt x="653" y="191"/>
                  </a:lnTo>
                  <a:lnTo>
                    <a:pt x="658" y="185"/>
                  </a:lnTo>
                  <a:lnTo>
                    <a:pt x="662" y="179"/>
                  </a:lnTo>
                  <a:lnTo>
                    <a:pt x="665" y="172"/>
                  </a:lnTo>
                  <a:lnTo>
                    <a:pt x="668" y="165"/>
                  </a:lnTo>
                  <a:lnTo>
                    <a:pt x="669" y="157"/>
                  </a:lnTo>
                  <a:lnTo>
                    <a:pt x="671" y="149"/>
                  </a:lnTo>
                  <a:lnTo>
                    <a:pt x="671" y="141"/>
                  </a:lnTo>
                  <a:lnTo>
                    <a:pt x="671" y="1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3" name="Freeform 26"/>
            <p:cNvSpPr>
              <a:spLocks noEditPoints="1"/>
            </p:cNvSpPr>
            <p:nvPr userDrawn="1"/>
          </p:nvSpPr>
          <p:spPr bwMode="auto">
            <a:xfrm>
              <a:off x="7626596" y="898693"/>
              <a:ext cx="138114" cy="136525"/>
            </a:xfrm>
            <a:custGeom>
              <a:avLst/>
              <a:gdLst>
                <a:gd name="T0" fmla="*/ 48 w 1043"/>
                <a:gd name="T1" fmla="*/ 997 h 1035"/>
                <a:gd name="T2" fmla="*/ 115 w 1043"/>
                <a:gd name="T3" fmla="*/ 981 h 1035"/>
                <a:gd name="T4" fmla="*/ 135 w 1043"/>
                <a:gd name="T5" fmla="*/ 962 h 1035"/>
                <a:gd name="T6" fmla="*/ 155 w 1043"/>
                <a:gd name="T7" fmla="*/ 920 h 1035"/>
                <a:gd name="T8" fmla="*/ 164 w 1043"/>
                <a:gd name="T9" fmla="*/ 827 h 1035"/>
                <a:gd name="T10" fmla="*/ 164 w 1043"/>
                <a:gd name="T11" fmla="*/ 206 h 1035"/>
                <a:gd name="T12" fmla="*/ 155 w 1043"/>
                <a:gd name="T13" fmla="*/ 114 h 1035"/>
                <a:gd name="T14" fmla="*/ 135 w 1043"/>
                <a:gd name="T15" fmla="*/ 72 h 1035"/>
                <a:gd name="T16" fmla="*/ 115 w 1043"/>
                <a:gd name="T17" fmla="*/ 54 h 1035"/>
                <a:gd name="T18" fmla="*/ 48 w 1043"/>
                <a:gd name="T19" fmla="*/ 38 h 1035"/>
                <a:gd name="T20" fmla="*/ 468 w 1043"/>
                <a:gd name="T21" fmla="*/ 0 h 1035"/>
                <a:gd name="T22" fmla="*/ 574 w 1043"/>
                <a:gd name="T23" fmla="*/ 6 h 1035"/>
                <a:gd name="T24" fmla="*/ 699 w 1043"/>
                <a:gd name="T25" fmla="*/ 32 h 1035"/>
                <a:gd name="T26" fmla="*/ 803 w 1043"/>
                <a:gd name="T27" fmla="*/ 75 h 1035"/>
                <a:gd name="T28" fmla="*/ 888 w 1043"/>
                <a:gd name="T29" fmla="*/ 135 h 1035"/>
                <a:gd name="T30" fmla="*/ 953 w 1043"/>
                <a:gd name="T31" fmla="*/ 209 h 1035"/>
                <a:gd name="T32" fmla="*/ 1001 w 1043"/>
                <a:gd name="T33" fmla="*/ 294 h 1035"/>
                <a:gd name="T34" fmla="*/ 1031 w 1043"/>
                <a:gd name="T35" fmla="*/ 389 h 1035"/>
                <a:gd name="T36" fmla="*/ 1043 w 1043"/>
                <a:gd name="T37" fmla="*/ 491 h 1035"/>
                <a:gd name="T38" fmla="*/ 1041 w 1043"/>
                <a:gd name="T39" fmla="*/ 570 h 1035"/>
                <a:gd name="T40" fmla="*/ 1025 w 1043"/>
                <a:gd name="T41" fmla="*/ 671 h 1035"/>
                <a:gd name="T42" fmla="*/ 991 w 1043"/>
                <a:gd name="T43" fmla="*/ 764 h 1035"/>
                <a:gd name="T44" fmla="*/ 939 w 1043"/>
                <a:gd name="T45" fmla="*/ 846 h 1035"/>
                <a:gd name="T46" fmla="*/ 868 w 1043"/>
                <a:gd name="T47" fmla="*/ 916 h 1035"/>
                <a:gd name="T48" fmla="*/ 779 w 1043"/>
                <a:gd name="T49" fmla="*/ 972 h 1035"/>
                <a:gd name="T50" fmla="*/ 670 w 1043"/>
                <a:gd name="T51" fmla="*/ 1011 h 1035"/>
                <a:gd name="T52" fmla="*/ 540 w 1043"/>
                <a:gd name="T53" fmla="*/ 1032 h 1035"/>
                <a:gd name="T54" fmla="*/ 0 w 1043"/>
                <a:gd name="T55" fmla="*/ 999 h 1035"/>
                <a:gd name="T56" fmla="*/ 529 w 1043"/>
                <a:gd name="T57" fmla="*/ 968 h 1035"/>
                <a:gd name="T58" fmla="*/ 631 w 1043"/>
                <a:gd name="T59" fmla="*/ 947 h 1035"/>
                <a:gd name="T60" fmla="*/ 713 w 1043"/>
                <a:gd name="T61" fmla="*/ 906 h 1035"/>
                <a:gd name="T62" fmla="*/ 775 w 1043"/>
                <a:gd name="T63" fmla="*/ 852 h 1035"/>
                <a:gd name="T64" fmla="*/ 820 w 1043"/>
                <a:gd name="T65" fmla="*/ 785 h 1035"/>
                <a:gd name="T66" fmla="*/ 851 w 1043"/>
                <a:gd name="T67" fmla="*/ 712 h 1035"/>
                <a:gd name="T68" fmla="*/ 869 w 1043"/>
                <a:gd name="T69" fmla="*/ 634 h 1035"/>
                <a:gd name="T70" fmla="*/ 878 w 1043"/>
                <a:gd name="T71" fmla="*/ 517 h 1035"/>
                <a:gd name="T72" fmla="*/ 865 w 1043"/>
                <a:gd name="T73" fmla="*/ 380 h 1035"/>
                <a:gd name="T74" fmla="*/ 845 w 1043"/>
                <a:gd name="T75" fmla="*/ 304 h 1035"/>
                <a:gd name="T76" fmla="*/ 810 w 1043"/>
                <a:gd name="T77" fmla="*/ 231 h 1035"/>
                <a:gd name="T78" fmla="*/ 761 w 1043"/>
                <a:gd name="T79" fmla="*/ 168 h 1035"/>
                <a:gd name="T80" fmla="*/ 695 w 1043"/>
                <a:gd name="T81" fmla="*/ 117 h 1035"/>
                <a:gd name="T82" fmla="*/ 608 w 1043"/>
                <a:gd name="T83" fmla="*/ 81 h 1035"/>
                <a:gd name="T84" fmla="*/ 500 w 1043"/>
                <a:gd name="T85" fmla="*/ 65 h 1035"/>
                <a:gd name="T86" fmla="*/ 302 w 1043"/>
                <a:gd name="T87" fmla="*/ 771 h 1035"/>
                <a:gd name="T88" fmla="*/ 307 w 1043"/>
                <a:gd name="T89" fmla="*/ 875 h 1035"/>
                <a:gd name="T90" fmla="*/ 324 w 1043"/>
                <a:gd name="T91" fmla="*/ 931 h 1035"/>
                <a:gd name="T92" fmla="*/ 344 w 1043"/>
                <a:gd name="T93" fmla="*/ 950 h 1035"/>
                <a:gd name="T94" fmla="*/ 395 w 1043"/>
                <a:gd name="T95" fmla="*/ 967 h 1035"/>
                <a:gd name="T96" fmla="*/ 469 w 1043"/>
                <a:gd name="T97" fmla="*/ 971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3" h="1035">
                  <a:moveTo>
                    <a:pt x="0" y="999"/>
                  </a:moveTo>
                  <a:lnTo>
                    <a:pt x="0" y="999"/>
                  </a:lnTo>
                  <a:lnTo>
                    <a:pt x="25" y="998"/>
                  </a:lnTo>
                  <a:lnTo>
                    <a:pt x="48" y="997"/>
                  </a:lnTo>
                  <a:lnTo>
                    <a:pt x="68" y="995"/>
                  </a:lnTo>
                  <a:lnTo>
                    <a:pt x="86" y="991"/>
                  </a:lnTo>
                  <a:lnTo>
                    <a:pt x="102" y="987"/>
                  </a:lnTo>
                  <a:lnTo>
                    <a:pt x="115" y="981"/>
                  </a:lnTo>
                  <a:lnTo>
                    <a:pt x="121" y="977"/>
                  </a:lnTo>
                  <a:lnTo>
                    <a:pt x="126" y="972"/>
                  </a:lnTo>
                  <a:lnTo>
                    <a:pt x="131" y="967"/>
                  </a:lnTo>
                  <a:lnTo>
                    <a:pt x="135" y="962"/>
                  </a:lnTo>
                  <a:lnTo>
                    <a:pt x="139" y="957"/>
                  </a:lnTo>
                  <a:lnTo>
                    <a:pt x="143" y="951"/>
                  </a:lnTo>
                  <a:lnTo>
                    <a:pt x="150" y="937"/>
                  </a:lnTo>
                  <a:lnTo>
                    <a:pt x="155" y="920"/>
                  </a:lnTo>
                  <a:lnTo>
                    <a:pt x="158" y="901"/>
                  </a:lnTo>
                  <a:lnTo>
                    <a:pt x="161" y="879"/>
                  </a:lnTo>
                  <a:lnTo>
                    <a:pt x="163" y="855"/>
                  </a:lnTo>
                  <a:lnTo>
                    <a:pt x="164" y="827"/>
                  </a:lnTo>
                  <a:lnTo>
                    <a:pt x="164" y="797"/>
                  </a:lnTo>
                  <a:lnTo>
                    <a:pt x="164" y="236"/>
                  </a:lnTo>
                  <a:lnTo>
                    <a:pt x="164" y="236"/>
                  </a:lnTo>
                  <a:lnTo>
                    <a:pt x="164" y="206"/>
                  </a:lnTo>
                  <a:lnTo>
                    <a:pt x="163" y="178"/>
                  </a:lnTo>
                  <a:lnTo>
                    <a:pt x="161" y="153"/>
                  </a:lnTo>
                  <a:lnTo>
                    <a:pt x="158" y="132"/>
                  </a:lnTo>
                  <a:lnTo>
                    <a:pt x="155" y="114"/>
                  </a:lnTo>
                  <a:lnTo>
                    <a:pt x="150" y="97"/>
                  </a:lnTo>
                  <a:lnTo>
                    <a:pt x="143" y="83"/>
                  </a:lnTo>
                  <a:lnTo>
                    <a:pt x="139" y="77"/>
                  </a:lnTo>
                  <a:lnTo>
                    <a:pt x="135" y="72"/>
                  </a:lnTo>
                  <a:lnTo>
                    <a:pt x="131" y="67"/>
                  </a:lnTo>
                  <a:lnTo>
                    <a:pt x="126" y="61"/>
                  </a:lnTo>
                  <a:lnTo>
                    <a:pt x="121" y="57"/>
                  </a:lnTo>
                  <a:lnTo>
                    <a:pt x="115" y="54"/>
                  </a:lnTo>
                  <a:lnTo>
                    <a:pt x="102" y="48"/>
                  </a:lnTo>
                  <a:lnTo>
                    <a:pt x="86" y="43"/>
                  </a:lnTo>
                  <a:lnTo>
                    <a:pt x="68" y="40"/>
                  </a:lnTo>
                  <a:lnTo>
                    <a:pt x="48" y="38"/>
                  </a:lnTo>
                  <a:lnTo>
                    <a:pt x="25" y="37"/>
                  </a:lnTo>
                  <a:lnTo>
                    <a:pt x="0" y="36"/>
                  </a:lnTo>
                  <a:lnTo>
                    <a:pt x="0" y="0"/>
                  </a:lnTo>
                  <a:lnTo>
                    <a:pt x="468" y="0"/>
                  </a:lnTo>
                  <a:lnTo>
                    <a:pt x="468" y="0"/>
                  </a:lnTo>
                  <a:lnTo>
                    <a:pt x="504" y="0"/>
                  </a:lnTo>
                  <a:lnTo>
                    <a:pt x="540" y="2"/>
                  </a:lnTo>
                  <a:lnTo>
                    <a:pt x="574" y="6"/>
                  </a:lnTo>
                  <a:lnTo>
                    <a:pt x="608" y="10"/>
                  </a:lnTo>
                  <a:lnTo>
                    <a:pt x="639" y="16"/>
                  </a:lnTo>
                  <a:lnTo>
                    <a:pt x="670" y="24"/>
                  </a:lnTo>
                  <a:lnTo>
                    <a:pt x="699" y="32"/>
                  </a:lnTo>
                  <a:lnTo>
                    <a:pt x="727" y="41"/>
                  </a:lnTo>
                  <a:lnTo>
                    <a:pt x="754" y="51"/>
                  </a:lnTo>
                  <a:lnTo>
                    <a:pt x="779" y="62"/>
                  </a:lnTo>
                  <a:lnTo>
                    <a:pt x="803" y="75"/>
                  </a:lnTo>
                  <a:lnTo>
                    <a:pt x="827" y="88"/>
                  </a:lnTo>
                  <a:lnTo>
                    <a:pt x="848" y="103"/>
                  </a:lnTo>
                  <a:lnTo>
                    <a:pt x="868" y="119"/>
                  </a:lnTo>
                  <a:lnTo>
                    <a:pt x="888" y="135"/>
                  </a:lnTo>
                  <a:lnTo>
                    <a:pt x="906" y="151"/>
                  </a:lnTo>
                  <a:lnTo>
                    <a:pt x="924" y="170"/>
                  </a:lnTo>
                  <a:lnTo>
                    <a:pt x="939" y="188"/>
                  </a:lnTo>
                  <a:lnTo>
                    <a:pt x="953" y="209"/>
                  </a:lnTo>
                  <a:lnTo>
                    <a:pt x="968" y="228"/>
                  </a:lnTo>
                  <a:lnTo>
                    <a:pt x="980" y="250"/>
                  </a:lnTo>
                  <a:lnTo>
                    <a:pt x="991" y="271"/>
                  </a:lnTo>
                  <a:lnTo>
                    <a:pt x="1001" y="294"/>
                  </a:lnTo>
                  <a:lnTo>
                    <a:pt x="1010" y="316"/>
                  </a:lnTo>
                  <a:lnTo>
                    <a:pt x="1018" y="340"/>
                  </a:lnTo>
                  <a:lnTo>
                    <a:pt x="1025" y="364"/>
                  </a:lnTo>
                  <a:lnTo>
                    <a:pt x="1031" y="389"/>
                  </a:lnTo>
                  <a:lnTo>
                    <a:pt x="1035" y="413"/>
                  </a:lnTo>
                  <a:lnTo>
                    <a:pt x="1039" y="439"/>
                  </a:lnTo>
                  <a:lnTo>
                    <a:pt x="1041" y="464"/>
                  </a:lnTo>
                  <a:lnTo>
                    <a:pt x="1043" y="491"/>
                  </a:lnTo>
                  <a:lnTo>
                    <a:pt x="1043" y="517"/>
                  </a:lnTo>
                  <a:lnTo>
                    <a:pt x="1043" y="517"/>
                  </a:lnTo>
                  <a:lnTo>
                    <a:pt x="1043" y="544"/>
                  </a:lnTo>
                  <a:lnTo>
                    <a:pt x="1041" y="570"/>
                  </a:lnTo>
                  <a:lnTo>
                    <a:pt x="1039" y="596"/>
                  </a:lnTo>
                  <a:lnTo>
                    <a:pt x="1035" y="622"/>
                  </a:lnTo>
                  <a:lnTo>
                    <a:pt x="1031" y="646"/>
                  </a:lnTo>
                  <a:lnTo>
                    <a:pt x="1025" y="671"/>
                  </a:lnTo>
                  <a:lnTo>
                    <a:pt x="1018" y="694"/>
                  </a:lnTo>
                  <a:lnTo>
                    <a:pt x="1010" y="718"/>
                  </a:lnTo>
                  <a:lnTo>
                    <a:pt x="1001" y="741"/>
                  </a:lnTo>
                  <a:lnTo>
                    <a:pt x="991" y="764"/>
                  </a:lnTo>
                  <a:lnTo>
                    <a:pt x="980" y="785"/>
                  </a:lnTo>
                  <a:lnTo>
                    <a:pt x="968" y="806"/>
                  </a:lnTo>
                  <a:lnTo>
                    <a:pt x="953" y="826"/>
                  </a:lnTo>
                  <a:lnTo>
                    <a:pt x="939" y="846"/>
                  </a:lnTo>
                  <a:lnTo>
                    <a:pt x="924" y="865"/>
                  </a:lnTo>
                  <a:lnTo>
                    <a:pt x="906" y="882"/>
                  </a:lnTo>
                  <a:lnTo>
                    <a:pt x="888" y="900"/>
                  </a:lnTo>
                  <a:lnTo>
                    <a:pt x="868" y="916"/>
                  </a:lnTo>
                  <a:lnTo>
                    <a:pt x="848" y="932"/>
                  </a:lnTo>
                  <a:lnTo>
                    <a:pt x="827" y="946"/>
                  </a:lnTo>
                  <a:lnTo>
                    <a:pt x="803" y="959"/>
                  </a:lnTo>
                  <a:lnTo>
                    <a:pt x="779" y="972"/>
                  </a:lnTo>
                  <a:lnTo>
                    <a:pt x="754" y="984"/>
                  </a:lnTo>
                  <a:lnTo>
                    <a:pt x="727" y="994"/>
                  </a:lnTo>
                  <a:lnTo>
                    <a:pt x="699" y="1003"/>
                  </a:lnTo>
                  <a:lnTo>
                    <a:pt x="670" y="1011"/>
                  </a:lnTo>
                  <a:lnTo>
                    <a:pt x="639" y="1018"/>
                  </a:lnTo>
                  <a:lnTo>
                    <a:pt x="608" y="1025"/>
                  </a:lnTo>
                  <a:lnTo>
                    <a:pt x="574" y="1029"/>
                  </a:lnTo>
                  <a:lnTo>
                    <a:pt x="540" y="1032"/>
                  </a:lnTo>
                  <a:lnTo>
                    <a:pt x="504" y="1034"/>
                  </a:lnTo>
                  <a:lnTo>
                    <a:pt x="468" y="1035"/>
                  </a:lnTo>
                  <a:lnTo>
                    <a:pt x="0" y="1035"/>
                  </a:lnTo>
                  <a:lnTo>
                    <a:pt x="0" y="999"/>
                  </a:lnTo>
                  <a:close/>
                  <a:moveTo>
                    <a:pt x="469" y="971"/>
                  </a:moveTo>
                  <a:lnTo>
                    <a:pt x="469" y="971"/>
                  </a:lnTo>
                  <a:lnTo>
                    <a:pt x="500" y="970"/>
                  </a:lnTo>
                  <a:lnTo>
                    <a:pt x="529" y="968"/>
                  </a:lnTo>
                  <a:lnTo>
                    <a:pt x="557" y="964"/>
                  </a:lnTo>
                  <a:lnTo>
                    <a:pt x="583" y="960"/>
                  </a:lnTo>
                  <a:lnTo>
                    <a:pt x="608" y="954"/>
                  </a:lnTo>
                  <a:lnTo>
                    <a:pt x="631" y="947"/>
                  </a:lnTo>
                  <a:lnTo>
                    <a:pt x="654" y="938"/>
                  </a:lnTo>
                  <a:lnTo>
                    <a:pt x="675" y="928"/>
                  </a:lnTo>
                  <a:lnTo>
                    <a:pt x="695" y="918"/>
                  </a:lnTo>
                  <a:lnTo>
                    <a:pt x="713" y="906"/>
                  </a:lnTo>
                  <a:lnTo>
                    <a:pt x="730" y="894"/>
                  </a:lnTo>
                  <a:lnTo>
                    <a:pt x="747" y="880"/>
                  </a:lnTo>
                  <a:lnTo>
                    <a:pt x="761" y="866"/>
                  </a:lnTo>
                  <a:lnTo>
                    <a:pt x="775" y="852"/>
                  </a:lnTo>
                  <a:lnTo>
                    <a:pt x="788" y="836"/>
                  </a:lnTo>
                  <a:lnTo>
                    <a:pt x="800" y="820"/>
                  </a:lnTo>
                  <a:lnTo>
                    <a:pt x="810" y="803"/>
                  </a:lnTo>
                  <a:lnTo>
                    <a:pt x="820" y="785"/>
                  </a:lnTo>
                  <a:lnTo>
                    <a:pt x="830" y="768"/>
                  </a:lnTo>
                  <a:lnTo>
                    <a:pt x="838" y="750"/>
                  </a:lnTo>
                  <a:lnTo>
                    <a:pt x="845" y="731"/>
                  </a:lnTo>
                  <a:lnTo>
                    <a:pt x="851" y="712"/>
                  </a:lnTo>
                  <a:lnTo>
                    <a:pt x="856" y="692"/>
                  </a:lnTo>
                  <a:lnTo>
                    <a:pt x="861" y="673"/>
                  </a:lnTo>
                  <a:lnTo>
                    <a:pt x="865" y="653"/>
                  </a:lnTo>
                  <a:lnTo>
                    <a:pt x="869" y="634"/>
                  </a:lnTo>
                  <a:lnTo>
                    <a:pt x="875" y="595"/>
                  </a:lnTo>
                  <a:lnTo>
                    <a:pt x="877" y="555"/>
                  </a:lnTo>
                  <a:lnTo>
                    <a:pt x="878" y="517"/>
                  </a:lnTo>
                  <a:lnTo>
                    <a:pt x="878" y="517"/>
                  </a:lnTo>
                  <a:lnTo>
                    <a:pt x="877" y="479"/>
                  </a:lnTo>
                  <a:lnTo>
                    <a:pt x="875" y="440"/>
                  </a:lnTo>
                  <a:lnTo>
                    <a:pt x="869" y="401"/>
                  </a:lnTo>
                  <a:lnTo>
                    <a:pt x="865" y="380"/>
                  </a:lnTo>
                  <a:lnTo>
                    <a:pt x="861" y="361"/>
                  </a:lnTo>
                  <a:lnTo>
                    <a:pt x="856" y="342"/>
                  </a:lnTo>
                  <a:lnTo>
                    <a:pt x="851" y="323"/>
                  </a:lnTo>
                  <a:lnTo>
                    <a:pt x="845" y="304"/>
                  </a:lnTo>
                  <a:lnTo>
                    <a:pt x="838" y="285"/>
                  </a:lnTo>
                  <a:lnTo>
                    <a:pt x="830" y="267"/>
                  </a:lnTo>
                  <a:lnTo>
                    <a:pt x="820" y="249"/>
                  </a:lnTo>
                  <a:lnTo>
                    <a:pt x="810" y="231"/>
                  </a:lnTo>
                  <a:lnTo>
                    <a:pt x="800" y="215"/>
                  </a:lnTo>
                  <a:lnTo>
                    <a:pt x="788" y="198"/>
                  </a:lnTo>
                  <a:lnTo>
                    <a:pt x="775" y="183"/>
                  </a:lnTo>
                  <a:lnTo>
                    <a:pt x="761" y="168"/>
                  </a:lnTo>
                  <a:lnTo>
                    <a:pt x="747" y="154"/>
                  </a:lnTo>
                  <a:lnTo>
                    <a:pt x="730" y="140"/>
                  </a:lnTo>
                  <a:lnTo>
                    <a:pt x="713" y="128"/>
                  </a:lnTo>
                  <a:lnTo>
                    <a:pt x="695" y="117"/>
                  </a:lnTo>
                  <a:lnTo>
                    <a:pt x="675" y="106"/>
                  </a:lnTo>
                  <a:lnTo>
                    <a:pt x="654" y="96"/>
                  </a:lnTo>
                  <a:lnTo>
                    <a:pt x="631" y="88"/>
                  </a:lnTo>
                  <a:lnTo>
                    <a:pt x="608" y="81"/>
                  </a:lnTo>
                  <a:lnTo>
                    <a:pt x="583" y="75"/>
                  </a:lnTo>
                  <a:lnTo>
                    <a:pt x="557" y="70"/>
                  </a:lnTo>
                  <a:lnTo>
                    <a:pt x="529" y="67"/>
                  </a:lnTo>
                  <a:lnTo>
                    <a:pt x="500" y="65"/>
                  </a:lnTo>
                  <a:lnTo>
                    <a:pt x="469" y="63"/>
                  </a:lnTo>
                  <a:lnTo>
                    <a:pt x="302" y="63"/>
                  </a:lnTo>
                  <a:lnTo>
                    <a:pt x="302" y="771"/>
                  </a:lnTo>
                  <a:lnTo>
                    <a:pt x="302" y="771"/>
                  </a:lnTo>
                  <a:lnTo>
                    <a:pt x="302" y="802"/>
                  </a:lnTo>
                  <a:lnTo>
                    <a:pt x="303" y="829"/>
                  </a:lnTo>
                  <a:lnTo>
                    <a:pt x="304" y="854"/>
                  </a:lnTo>
                  <a:lnTo>
                    <a:pt x="307" y="875"/>
                  </a:lnTo>
                  <a:lnTo>
                    <a:pt x="310" y="894"/>
                  </a:lnTo>
                  <a:lnTo>
                    <a:pt x="315" y="910"/>
                  </a:lnTo>
                  <a:lnTo>
                    <a:pt x="321" y="924"/>
                  </a:lnTo>
                  <a:lnTo>
                    <a:pt x="324" y="931"/>
                  </a:lnTo>
                  <a:lnTo>
                    <a:pt x="329" y="936"/>
                  </a:lnTo>
                  <a:lnTo>
                    <a:pt x="334" y="941"/>
                  </a:lnTo>
                  <a:lnTo>
                    <a:pt x="338" y="946"/>
                  </a:lnTo>
                  <a:lnTo>
                    <a:pt x="344" y="950"/>
                  </a:lnTo>
                  <a:lnTo>
                    <a:pt x="349" y="953"/>
                  </a:lnTo>
                  <a:lnTo>
                    <a:pt x="362" y="959"/>
                  </a:lnTo>
                  <a:lnTo>
                    <a:pt x="378" y="964"/>
                  </a:lnTo>
                  <a:lnTo>
                    <a:pt x="395" y="967"/>
                  </a:lnTo>
                  <a:lnTo>
                    <a:pt x="414" y="969"/>
                  </a:lnTo>
                  <a:lnTo>
                    <a:pt x="437" y="970"/>
                  </a:lnTo>
                  <a:lnTo>
                    <a:pt x="463" y="971"/>
                  </a:lnTo>
                  <a:lnTo>
                    <a:pt x="469" y="9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4" name="Freeform 27"/>
            <p:cNvSpPr>
              <a:spLocks/>
            </p:cNvSpPr>
            <p:nvPr userDrawn="1"/>
          </p:nvSpPr>
          <p:spPr bwMode="auto">
            <a:xfrm>
              <a:off x="7801221" y="898693"/>
              <a:ext cx="112713" cy="136525"/>
            </a:xfrm>
            <a:custGeom>
              <a:avLst/>
              <a:gdLst>
                <a:gd name="T0" fmla="*/ 26 w 859"/>
                <a:gd name="T1" fmla="*/ 998 h 1035"/>
                <a:gd name="T2" fmla="*/ 86 w 859"/>
                <a:gd name="T3" fmla="*/ 991 h 1035"/>
                <a:gd name="T4" fmla="*/ 121 w 859"/>
                <a:gd name="T5" fmla="*/ 977 h 1035"/>
                <a:gd name="T6" fmla="*/ 135 w 859"/>
                <a:gd name="T7" fmla="*/ 962 h 1035"/>
                <a:gd name="T8" fmla="*/ 150 w 859"/>
                <a:gd name="T9" fmla="*/ 937 h 1035"/>
                <a:gd name="T10" fmla="*/ 161 w 859"/>
                <a:gd name="T11" fmla="*/ 879 h 1035"/>
                <a:gd name="T12" fmla="*/ 164 w 859"/>
                <a:gd name="T13" fmla="*/ 797 h 1035"/>
                <a:gd name="T14" fmla="*/ 164 w 859"/>
                <a:gd name="T15" fmla="*/ 206 h 1035"/>
                <a:gd name="T16" fmla="*/ 159 w 859"/>
                <a:gd name="T17" fmla="*/ 132 h 1035"/>
                <a:gd name="T18" fmla="*/ 143 w 859"/>
                <a:gd name="T19" fmla="*/ 83 h 1035"/>
                <a:gd name="T20" fmla="*/ 131 w 859"/>
                <a:gd name="T21" fmla="*/ 67 h 1035"/>
                <a:gd name="T22" fmla="*/ 115 w 859"/>
                <a:gd name="T23" fmla="*/ 54 h 1035"/>
                <a:gd name="T24" fmla="*/ 69 w 859"/>
                <a:gd name="T25" fmla="*/ 40 h 1035"/>
                <a:gd name="T26" fmla="*/ 0 w 859"/>
                <a:gd name="T27" fmla="*/ 36 h 1035"/>
                <a:gd name="T28" fmla="*/ 802 w 859"/>
                <a:gd name="T29" fmla="*/ 227 h 1035"/>
                <a:gd name="T30" fmla="*/ 757 w 859"/>
                <a:gd name="T31" fmla="*/ 193 h 1035"/>
                <a:gd name="T32" fmla="*/ 739 w 859"/>
                <a:gd name="T33" fmla="*/ 135 h 1035"/>
                <a:gd name="T34" fmla="*/ 717 w 859"/>
                <a:gd name="T35" fmla="*/ 103 h 1035"/>
                <a:gd name="T36" fmla="*/ 684 w 859"/>
                <a:gd name="T37" fmla="*/ 81 h 1035"/>
                <a:gd name="T38" fmla="*/ 632 w 859"/>
                <a:gd name="T39" fmla="*/ 68 h 1035"/>
                <a:gd name="T40" fmla="*/ 558 w 859"/>
                <a:gd name="T41" fmla="*/ 63 h 1035"/>
                <a:gd name="T42" fmla="*/ 388 w 859"/>
                <a:gd name="T43" fmla="*/ 455 h 1035"/>
                <a:gd name="T44" fmla="*/ 446 w 859"/>
                <a:gd name="T45" fmla="*/ 454 h 1035"/>
                <a:gd name="T46" fmla="*/ 512 w 859"/>
                <a:gd name="T47" fmla="*/ 446 h 1035"/>
                <a:gd name="T48" fmla="*/ 547 w 859"/>
                <a:gd name="T49" fmla="*/ 431 h 1035"/>
                <a:gd name="T50" fmla="*/ 563 w 859"/>
                <a:gd name="T51" fmla="*/ 417 h 1035"/>
                <a:gd name="T52" fmla="*/ 577 w 859"/>
                <a:gd name="T53" fmla="*/ 393 h 1035"/>
                <a:gd name="T54" fmla="*/ 587 w 859"/>
                <a:gd name="T55" fmla="*/ 339 h 1035"/>
                <a:gd name="T56" fmla="*/ 625 w 859"/>
                <a:gd name="T57" fmla="*/ 289 h 1035"/>
                <a:gd name="T58" fmla="*/ 588 w 859"/>
                <a:gd name="T59" fmla="*/ 685 h 1035"/>
                <a:gd name="T60" fmla="*/ 585 w 859"/>
                <a:gd name="T61" fmla="*/ 616 h 1035"/>
                <a:gd name="T62" fmla="*/ 571 w 859"/>
                <a:gd name="T63" fmla="*/ 569 h 1035"/>
                <a:gd name="T64" fmla="*/ 559 w 859"/>
                <a:gd name="T65" fmla="*/ 552 h 1035"/>
                <a:gd name="T66" fmla="*/ 541 w 859"/>
                <a:gd name="T67" fmla="*/ 540 h 1035"/>
                <a:gd name="T68" fmla="*/ 492 w 859"/>
                <a:gd name="T69" fmla="*/ 525 h 1035"/>
                <a:gd name="T70" fmla="*/ 419 w 859"/>
                <a:gd name="T71" fmla="*/ 519 h 1035"/>
                <a:gd name="T72" fmla="*/ 302 w 859"/>
                <a:gd name="T73" fmla="*/ 771 h 1035"/>
                <a:gd name="T74" fmla="*/ 303 w 859"/>
                <a:gd name="T75" fmla="*/ 829 h 1035"/>
                <a:gd name="T76" fmla="*/ 311 w 859"/>
                <a:gd name="T77" fmla="*/ 894 h 1035"/>
                <a:gd name="T78" fmla="*/ 326 w 859"/>
                <a:gd name="T79" fmla="*/ 931 h 1035"/>
                <a:gd name="T80" fmla="*/ 340 w 859"/>
                <a:gd name="T81" fmla="*/ 946 h 1035"/>
                <a:gd name="T82" fmla="*/ 364 w 859"/>
                <a:gd name="T83" fmla="*/ 959 h 1035"/>
                <a:gd name="T84" fmla="*/ 417 w 859"/>
                <a:gd name="T85" fmla="*/ 969 h 1035"/>
                <a:gd name="T86" fmla="*/ 614 w 859"/>
                <a:gd name="T87" fmla="*/ 971 h 1035"/>
                <a:gd name="T88" fmla="*/ 668 w 859"/>
                <a:gd name="T89" fmla="*/ 969 h 1035"/>
                <a:gd name="T90" fmla="*/ 726 w 859"/>
                <a:gd name="T91" fmla="*/ 959 h 1035"/>
                <a:gd name="T92" fmla="*/ 765 w 859"/>
                <a:gd name="T93" fmla="*/ 940 h 1035"/>
                <a:gd name="T94" fmla="*/ 790 w 859"/>
                <a:gd name="T95" fmla="*/ 911 h 1035"/>
                <a:gd name="T96" fmla="*/ 806 w 859"/>
                <a:gd name="T97" fmla="*/ 872 h 1035"/>
                <a:gd name="T98" fmla="*/ 859 w 859"/>
                <a:gd name="T99" fmla="*/ 806 h 1035"/>
                <a:gd name="T100" fmla="*/ 0 w 859"/>
                <a:gd name="T101" fmla="*/ 99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9" h="1035">
                  <a:moveTo>
                    <a:pt x="0" y="999"/>
                  </a:moveTo>
                  <a:lnTo>
                    <a:pt x="0" y="999"/>
                  </a:lnTo>
                  <a:lnTo>
                    <a:pt x="26" y="998"/>
                  </a:lnTo>
                  <a:lnTo>
                    <a:pt x="48" y="997"/>
                  </a:lnTo>
                  <a:lnTo>
                    <a:pt x="69" y="995"/>
                  </a:lnTo>
                  <a:lnTo>
                    <a:pt x="86" y="991"/>
                  </a:lnTo>
                  <a:lnTo>
                    <a:pt x="102" y="987"/>
                  </a:lnTo>
                  <a:lnTo>
                    <a:pt x="115" y="981"/>
                  </a:lnTo>
                  <a:lnTo>
                    <a:pt x="121" y="977"/>
                  </a:lnTo>
                  <a:lnTo>
                    <a:pt x="126" y="972"/>
                  </a:lnTo>
                  <a:lnTo>
                    <a:pt x="131" y="967"/>
                  </a:lnTo>
                  <a:lnTo>
                    <a:pt x="135" y="962"/>
                  </a:lnTo>
                  <a:lnTo>
                    <a:pt x="140" y="957"/>
                  </a:lnTo>
                  <a:lnTo>
                    <a:pt x="143" y="951"/>
                  </a:lnTo>
                  <a:lnTo>
                    <a:pt x="150" y="937"/>
                  </a:lnTo>
                  <a:lnTo>
                    <a:pt x="155" y="920"/>
                  </a:lnTo>
                  <a:lnTo>
                    <a:pt x="159" y="901"/>
                  </a:lnTo>
                  <a:lnTo>
                    <a:pt x="161" y="879"/>
                  </a:lnTo>
                  <a:lnTo>
                    <a:pt x="163" y="855"/>
                  </a:lnTo>
                  <a:lnTo>
                    <a:pt x="164" y="827"/>
                  </a:lnTo>
                  <a:lnTo>
                    <a:pt x="164" y="797"/>
                  </a:lnTo>
                  <a:lnTo>
                    <a:pt x="164" y="236"/>
                  </a:lnTo>
                  <a:lnTo>
                    <a:pt x="164" y="236"/>
                  </a:lnTo>
                  <a:lnTo>
                    <a:pt x="164" y="206"/>
                  </a:lnTo>
                  <a:lnTo>
                    <a:pt x="163" y="178"/>
                  </a:lnTo>
                  <a:lnTo>
                    <a:pt x="161" y="153"/>
                  </a:lnTo>
                  <a:lnTo>
                    <a:pt x="159" y="132"/>
                  </a:lnTo>
                  <a:lnTo>
                    <a:pt x="155" y="114"/>
                  </a:lnTo>
                  <a:lnTo>
                    <a:pt x="150" y="97"/>
                  </a:lnTo>
                  <a:lnTo>
                    <a:pt x="143" y="83"/>
                  </a:lnTo>
                  <a:lnTo>
                    <a:pt x="140" y="77"/>
                  </a:lnTo>
                  <a:lnTo>
                    <a:pt x="135" y="72"/>
                  </a:lnTo>
                  <a:lnTo>
                    <a:pt x="131" y="67"/>
                  </a:lnTo>
                  <a:lnTo>
                    <a:pt x="126" y="61"/>
                  </a:lnTo>
                  <a:lnTo>
                    <a:pt x="121" y="57"/>
                  </a:lnTo>
                  <a:lnTo>
                    <a:pt x="115" y="54"/>
                  </a:lnTo>
                  <a:lnTo>
                    <a:pt x="102" y="48"/>
                  </a:lnTo>
                  <a:lnTo>
                    <a:pt x="86" y="43"/>
                  </a:lnTo>
                  <a:lnTo>
                    <a:pt x="69" y="40"/>
                  </a:lnTo>
                  <a:lnTo>
                    <a:pt x="48" y="38"/>
                  </a:lnTo>
                  <a:lnTo>
                    <a:pt x="26" y="37"/>
                  </a:lnTo>
                  <a:lnTo>
                    <a:pt x="0" y="36"/>
                  </a:lnTo>
                  <a:lnTo>
                    <a:pt x="0" y="0"/>
                  </a:lnTo>
                  <a:lnTo>
                    <a:pt x="787" y="0"/>
                  </a:lnTo>
                  <a:lnTo>
                    <a:pt x="802" y="227"/>
                  </a:lnTo>
                  <a:lnTo>
                    <a:pt x="766" y="227"/>
                  </a:lnTo>
                  <a:lnTo>
                    <a:pt x="757" y="193"/>
                  </a:lnTo>
                  <a:lnTo>
                    <a:pt x="757" y="193"/>
                  </a:lnTo>
                  <a:lnTo>
                    <a:pt x="749" y="162"/>
                  </a:lnTo>
                  <a:lnTo>
                    <a:pt x="744" y="147"/>
                  </a:lnTo>
                  <a:lnTo>
                    <a:pt x="739" y="135"/>
                  </a:lnTo>
                  <a:lnTo>
                    <a:pt x="732" y="123"/>
                  </a:lnTo>
                  <a:lnTo>
                    <a:pt x="725" y="113"/>
                  </a:lnTo>
                  <a:lnTo>
                    <a:pt x="717" y="103"/>
                  </a:lnTo>
                  <a:lnTo>
                    <a:pt x="708" y="95"/>
                  </a:lnTo>
                  <a:lnTo>
                    <a:pt x="697" y="87"/>
                  </a:lnTo>
                  <a:lnTo>
                    <a:pt x="684" y="81"/>
                  </a:lnTo>
                  <a:lnTo>
                    <a:pt x="669" y="76"/>
                  </a:lnTo>
                  <a:lnTo>
                    <a:pt x="653" y="72"/>
                  </a:lnTo>
                  <a:lnTo>
                    <a:pt x="632" y="68"/>
                  </a:lnTo>
                  <a:lnTo>
                    <a:pt x="611" y="66"/>
                  </a:lnTo>
                  <a:lnTo>
                    <a:pt x="585" y="65"/>
                  </a:lnTo>
                  <a:lnTo>
                    <a:pt x="558" y="63"/>
                  </a:lnTo>
                  <a:lnTo>
                    <a:pt x="302" y="63"/>
                  </a:lnTo>
                  <a:lnTo>
                    <a:pt x="302" y="455"/>
                  </a:lnTo>
                  <a:lnTo>
                    <a:pt x="388" y="455"/>
                  </a:lnTo>
                  <a:lnTo>
                    <a:pt x="388" y="455"/>
                  </a:lnTo>
                  <a:lnTo>
                    <a:pt x="419" y="455"/>
                  </a:lnTo>
                  <a:lnTo>
                    <a:pt x="446" y="454"/>
                  </a:lnTo>
                  <a:lnTo>
                    <a:pt x="471" y="452"/>
                  </a:lnTo>
                  <a:lnTo>
                    <a:pt x="492" y="450"/>
                  </a:lnTo>
                  <a:lnTo>
                    <a:pt x="512" y="446"/>
                  </a:lnTo>
                  <a:lnTo>
                    <a:pt x="527" y="441"/>
                  </a:lnTo>
                  <a:lnTo>
                    <a:pt x="541" y="435"/>
                  </a:lnTo>
                  <a:lnTo>
                    <a:pt x="547" y="431"/>
                  </a:lnTo>
                  <a:lnTo>
                    <a:pt x="553" y="426"/>
                  </a:lnTo>
                  <a:lnTo>
                    <a:pt x="559" y="422"/>
                  </a:lnTo>
                  <a:lnTo>
                    <a:pt x="563" y="417"/>
                  </a:lnTo>
                  <a:lnTo>
                    <a:pt x="567" y="412"/>
                  </a:lnTo>
                  <a:lnTo>
                    <a:pt x="571" y="406"/>
                  </a:lnTo>
                  <a:lnTo>
                    <a:pt x="577" y="393"/>
                  </a:lnTo>
                  <a:lnTo>
                    <a:pt x="581" y="376"/>
                  </a:lnTo>
                  <a:lnTo>
                    <a:pt x="585" y="359"/>
                  </a:lnTo>
                  <a:lnTo>
                    <a:pt x="587" y="339"/>
                  </a:lnTo>
                  <a:lnTo>
                    <a:pt x="588" y="315"/>
                  </a:lnTo>
                  <a:lnTo>
                    <a:pt x="588" y="289"/>
                  </a:lnTo>
                  <a:lnTo>
                    <a:pt x="625" y="289"/>
                  </a:lnTo>
                  <a:lnTo>
                    <a:pt x="625" y="685"/>
                  </a:lnTo>
                  <a:lnTo>
                    <a:pt x="588" y="685"/>
                  </a:lnTo>
                  <a:lnTo>
                    <a:pt x="588" y="685"/>
                  </a:lnTo>
                  <a:lnTo>
                    <a:pt x="588" y="659"/>
                  </a:lnTo>
                  <a:lnTo>
                    <a:pt x="587" y="636"/>
                  </a:lnTo>
                  <a:lnTo>
                    <a:pt x="585" y="616"/>
                  </a:lnTo>
                  <a:lnTo>
                    <a:pt x="581" y="597"/>
                  </a:lnTo>
                  <a:lnTo>
                    <a:pt x="577" y="582"/>
                  </a:lnTo>
                  <a:lnTo>
                    <a:pt x="571" y="569"/>
                  </a:lnTo>
                  <a:lnTo>
                    <a:pt x="567" y="562"/>
                  </a:lnTo>
                  <a:lnTo>
                    <a:pt x="563" y="557"/>
                  </a:lnTo>
                  <a:lnTo>
                    <a:pt x="559" y="552"/>
                  </a:lnTo>
                  <a:lnTo>
                    <a:pt x="553" y="547"/>
                  </a:lnTo>
                  <a:lnTo>
                    <a:pt x="547" y="543"/>
                  </a:lnTo>
                  <a:lnTo>
                    <a:pt x="541" y="540"/>
                  </a:lnTo>
                  <a:lnTo>
                    <a:pt x="527" y="533"/>
                  </a:lnTo>
                  <a:lnTo>
                    <a:pt x="512" y="529"/>
                  </a:lnTo>
                  <a:lnTo>
                    <a:pt x="492" y="525"/>
                  </a:lnTo>
                  <a:lnTo>
                    <a:pt x="471" y="522"/>
                  </a:lnTo>
                  <a:lnTo>
                    <a:pt x="446" y="521"/>
                  </a:lnTo>
                  <a:lnTo>
                    <a:pt x="419" y="519"/>
                  </a:lnTo>
                  <a:lnTo>
                    <a:pt x="388" y="519"/>
                  </a:lnTo>
                  <a:lnTo>
                    <a:pt x="302" y="519"/>
                  </a:lnTo>
                  <a:lnTo>
                    <a:pt x="302" y="771"/>
                  </a:lnTo>
                  <a:lnTo>
                    <a:pt x="302" y="771"/>
                  </a:lnTo>
                  <a:lnTo>
                    <a:pt x="302" y="802"/>
                  </a:lnTo>
                  <a:lnTo>
                    <a:pt x="303" y="829"/>
                  </a:lnTo>
                  <a:lnTo>
                    <a:pt x="305" y="854"/>
                  </a:lnTo>
                  <a:lnTo>
                    <a:pt x="307" y="875"/>
                  </a:lnTo>
                  <a:lnTo>
                    <a:pt x="311" y="894"/>
                  </a:lnTo>
                  <a:lnTo>
                    <a:pt x="316" y="910"/>
                  </a:lnTo>
                  <a:lnTo>
                    <a:pt x="322" y="924"/>
                  </a:lnTo>
                  <a:lnTo>
                    <a:pt x="326" y="931"/>
                  </a:lnTo>
                  <a:lnTo>
                    <a:pt x="331" y="936"/>
                  </a:lnTo>
                  <a:lnTo>
                    <a:pt x="335" y="941"/>
                  </a:lnTo>
                  <a:lnTo>
                    <a:pt x="340" y="946"/>
                  </a:lnTo>
                  <a:lnTo>
                    <a:pt x="345" y="950"/>
                  </a:lnTo>
                  <a:lnTo>
                    <a:pt x="351" y="953"/>
                  </a:lnTo>
                  <a:lnTo>
                    <a:pt x="364" y="959"/>
                  </a:lnTo>
                  <a:lnTo>
                    <a:pt x="380" y="964"/>
                  </a:lnTo>
                  <a:lnTo>
                    <a:pt x="398" y="967"/>
                  </a:lnTo>
                  <a:lnTo>
                    <a:pt x="417" y="969"/>
                  </a:lnTo>
                  <a:lnTo>
                    <a:pt x="440" y="970"/>
                  </a:lnTo>
                  <a:lnTo>
                    <a:pt x="466" y="971"/>
                  </a:lnTo>
                  <a:lnTo>
                    <a:pt x="614" y="971"/>
                  </a:lnTo>
                  <a:lnTo>
                    <a:pt x="614" y="971"/>
                  </a:lnTo>
                  <a:lnTo>
                    <a:pt x="642" y="970"/>
                  </a:lnTo>
                  <a:lnTo>
                    <a:pt x="668" y="969"/>
                  </a:lnTo>
                  <a:lnTo>
                    <a:pt x="689" y="966"/>
                  </a:lnTo>
                  <a:lnTo>
                    <a:pt x="709" y="963"/>
                  </a:lnTo>
                  <a:lnTo>
                    <a:pt x="726" y="959"/>
                  </a:lnTo>
                  <a:lnTo>
                    <a:pt x="742" y="954"/>
                  </a:lnTo>
                  <a:lnTo>
                    <a:pt x="754" y="947"/>
                  </a:lnTo>
                  <a:lnTo>
                    <a:pt x="765" y="940"/>
                  </a:lnTo>
                  <a:lnTo>
                    <a:pt x="775" y="932"/>
                  </a:lnTo>
                  <a:lnTo>
                    <a:pt x="784" y="921"/>
                  </a:lnTo>
                  <a:lnTo>
                    <a:pt x="790" y="911"/>
                  </a:lnTo>
                  <a:lnTo>
                    <a:pt x="796" y="899"/>
                  </a:lnTo>
                  <a:lnTo>
                    <a:pt x="801" y="886"/>
                  </a:lnTo>
                  <a:lnTo>
                    <a:pt x="806" y="872"/>
                  </a:lnTo>
                  <a:lnTo>
                    <a:pt x="814" y="840"/>
                  </a:lnTo>
                  <a:lnTo>
                    <a:pt x="823" y="806"/>
                  </a:lnTo>
                  <a:lnTo>
                    <a:pt x="859" y="806"/>
                  </a:lnTo>
                  <a:lnTo>
                    <a:pt x="846" y="1035"/>
                  </a:lnTo>
                  <a:lnTo>
                    <a:pt x="0" y="1035"/>
                  </a:lnTo>
                  <a:lnTo>
                    <a:pt x="0" y="9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5" name="Freeform 28"/>
            <p:cNvSpPr>
              <a:spLocks/>
            </p:cNvSpPr>
            <p:nvPr userDrawn="1"/>
          </p:nvSpPr>
          <p:spPr bwMode="auto">
            <a:xfrm>
              <a:off x="7944095" y="898693"/>
              <a:ext cx="142875" cy="136525"/>
            </a:xfrm>
            <a:custGeom>
              <a:avLst/>
              <a:gdLst>
                <a:gd name="T0" fmla="*/ 304 w 1077"/>
                <a:gd name="T1" fmla="*/ 999 h 1035"/>
                <a:gd name="T2" fmla="*/ 352 w 1077"/>
                <a:gd name="T3" fmla="*/ 997 h 1035"/>
                <a:gd name="T4" fmla="*/ 391 w 1077"/>
                <a:gd name="T5" fmla="*/ 991 h 1035"/>
                <a:gd name="T6" fmla="*/ 419 w 1077"/>
                <a:gd name="T7" fmla="*/ 981 h 1035"/>
                <a:gd name="T8" fmla="*/ 431 w 1077"/>
                <a:gd name="T9" fmla="*/ 972 h 1035"/>
                <a:gd name="T10" fmla="*/ 441 w 1077"/>
                <a:gd name="T11" fmla="*/ 962 h 1035"/>
                <a:gd name="T12" fmla="*/ 449 w 1077"/>
                <a:gd name="T13" fmla="*/ 951 h 1035"/>
                <a:gd name="T14" fmla="*/ 460 w 1077"/>
                <a:gd name="T15" fmla="*/ 920 h 1035"/>
                <a:gd name="T16" fmla="*/ 466 w 1077"/>
                <a:gd name="T17" fmla="*/ 879 h 1035"/>
                <a:gd name="T18" fmla="*/ 469 w 1077"/>
                <a:gd name="T19" fmla="*/ 827 h 1035"/>
                <a:gd name="T20" fmla="*/ 469 w 1077"/>
                <a:gd name="T21" fmla="*/ 68 h 1035"/>
                <a:gd name="T22" fmla="*/ 246 w 1077"/>
                <a:gd name="T23" fmla="*/ 68 h 1035"/>
                <a:gd name="T24" fmla="*/ 192 w 1077"/>
                <a:gd name="T25" fmla="*/ 69 h 1035"/>
                <a:gd name="T26" fmla="*/ 150 w 1077"/>
                <a:gd name="T27" fmla="*/ 75 h 1035"/>
                <a:gd name="T28" fmla="*/ 119 w 1077"/>
                <a:gd name="T29" fmla="*/ 85 h 1035"/>
                <a:gd name="T30" fmla="*/ 95 w 1077"/>
                <a:gd name="T31" fmla="*/ 98 h 1035"/>
                <a:gd name="T32" fmla="*/ 78 w 1077"/>
                <a:gd name="T33" fmla="*/ 117 h 1035"/>
                <a:gd name="T34" fmla="*/ 65 w 1077"/>
                <a:gd name="T35" fmla="*/ 139 h 1035"/>
                <a:gd name="T36" fmla="*/ 54 w 1077"/>
                <a:gd name="T37" fmla="*/ 167 h 1035"/>
                <a:gd name="T38" fmla="*/ 37 w 1077"/>
                <a:gd name="T39" fmla="*/ 233 h 1035"/>
                <a:gd name="T40" fmla="*/ 15 w 1077"/>
                <a:gd name="T41" fmla="*/ 0 h 1035"/>
                <a:gd name="T42" fmla="*/ 1077 w 1077"/>
                <a:gd name="T43" fmla="*/ 233 h 1035"/>
                <a:gd name="T44" fmla="*/ 1032 w 1077"/>
                <a:gd name="T45" fmla="*/ 198 h 1035"/>
                <a:gd name="T46" fmla="*/ 1023 w 1077"/>
                <a:gd name="T47" fmla="*/ 167 h 1035"/>
                <a:gd name="T48" fmla="*/ 1013 w 1077"/>
                <a:gd name="T49" fmla="*/ 139 h 1035"/>
                <a:gd name="T50" fmla="*/ 1000 w 1077"/>
                <a:gd name="T51" fmla="*/ 117 h 1035"/>
                <a:gd name="T52" fmla="*/ 983 w 1077"/>
                <a:gd name="T53" fmla="*/ 98 h 1035"/>
                <a:gd name="T54" fmla="*/ 958 w 1077"/>
                <a:gd name="T55" fmla="*/ 85 h 1035"/>
                <a:gd name="T56" fmla="*/ 927 w 1077"/>
                <a:gd name="T57" fmla="*/ 75 h 1035"/>
                <a:gd name="T58" fmla="*/ 886 w 1077"/>
                <a:gd name="T59" fmla="*/ 69 h 1035"/>
                <a:gd name="T60" fmla="*/ 832 w 1077"/>
                <a:gd name="T61" fmla="*/ 68 h 1035"/>
                <a:gd name="T62" fmla="*/ 608 w 1077"/>
                <a:gd name="T63" fmla="*/ 797 h 1035"/>
                <a:gd name="T64" fmla="*/ 608 w 1077"/>
                <a:gd name="T65" fmla="*/ 827 h 1035"/>
                <a:gd name="T66" fmla="*/ 611 w 1077"/>
                <a:gd name="T67" fmla="*/ 879 h 1035"/>
                <a:gd name="T68" fmla="*/ 618 w 1077"/>
                <a:gd name="T69" fmla="*/ 920 h 1035"/>
                <a:gd name="T70" fmla="*/ 629 w 1077"/>
                <a:gd name="T71" fmla="*/ 951 h 1035"/>
                <a:gd name="T72" fmla="*/ 637 w 1077"/>
                <a:gd name="T73" fmla="*/ 962 h 1035"/>
                <a:gd name="T74" fmla="*/ 646 w 1077"/>
                <a:gd name="T75" fmla="*/ 972 h 1035"/>
                <a:gd name="T76" fmla="*/ 658 w 1077"/>
                <a:gd name="T77" fmla="*/ 981 h 1035"/>
                <a:gd name="T78" fmla="*/ 687 w 1077"/>
                <a:gd name="T79" fmla="*/ 991 h 1035"/>
                <a:gd name="T80" fmla="*/ 725 w 1077"/>
                <a:gd name="T81" fmla="*/ 997 h 1035"/>
                <a:gd name="T82" fmla="*/ 773 w 1077"/>
                <a:gd name="T83" fmla="*/ 999 h 1035"/>
                <a:gd name="T84" fmla="*/ 304 w 1077"/>
                <a:gd name="T85"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7" h="1035">
                  <a:moveTo>
                    <a:pt x="304" y="999"/>
                  </a:moveTo>
                  <a:lnTo>
                    <a:pt x="304" y="999"/>
                  </a:lnTo>
                  <a:lnTo>
                    <a:pt x="329" y="998"/>
                  </a:lnTo>
                  <a:lnTo>
                    <a:pt x="352" y="997"/>
                  </a:lnTo>
                  <a:lnTo>
                    <a:pt x="372" y="995"/>
                  </a:lnTo>
                  <a:lnTo>
                    <a:pt x="391" y="991"/>
                  </a:lnTo>
                  <a:lnTo>
                    <a:pt x="406" y="987"/>
                  </a:lnTo>
                  <a:lnTo>
                    <a:pt x="419" y="981"/>
                  </a:lnTo>
                  <a:lnTo>
                    <a:pt x="426" y="977"/>
                  </a:lnTo>
                  <a:lnTo>
                    <a:pt x="431" y="972"/>
                  </a:lnTo>
                  <a:lnTo>
                    <a:pt x="436" y="967"/>
                  </a:lnTo>
                  <a:lnTo>
                    <a:pt x="441" y="962"/>
                  </a:lnTo>
                  <a:lnTo>
                    <a:pt x="445" y="957"/>
                  </a:lnTo>
                  <a:lnTo>
                    <a:pt x="449" y="951"/>
                  </a:lnTo>
                  <a:lnTo>
                    <a:pt x="455" y="937"/>
                  </a:lnTo>
                  <a:lnTo>
                    <a:pt x="460" y="920"/>
                  </a:lnTo>
                  <a:lnTo>
                    <a:pt x="464" y="901"/>
                  </a:lnTo>
                  <a:lnTo>
                    <a:pt x="466" y="879"/>
                  </a:lnTo>
                  <a:lnTo>
                    <a:pt x="468" y="855"/>
                  </a:lnTo>
                  <a:lnTo>
                    <a:pt x="469" y="827"/>
                  </a:lnTo>
                  <a:lnTo>
                    <a:pt x="469" y="797"/>
                  </a:lnTo>
                  <a:lnTo>
                    <a:pt x="469" y="68"/>
                  </a:lnTo>
                  <a:lnTo>
                    <a:pt x="246" y="68"/>
                  </a:lnTo>
                  <a:lnTo>
                    <a:pt x="246" y="68"/>
                  </a:lnTo>
                  <a:lnTo>
                    <a:pt x="217" y="68"/>
                  </a:lnTo>
                  <a:lnTo>
                    <a:pt x="192" y="69"/>
                  </a:lnTo>
                  <a:lnTo>
                    <a:pt x="170" y="72"/>
                  </a:lnTo>
                  <a:lnTo>
                    <a:pt x="150" y="75"/>
                  </a:lnTo>
                  <a:lnTo>
                    <a:pt x="133" y="79"/>
                  </a:lnTo>
                  <a:lnTo>
                    <a:pt x="119" y="85"/>
                  </a:lnTo>
                  <a:lnTo>
                    <a:pt x="105" y="91"/>
                  </a:lnTo>
                  <a:lnTo>
                    <a:pt x="95" y="98"/>
                  </a:lnTo>
                  <a:lnTo>
                    <a:pt x="85" y="106"/>
                  </a:lnTo>
                  <a:lnTo>
                    <a:pt x="78" y="117"/>
                  </a:lnTo>
                  <a:lnTo>
                    <a:pt x="71" y="127"/>
                  </a:lnTo>
                  <a:lnTo>
                    <a:pt x="65" y="139"/>
                  </a:lnTo>
                  <a:lnTo>
                    <a:pt x="59" y="152"/>
                  </a:lnTo>
                  <a:lnTo>
                    <a:pt x="54" y="167"/>
                  </a:lnTo>
                  <a:lnTo>
                    <a:pt x="45" y="198"/>
                  </a:lnTo>
                  <a:lnTo>
                    <a:pt x="37" y="233"/>
                  </a:lnTo>
                  <a:lnTo>
                    <a:pt x="0" y="233"/>
                  </a:lnTo>
                  <a:lnTo>
                    <a:pt x="15" y="0"/>
                  </a:lnTo>
                  <a:lnTo>
                    <a:pt x="1062" y="0"/>
                  </a:lnTo>
                  <a:lnTo>
                    <a:pt x="1077" y="233"/>
                  </a:lnTo>
                  <a:lnTo>
                    <a:pt x="1041" y="233"/>
                  </a:lnTo>
                  <a:lnTo>
                    <a:pt x="1032" y="198"/>
                  </a:lnTo>
                  <a:lnTo>
                    <a:pt x="1032" y="198"/>
                  </a:lnTo>
                  <a:lnTo>
                    <a:pt x="1023" y="167"/>
                  </a:lnTo>
                  <a:lnTo>
                    <a:pt x="1019" y="152"/>
                  </a:lnTo>
                  <a:lnTo>
                    <a:pt x="1013" y="139"/>
                  </a:lnTo>
                  <a:lnTo>
                    <a:pt x="1007" y="127"/>
                  </a:lnTo>
                  <a:lnTo>
                    <a:pt x="1000" y="117"/>
                  </a:lnTo>
                  <a:lnTo>
                    <a:pt x="992" y="106"/>
                  </a:lnTo>
                  <a:lnTo>
                    <a:pt x="983" y="98"/>
                  </a:lnTo>
                  <a:lnTo>
                    <a:pt x="972" y="91"/>
                  </a:lnTo>
                  <a:lnTo>
                    <a:pt x="958" y="85"/>
                  </a:lnTo>
                  <a:lnTo>
                    <a:pt x="944" y="79"/>
                  </a:lnTo>
                  <a:lnTo>
                    <a:pt x="927" y="75"/>
                  </a:lnTo>
                  <a:lnTo>
                    <a:pt x="907" y="72"/>
                  </a:lnTo>
                  <a:lnTo>
                    <a:pt x="886" y="69"/>
                  </a:lnTo>
                  <a:lnTo>
                    <a:pt x="860" y="68"/>
                  </a:lnTo>
                  <a:lnTo>
                    <a:pt x="832" y="68"/>
                  </a:lnTo>
                  <a:lnTo>
                    <a:pt x="608" y="68"/>
                  </a:lnTo>
                  <a:lnTo>
                    <a:pt x="608" y="797"/>
                  </a:lnTo>
                  <a:lnTo>
                    <a:pt x="608" y="797"/>
                  </a:lnTo>
                  <a:lnTo>
                    <a:pt x="608" y="827"/>
                  </a:lnTo>
                  <a:lnTo>
                    <a:pt x="609" y="855"/>
                  </a:lnTo>
                  <a:lnTo>
                    <a:pt x="611" y="879"/>
                  </a:lnTo>
                  <a:lnTo>
                    <a:pt x="614" y="901"/>
                  </a:lnTo>
                  <a:lnTo>
                    <a:pt x="618" y="920"/>
                  </a:lnTo>
                  <a:lnTo>
                    <a:pt x="622" y="937"/>
                  </a:lnTo>
                  <a:lnTo>
                    <a:pt x="629" y="951"/>
                  </a:lnTo>
                  <a:lnTo>
                    <a:pt x="633" y="957"/>
                  </a:lnTo>
                  <a:lnTo>
                    <a:pt x="637" y="962"/>
                  </a:lnTo>
                  <a:lnTo>
                    <a:pt x="641" y="967"/>
                  </a:lnTo>
                  <a:lnTo>
                    <a:pt x="646" y="972"/>
                  </a:lnTo>
                  <a:lnTo>
                    <a:pt x="651" y="977"/>
                  </a:lnTo>
                  <a:lnTo>
                    <a:pt x="658" y="981"/>
                  </a:lnTo>
                  <a:lnTo>
                    <a:pt x="672" y="987"/>
                  </a:lnTo>
                  <a:lnTo>
                    <a:pt x="687" y="991"/>
                  </a:lnTo>
                  <a:lnTo>
                    <a:pt x="705" y="995"/>
                  </a:lnTo>
                  <a:lnTo>
                    <a:pt x="725" y="997"/>
                  </a:lnTo>
                  <a:lnTo>
                    <a:pt x="748" y="998"/>
                  </a:lnTo>
                  <a:lnTo>
                    <a:pt x="773" y="999"/>
                  </a:lnTo>
                  <a:lnTo>
                    <a:pt x="773" y="1035"/>
                  </a:lnTo>
                  <a:lnTo>
                    <a:pt x="304" y="1035"/>
                  </a:lnTo>
                  <a:lnTo>
                    <a:pt x="304" y="9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6" name="Freeform 29"/>
            <p:cNvSpPr>
              <a:spLocks noEditPoints="1"/>
            </p:cNvSpPr>
            <p:nvPr userDrawn="1"/>
          </p:nvSpPr>
          <p:spPr bwMode="auto">
            <a:xfrm>
              <a:off x="5743821" y="366879"/>
              <a:ext cx="657225" cy="898527"/>
            </a:xfrm>
            <a:custGeom>
              <a:avLst/>
              <a:gdLst>
                <a:gd name="T0" fmla="*/ 3944 w 4973"/>
                <a:gd name="T1" fmla="*/ 6352 h 6792"/>
                <a:gd name="T2" fmla="*/ 1694 w 4973"/>
                <a:gd name="T3" fmla="*/ 6143 h 6792"/>
                <a:gd name="T4" fmla="*/ 2984 w 4973"/>
                <a:gd name="T5" fmla="*/ 3784 h 6792"/>
                <a:gd name="T6" fmla="*/ 2316 w 4973"/>
                <a:gd name="T7" fmla="*/ 4454 h 6792"/>
                <a:gd name="T8" fmla="*/ 1155 w 4973"/>
                <a:gd name="T9" fmla="*/ 4705 h 6792"/>
                <a:gd name="T10" fmla="*/ 1077 w 4973"/>
                <a:gd name="T11" fmla="*/ 4988 h 6792"/>
                <a:gd name="T12" fmla="*/ 910 w 4973"/>
                <a:gd name="T13" fmla="*/ 5245 h 6792"/>
                <a:gd name="T14" fmla="*/ 961 w 4973"/>
                <a:gd name="T15" fmla="*/ 5618 h 6792"/>
                <a:gd name="T16" fmla="*/ 1600 w 4973"/>
                <a:gd name="T17" fmla="*/ 5369 h 6792"/>
                <a:gd name="T18" fmla="*/ 1886 w 4973"/>
                <a:gd name="T19" fmla="*/ 5421 h 6792"/>
                <a:gd name="T20" fmla="*/ 2617 w 4973"/>
                <a:gd name="T21" fmla="*/ 5123 h 6792"/>
                <a:gd name="T22" fmla="*/ 2857 w 4973"/>
                <a:gd name="T23" fmla="*/ 4678 h 6792"/>
                <a:gd name="T24" fmla="*/ 489 w 4973"/>
                <a:gd name="T25" fmla="*/ 5877 h 6792"/>
                <a:gd name="T26" fmla="*/ 1233 w 4973"/>
                <a:gd name="T27" fmla="*/ 6668 h 6792"/>
                <a:gd name="T28" fmla="*/ 1527 w 4973"/>
                <a:gd name="T29" fmla="*/ 5749 h 6792"/>
                <a:gd name="T30" fmla="*/ 927 w 4973"/>
                <a:gd name="T31" fmla="*/ 5758 h 6792"/>
                <a:gd name="T32" fmla="*/ 429 w 4973"/>
                <a:gd name="T33" fmla="*/ 621 h 6792"/>
                <a:gd name="T34" fmla="*/ 914 w 4973"/>
                <a:gd name="T35" fmla="*/ 547 h 6792"/>
                <a:gd name="T36" fmla="*/ 829 w 4973"/>
                <a:gd name="T37" fmla="*/ 957 h 6792"/>
                <a:gd name="T38" fmla="*/ 1232 w 4973"/>
                <a:gd name="T39" fmla="*/ 762 h 6792"/>
                <a:gd name="T40" fmla="*/ 780 w 4973"/>
                <a:gd name="T41" fmla="*/ 1976 h 6792"/>
                <a:gd name="T42" fmla="*/ 1297 w 4973"/>
                <a:gd name="T43" fmla="*/ 319 h 6792"/>
                <a:gd name="T44" fmla="*/ 1481 w 4973"/>
                <a:gd name="T45" fmla="*/ 731 h 6792"/>
                <a:gd name="T46" fmla="*/ 3458 w 4973"/>
                <a:gd name="T47" fmla="*/ 480 h 6792"/>
                <a:gd name="T48" fmla="*/ 3084 w 4973"/>
                <a:gd name="T49" fmla="*/ 643 h 6792"/>
                <a:gd name="T50" fmla="*/ 2947 w 4973"/>
                <a:gd name="T51" fmla="*/ 214 h 6792"/>
                <a:gd name="T52" fmla="*/ 2541 w 4973"/>
                <a:gd name="T53" fmla="*/ 417 h 6792"/>
                <a:gd name="T54" fmla="*/ 2413 w 4973"/>
                <a:gd name="T55" fmla="*/ 28 h 6792"/>
                <a:gd name="T56" fmla="*/ 3900 w 4973"/>
                <a:gd name="T57" fmla="*/ 1991 h 6792"/>
                <a:gd name="T58" fmla="*/ 4172 w 4973"/>
                <a:gd name="T59" fmla="*/ 1335 h 6792"/>
                <a:gd name="T60" fmla="*/ 3970 w 4973"/>
                <a:gd name="T61" fmla="*/ 3382 h 6792"/>
                <a:gd name="T62" fmla="*/ 4830 w 4973"/>
                <a:gd name="T63" fmla="*/ 2682 h 6792"/>
                <a:gd name="T64" fmla="*/ 4551 w 4973"/>
                <a:gd name="T65" fmla="*/ 1246 h 6792"/>
                <a:gd name="T66" fmla="*/ 3641 w 4973"/>
                <a:gd name="T67" fmla="*/ 1994 h 6792"/>
                <a:gd name="T68" fmla="*/ 3910 w 4973"/>
                <a:gd name="T69" fmla="*/ 2958 h 6792"/>
                <a:gd name="T70" fmla="*/ 4286 w 4973"/>
                <a:gd name="T71" fmla="*/ 2402 h 6792"/>
                <a:gd name="T72" fmla="*/ 3965 w 4973"/>
                <a:gd name="T73" fmla="*/ 3379 h 6792"/>
                <a:gd name="T74" fmla="*/ 3169 w 4973"/>
                <a:gd name="T75" fmla="*/ 2142 h 6792"/>
                <a:gd name="T76" fmla="*/ 3399 w 4973"/>
                <a:gd name="T77" fmla="*/ 1285 h 6792"/>
                <a:gd name="T78" fmla="*/ 2604 w 4973"/>
                <a:gd name="T79" fmla="*/ 769 h 6792"/>
                <a:gd name="T80" fmla="*/ 2052 w 4973"/>
                <a:gd name="T81" fmla="*/ 1359 h 6792"/>
                <a:gd name="T82" fmla="*/ 1664 w 4973"/>
                <a:gd name="T83" fmla="*/ 1597 h 6792"/>
                <a:gd name="T84" fmla="*/ 2105 w 4973"/>
                <a:gd name="T85" fmla="*/ 1550 h 6792"/>
                <a:gd name="T86" fmla="*/ 1945 w 4973"/>
                <a:gd name="T87" fmla="*/ 1849 h 6792"/>
                <a:gd name="T88" fmla="*/ 1151 w 4973"/>
                <a:gd name="T89" fmla="*/ 2851 h 6792"/>
                <a:gd name="T90" fmla="*/ 331 w 4973"/>
                <a:gd name="T91" fmla="*/ 2774 h 6792"/>
                <a:gd name="T92" fmla="*/ 150 w 4973"/>
                <a:gd name="T93" fmla="*/ 2974 h 6792"/>
                <a:gd name="T94" fmla="*/ 554 w 4973"/>
                <a:gd name="T95" fmla="*/ 3191 h 6792"/>
                <a:gd name="T96" fmla="*/ 489 w 4973"/>
                <a:gd name="T97" fmla="*/ 3468 h 6792"/>
                <a:gd name="T98" fmla="*/ 935 w 4973"/>
                <a:gd name="T99" fmla="*/ 3451 h 6792"/>
                <a:gd name="T100" fmla="*/ 1725 w 4973"/>
                <a:gd name="T101" fmla="*/ 2972 h 6792"/>
                <a:gd name="T102" fmla="*/ 3397 w 4973"/>
                <a:gd name="T103" fmla="*/ 3673 h 6792"/>
                <a:gd name="T104" fmla="*/ 3711 w 4973"/>
                <a:gd name="T105" fmla="*/ 4812 h 6792"/>
                <a:gd name="T106" fmla="*/ 4356 w 4973"/>
                <a:gd name="T107" fmla="*/ 5526 h 6792"/>
                <a:gd name="T108" fmla="*/ 3835 w 4973"/>
                <a:gd name="T109" fmla="*/ 5815 h 6792"/>
                <a:gd name="T110" fmla="*/ 3750 w 4973"/>
                <a:gd name="T111" fmla="*/ 6147 h 6792"/>
                <a:gd name="T112" fmla="*/ 4262 w 4973"/>
                <a:gd name="T113" fmla="*/ 6036 h 6792"/>
                <a:gd name="T114" fmla="*/ 4324 w 4973"/>
                <a:gd name="T115" fmla="*/ 6374 h 6792"/>
                <a:gd name="T116" fmla="*/ 4692 w 4973"/>
                <a:gd name="T117" fmla="*/ 6210 h 6792"/>
                <a:gd name="T118" fmla="*/ 4659 w 4973"/>
                <a:gd name="T119" fmla="*/ 5487 h 6792"/>
                <a:gd name="T120" fmla="*/ 4786 w 4973"/>
                <a:gd name="T121" fmla="*/ 4785 h 6792"/>
                <a:gd name="T122" fmla="*/ 4362 w 4973"/>
                <a:gd name="T123" fmla="*/ 4115 h 6792"/>
                <a:gd name="T124" fmla="*/ 4803 w 4973"/>
                <a:gd name="T125" fmla="*/ 3237 h 6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6792">
                  <a:moveTo>
                    <a:pt x="1358" y="6333"/>
                  </a:moveTo>
                  <a:lnTo>
                    <a:pt x="1358" y="6333"/>
                  </a:lnTo>
                  <a:lnTo>
                    <a:pt x="1445" y="6392"/>
                  </a:lnTo>
                  <a:lnTo>
                    <a:pt x="1485" y="6418"/>
                  </a:lnTo>
                  <a:lnTo>
                    <a:pt x="1524" y="6443"/>
                  </a:lnTo>
                  <a:lnTo>
                    <a:pt x="1561" y="6466"/>
                  </a:lnTo>
                  <a:lnTo>
                    <a:pt x="1599" y="6487"/>
                  </a:lnTo>
                  <a:lnTo>
                    <a:pt x="1638" y="6509"/>
                  </a:lnTo>
                  <a:lnTo>
                    <a:pt x="1677" y="6528"/>
                  </a:lnTo>
                  <a:lnTo>
                    <a:pt x="1677" y="6528"/>
                  </a:lnTo>
                  <a:lnTo>
                    <a:pt x="1730" y="6553"/>
                  </a:lnTo>
                  <a:lnTo>
                    <a:pt x="1788" y="6578"/>
                  </a:lnTo>
                  <a:lnTo>
                    <a:pt x="1853" y="6605"/>
                  </a:lnTo>
                  <a:lnTo>
                    <a:pt x="1923" y="6630"/>
                  </a:lnTo>
                  <a:lnTo>
                    <a:pt x="1961" y="6644"/>
                  </a:lnTo>
                  <a:lnTo>
                    <a:pt x="2000" y="6656"/>
                  </a:lnTo>
                  <a:lnTo>
                    <a:pt x="2040" y="6669"/>
                  </a:lnTo>
                  <a:lnTo>
                    <a:pt x="2082" y="6682"/>
                  </a:lnTo>
                  <a:lnTo>
                    <a:pt x="2125" y="6693"/>
                  </a:lnTo>
                  <a:lnTo>
                    <a:pt x="2169" y="6704"/>
                  </a:lnTo>
                  <a:lnTo>
                    <a:pt x="2215" y="6715"/>
                  </a:lnTo>
                  <a:lnTo>
                    <a:pt x="2261" y="6726"/>
                  </a:lnTo>
                  <a:lnTo>
                    <a:pt x="2310" y="6736"/>
                  </a:lnTo>
                  <a:lnTo>
                    <a:pt x="2359" y="6745"/>
                  </a:lnTo>
                  <a:lnTo>
                    <a:pt x="2410" y="6754"/>
                  </a:lnTo>
                  <a:lnTo>
                    <a:pt x="2462" y="6762"/>
                  </a:lnTo>
                  <a:lnTo>
                    <a:pt x="2515" y="6768"/>
                  </a:lnTo>
                  <a:lnTo>
                    <a:pt x="2570" y="6776"/>
                  </a:lnTo>
                  <a:lnTo>
                    <a:pt x="2625" y="6781"/>
                  </a:lnTo>
                  <a:lnTo>
                    <a:pt x="2682" y="6785"/>
                  </a:lnTo>
                  <a:lnTo>
                    <a:pt x="2740" y="6788"/>
                  </a:lnTo>
                  <a:lnTo>
                    <a:pt x="2800" y="6790"/>
                  </a:lnTo>
                  <a:lnTo>
                    <a:pt x="2860" y="6792"/>
                  </a:lnTo>
                  <a:lnTo>
                    <a:pt x="2921" y="6791"/>
                  </a:lnTo>
                  <a:lnTo>
                    <a:pt x="2984" y="6790"/>
                  </a:lnTo>
                  <a:lnTo>
                    <a:pt x="3047" y="6787"/>
                  </a:lnTo>
                  <a:lnTo>
                    <a:pt x="3112" y="6783"/>
                  </a:lnTo>
                  <a:lnTo>
                    <a:pt x="3177" y="6778"/>
                  </a:lnTo>
                  <a:lnTo>
                    <a:pt x="3177" y="6778"/>
                  </a:lnTo>
                  <a:lnTo>
                    <a:pt x="3239" y="6772"/>
                  </a:lnTo>
                  <a:lnTo>
                    <a:pt x="3299" y="6763"/>
                  </a:lnTo>
                  <a:lnTo>
                    <a:pt x="3357" y="6755"/>
                  </a:lnTo>
                  <a:lnTo>
                    <a:pt x="3412" y="6746"/>
                  </a:lnTo>
                  <a:lnTo>
                    <a:pt x="3466" y="6737"/>
                  </a:lnTo>
                  <a:lnTo>
                    <a:pt x="3517" y="6727"/>
                  </a:lnTo>
                  <a:lnTo>
                    <a:pt x="3567" y="6715"/>
                  </a:lnTo>
                  <a:lnTo>
                    <a:pt x="3615" y="6704"/>
                  </a:lnTo>
                  <a:lnTo>
                    <a:pt x="3660" y="6692"/>
                  </a:lnTo>
                  <a:lnTo>
                    <a:pt x="3704" y="6680"/>
                  </a:lnTo>
                  <a:lnTo>
                    <a:pt x="3745" y="6667"/>
                  </a:lnTo>
                  <a:lnTo>
                    <a:pt x="3784" y="6654"/>
                  </a:lnTo>
                  <a:lnTo>
                    <a:pt x="3822" y="6642"/>
                  </a:lnTo>
                  <a:lnTo>
                    <a:pt x="3858" y="6628"/>
                  </a:lnTo>
                  <a:lnTo>
                    <a:pt x="3891" y="6615"/>
                  </a:lnTo>
                  <a:lnTo>
                    <a:pt x="3922" y="6603"/>
                  </a:lnTo>
                  <a:lnTo>
                    <a:pt x="3980" y="6577"/>
                  </a:lnTo>
                  <a:lnTo>
                    <a:pt x="4030" y="6554"/>
                  </a:lnTo>
                  <a:lnTo>
                    <a:pt x="4071" y="6532"/>
                  </a:lnTo>
                  <a:lnTo>
                    <a:pt x="4105" y="6514"/>
                  </a:lnTo>
                  <a:lnTo>
                    <a:pt x="4131" y="6498"/>
                  </a:lnTo>
                  <a:lnTo>
                    <a:pt x="4150" y="6485"/>
                  </a:lnTo>
                  <a:lnTo>
                    <a:pt x="4165" y="6475"/>
                  </a:lnTo>
                  <a:lnTo>
                    <a:pt x="4165" y="6475"/>
                  </a:lnTo>
                  <a:lnTo>
                    <a:pt x="4144" y="6468"/>
                  </a:lnTo>
                  <a:lnTo>
                    <a:pt x="4124" y="6459"/>
                  </a:lnTo>
                  <a:lnTo>
                    <a:pt x="4103" y="6451"/>
                  </a:lnTo>
                  <a:lnTo>
                    <a:pt x="4084" y="6440"/>
                  </a:lnTo>
                  <a:lnTo>
                    <a:pt x="4064" y="6431"/>
                  </a:lnTo>
                  <a:lnTo>
                    <a:pt x="4046" y="6421"/>
                  </a:lnTo>
                  <a:lnTo>
                    <a:pt x="4009" y="6398"/>
                  </a:lnTo>
                  <a:lnTo>
                    <a:pt x="3976" y="6376"/>
                  </a:lnTo>
                  <a:lnTo>
                    <a:pt x="3944" y="6352"/>
                  </a:lnTo>
                  <a:lnTo>
                    <a:pt x="3914" y="6329"/>
                  </a:lnTo>
                  <a:lnTo>
                    <a:pt x="3887" y="6305"/>
                  </a:lnTo>
                  <a:lnTo>
                    <a:pt x="3887" y="6305"/>
                  </a:lnTo>
                  <a:lnTo>
                    <a:pt x="3882" y="6315"/>
                  </a:lnTo>
                  <a:lnTo>
                    <a:pt x="3879" y="6328"/>
                  </a:lnTo>
                  <a:lnTo>
                    <a:pt x="3876" y="6343"/>
                  </a:lnTo>
                  <a:lnTo>
                    <a:pt x="3873" y="6361"/>
                  </a:lnTo>
                  <a:lnTo>
                    <a:pt x="3873" y="6361"/>
                  </a:lnTo>
                  <a:lnTo>
                    <a:pt x="3865" y="6430"/>
                  </a:lnTo>
                  <a:lnTo>
                    <a:pt x="3861" y="6463"/>
                  </a:lnTo>
                  <a:lnTo>
                    <a:pt x="3861" y="6463"/>
                  </a:lnTo>
                  <a:lnTo>
                    <a:pt x="3857" y="6462"/>
                  </a:lnTo>
                  <a:lnTo>
                    <a:pt x="3847" y="6459"/>
                  </a:lnTo>
                  <a:lnTo>
                    <a:pt x="3828" y="6452"/>
                  </a:lnTo>
                  <a:lnTo>
                    <a:pt x="3801" y="6440"/>
                  </a:lnTo>
                  <a:lnTo>
                    <a:pt x="3801" y="6440"/>
                  </a:lnTo>
                  <a:lnTo>
                    <a:pt x="3791" y="6436"/>
                  </a:lnTo>
                  <a:lnTo>
                    <a:pt x="3781" y="6430"/>
                  </a:lnTo>
                  <a:lnTo>
                    <a:pt x="3771" y="6423"/>
                  </a:lnTo>
                  <a:lnTo>
                    <a:pt x="3761" y="6415"/>
                  </a:lnTo>
                  <a:lnTo>
                    <a:pt x="3750" y="6406"/>
                  </a:lnTo>
                  <a:lnTo>
                    <a:pt x="3739" y="6396"/>
                  </a:lnTo>
                  <a:lnTo>
                    <a:pt x="3729" y="6385"/>
                  </a:lnTo>
                  <a:lnTo>
                    <a:pt x="3719" y="6373"/>
                  </a:lnTo>
                  <a:lnTo>
                    <a:pt x="3709" y="6361"/>
                  </a:lnTo>
                  <a:lnTo>
                    <a:pt x="3700" y="6346"/>
                  </a:lnTo>
                  <a:lnTo>
                    <a:pt x="3692" y="6332"/>
                  </a:lnTo>
                  <a:lnTo>
                    <a:pt x="3684" y="6317"/>
                  </a:lnTo>
                  <a:lnTo>
                    <a:pt x="3678" y="6300"/>
                  </a:lnTo>
                  <a:lnTo>
                    <a:pt x="3674" y="6284"/>
                  </a:lnTo>
                  <a:lnTo>
                    <a:pt x="3670" y="6265"/>
                  </a:lnTo>
                  <a:lnTo>
                    <a:pt x="3668" y="6248"/>
                  </a:lnTo>
                  <a:lnTo>
                    <a:pt x="3668" y="6248"/>
                  </a:lnTo>
                  <a:lnTo>
                    <a:pt x="3667" y="6223"/>
                  </a:lnTo>
                  <a:lnTo>
                    <a:pt x="3667" y="6223"/>
                  </a:lnTo>
                  <a:lnTo>
                    <a:pt x="3610" y="6244"/>
                  </a:lnTo>
                  <a:lnTo>
                    <a:pt x="3544" y="6267"/>
                  </a:lnTo>
                  <a:lnTo>
                    <a:pt x="3507" y="6280"/>
                  </a:lnTo>
                  <a:lnTo>
                    <a:pt x="3468" y="6292"/>
                  </a:lnTo>
                  <a:lnTo>
                    <a:pt x="3427" y="6303"/>
                  </a:lnTo>
                  <a:lnTo>
                    <a:pt x="3386" y="6315"/>
                  </a:lnTo>
                  <a:lnTo>
                    <a:pt x="3342" y="6326"/>
                  </a:lnTo>
                  <a:lnTo>
                    <a:pt x="3296" y="6335"/>
                  </a:lnTo>
                  <a:lnTo>
                    <a:pt x="3250" y="6344"/>
                  </a:lnTo>
                  <a:lnTo>
                    <a:pt x="3201" y="6352"/>
                  </a:lnTo>
                  <a:lnTo>
                    <a:pt x="3153" y="6360"/>
                  </a:lnTo>
                  <a:lnTo>
                    <a:pt x="3104" y="6365"/>
                  </a:lnTo>
                  <a:lnTo>
                    <a:pt x="3055" y="6368"/>
                  </a:lnTo>
                  <a:lnTo>
                    <a:pt x="3005" y="6370"/>
                  </a:lnTo>
                  <a:lnTo>
                    <a:pt x="3005" y="6370"/>
                  </a:lnTo>
                  <a:lnTo>
                    <a:pt x="2916" y="6371"/>
                  </a:lnTo>
                  <a:lnTo>
                    <a:pt x="2828" y="6370"/>
                  </a:lnTo>
                  <a:lnTo>
                    <a:pt x="2740" y="6366"/>
                  </a:lnTo>
                  <a:lnTo>
                    <a:pt x="2651" y="6361"/>
                  </a:lnTo>
                  <a:lnTo>
                    <a:pt x="2563" y="6353"/>
                  </a:lnTo>
                  <a:lnTo>
                    <a:pt x="2476" y="6343"/>
                  </a:lnTo>
                  <a:lnTo>
                    <a:pt x="2388" y="6331"/>
                  </a:lnTo>
                  <a:lnTo>
                    <a:pt x="2301" y="6317"/>
                  </a:lnTo>
                  <a:lnTo>
                    <a:pt x="2257" y="6308"/>
                  </a:lnTo>
                  <a:lnTo>
                    <a:pt x="2213" y="6300"/>
                  </a:lnTo>
                  <a:lnTo>
                    <a:pt x="2170" y="6290"/>
                  </a:lnTo>
                  <a:lnTo>
                    <a:pt x="2126" y="6280"/>
                  </a:lnTo>
                  <a:lnTo>
                    <a:pt x="2083" y="6270"/>
                  </a:lnTo>
                  <a:lnTo>
                    <a:pt x="2039" y="6258"/>
                  </a:lnTo>
                  <a:lnTo>
                    <a:pt x="1996" y="6246"/>
                  </a:lnTo>
                  <a:lnTo>
                    <a:pt x="1952" y="6234"/>
                  </a:lnTo>
                  <a:lnTo>
                    <a:pt x="1909" y="6220"/>
                  </a:lnTo>
                  <a:lnTo>
                    <a:pt x="1866" y="6206"/>
                  </a:lnTo>
                  <a:lnTo>
                    <a:pt x="1823" y="6192"/>
                  </a:lnTo>
                  <a:lnTo>
                    <a:pt x="1780" y="6176"/>
                  </a:lnTo>
                  <a:lnTo>
                    <a:pt x="1737" y="6160"/>
                  </a:lnTo>
                  <a:lnTo>
                    <a:pt x="1694" y="6143"/>
                  </a:lnTo>
                  <a:lnTo>
                    <a:pt x="1652" y="6125"/>
                  </a:lnTo>
                  <a:lnTo>
                    <a:pt x="1609" y="6107"/>
                  </a:lnTo>
                  <a:lnTo>
                    <a:pt x="1609" y="6107"/>
                  </a:lnTo>
                  <a:lnTo>
                    <a:pt x="1523" y="6068"/>
                  </a:lnTo>
                  <a:lnTo>
                    <a:pt x="1480" y="6049"/>
                  </a:lnTo>
                  <a:lnTo>
                    <a:pt x="1480" y="6049"/>
                  </a:lnTo>
                  <a:lnTo>
                    <a:pt x="1479" y="6052"/>
                  </a:lnTo>
                  <a:lnTo>
                    <a:pt x="1477" y="6061"/>
                  </a:lnTo>
                  <a:lnTo>
                    <a:pt x="1477" y="6068"/>
                  </a:lnTo>
                  <a:lnTo>
                    <a:pt x="1477" y="6077"/>
                  </a:lnTo>
                  <a:lnTo>
                    <a:pt x="1477" y="6088"/>
                  </a:lnTo>
                  <a:lnTo>
                    <a:pt x="1479" y="6100"/>
                  </a:lnTo>
                  <a:lnTo>
                    <a:pt x="1483" y="6113"/>
                  </a:lnTo>
                  <a:lnTo>
                    <a:pt x="1487" y="6128"/>
                  </a:lnTo>
                  <a:lnTo>
                    <a:pt x="1494" y="6145"/>
                  </a:lnTo>
                  <a:lnTo>
                    <a:pt x="1503" y="6163"/>
                  </a:lnTo>
                  <a:lnTo>
                    <a:pt x="1514" y="6184"/>
                  </a:lnTo>
                  <a:lnTo>
                    <a:pt x="1529" y="6205"/>
                  </a:lnTo>
                  <a:lnTo>
                    <a:pt x="1545" y="6229"/>
                  </a:lnTo>
                  <a:lnTo>
                    <a:pt x="1565" y="6253"/>
                  </a:lnTo>
                  <a:lnTo>
                    <a:pt x="1565" y="6253"/>
                  </a:lnTo>
                  <a:lnTo>
                    <a:pt x="1547" y="6250"/>
                  </a:lnTo>
                  <a:lnTo>
                    <a:pt x="1528" y="6248"/>
                  </a:lnTo>
                  <a:lnTo>
                    <a:pt x="1509" y="6248"/>
                  </a:lnTo>
                  <a:lnTo>
                    <a:pt x="1490" y="6248"/>
                  </a:lnTo>
                  <a:lnTo>
                    <a:pt x="1472" y="6250"/>
                  </a:lnTo>
                  <a:lnTo>
                    <a:pt x="1456" y="6253"/>
                  </a:lnTo>
                  <a:lnTo>
                    <a:pt x="1441" y="6258"/>
                  </a:lnTo>
                  <a:lnTo>
                    <a:pt x="1427" y="6264"/>
                  </a:lnTo>
                  <a:lnTo>
                    <a:pt x="1427" y="6264"/>
                  </a:lnTo>
                  <a:lnTo>
                    <a:pt x="1413" y="6273"/>
                  </a:lnTo>
                  <a:lnTo>
                    <a:pt x="1400" y="6283"/>
                  </a:lnTo>
                  <a:lnTo>
                    <a:pt x="1390" y="6293"/>
                  </a:lnTo>
                  <a:lnTo>
                    <a:pt x="1379" y="6302"/>
                  </a:lnTo>
                  <a:lnTo>
                    <a:pt x="1371" y="6311"/>
                  </a:lnTo>
                  <a:lnTo>
                    <a:pt x="1365" y="6321"/>
                  </a:lnTo>
                  <a:lnTo>
                    <a:pt x="1358" y="6333"/>
                  </a:lnTo>
                  <a:close/>
                  <a:moveTo>
                    <a:pt x="3487" y="3933"/>
                  </a:moveTo>
                  <a:lnTo>
                    <a:pt x="3487" y="3933"/>
                  </a:lnTo>
                  <a:lnTo>
                    <a:pt x="3470" y="3920"/>
                  </a:lnTo>
                  <a:lnTo>
                    <a:pt x="3453" y="3908"/>
                  </a:lnTo>
                  <a:lnTo>
                    <a:pt x="3436" y="3895"/>
                  </a:lnTo>
                  <a:lnTo>
                    <a:pt x="3418" y="3884"/>
                  </a:lnTo>
                  <a:lnTo>
                    <a:pt x="3383" y="3865"/>
                  </a:lnTo>
                  <a:lnTo>
                    <a:pt x="3349" y="3846"/>
                  </a:lnTo>
                  <a:lnTo>
                    <a:pt x="3314" y="3829"/>
                  </a:lnTo>
                  <a:lnTo>
                    <a:pt x="3281" y="3814"/>
                  </a:lnTo>
                  <a:lnTo>
                    <a:pt x="3250" y="3799"/>
                  </a:lnTo>
                  <a:lnTo>
                    <a:pt x="3219" y="3784"/>
                  </a:lnTo>
                  <a:lnTo>
                    <a:pt x="3219" y="3784"/>
                  </a:lnTo>
                  <a:lnTo>
                    <a:pt x="3235" y="3774"/>
                  </a:lnTo>
                  <a:lnTo>
                    <a:pt x="3251" y="3763"/>
                  </a:lnTo>
                  <a:lnTo>
                    <a:pt x="3268" y="3749"/>
                  </a:lnTo>
                  <a:lnTo>
                    <a:pt x="3284" y="3735"/>
                  </a:lnTo>
                  <a:lnTo>
                    <a:pt x="3298" y="3722"/>
                  </a:lnTo>
                  <a:lnTo>
                    <a:pt x="3302" y="3716"/>
                  </a:lnTo>
                  <a:lnTo>
                    <a:pt x="3305" y="3711"/>
                  </a:lnTo>
                  <a:lnTo>
                    <a:pt x="3305" y="3707"/>
                  </a:lnTo>
                  <a:lnTo>
                    <a:pt x="3305" y="3705"/>
                  </a:lnTo>
                  <a:lnTo>
                    <a:pt x="3303" y="3704"/>
                  </a:lnTo>
                  <a:lnTo>
                    <a:pt x="3303" y="3704"/>
                  </a:lnTo>
                  <a:lnTo>
                    <a:pt x="3290" y="3697"/>
                  </a:lnTo>
                  <a:lnTo>
                    <a:pt x="3278" y="3691"/>
                  </a:lnTo>
                  <a:lnTo>
                    <a:pt x="3266" y="3687"/>
                  </a:lnTo>
                  <a:lnTo>
                    <a:pt x="3255" y="3685"/>
                  </a:lnTo>
                  <a:lnTo>
                    <a:pt x="3236" y="3682"/>
                  </a:lnTo>
                  <a:lnTo>
                    <a:pt x="3229" y="3681"/>
                  </a:lnTo>
                  <a:lnTo>
                    <a:pt x="3229" y="3681"/>
                  </a:lnTo>
                  <a:lnTo>
                    <a:pt x="3168" y="3705"/>
                  </a:lnTo>
                  <a:lnTo>
                    <a:pt x="3105" y="3731"/>
                  </a:lnTo>
                  <a:lnTo>
                    <a:pt x="3045" y="3757"/>
                  </a:lnTo>
                  <a:lnTo>
                    <a:pt x="2984" y="3784"/>
                  </a:lnTo>
                  <a:lnTo>
                    <a:pt x="2924" y="3813"/>
                  </a:lnTo>
                  <a:lnTo>
                    <a:pt x="2866" y="3841"/>
                  </a:lnTo>
                  <a:lnTo>
                    <a:pt x="2809" y="3870"/>
                  </a:lnTo>
                  <a:lnTo>
                    <a:pt x="2754" y="3900"/>
                  </a:lnTo>
                  <a:lnTo>
                    <a:pt x="2700" y="3928"/>
                  </a:lnTo>
                  <a:lnTo>
                    <a:pt x="2649" y="3957"/>
                  </a:lnTo>
                  <a:lnTo>
                    <a:pt x="2600" y="3984"/>
                  </a:lnTo>
                  <a:lnTo>
                    <a:pt x="2553" y="4012"/>
                  </a:lnTo>
                  <a:lnTo>
                    <a:pt x="2510" y="4039"/>
                  </a:lnTo>
                  <a:lnTo>
                    <a:pt x="2469" y="4064"/>
                  </a:lnTo>
                  <a:lnTo>
                    <a:pt x="2433" y="4088"/>
                  </a:lnTo>
                  <a:lnTo>
                    <a:pt x="2399" y="4110"/>
                  </a:lnTo>
                  <a:lnTo>
                    <a:pt x="2399" y="4110"/>
                  </a:lnTo>
                  <a:lnTo>
                    <a:pt x="2394" y="4113"/>
                  </a:lnTo>
                  <a:lnTo>
                    <a:pt x="2394" y="4113"/>
                  </a:lnTo>
                  <a:lnTo>
                    <a:pt x="2382" y="4120"/>
                  </a:lnTo>
                  <a:lnTo>
                    <a:pt x="2371" y="4127"/>
                  </a:lnTo>
                  <a:lnTo>
                    <a:pt x="2360" y="4132"/>
                  </a:lnTo>
                  <a:lnTo>
                    <a:pt x="2348" y="4136"/>
                  </a:lnTo>
                  <a:lnTo>
                    <a:pt x="2336" y="4139"/>
                  </a:lnTo>
                  <a:lnTo>
                    <a:pt x="2325" y="4142"/>
                  </a:lnTo>
                  <a:lnTo>
                    <a:pt x="2313" y="4143"/>
                  </a:lnTo>
                  <a:lnTo>
                    <a:pt x="2302" y="4144"/>
                  </a:lnTo>
                  <a:lnTo>
                    <a:pt x="2278" y="4145"/>
                  </a:lnTo>
                  <a:lnTo>
                    <a:pt x="2256" y="4143"/>
                  </a:lnTo>
                  <a:lnTo>
                    <a:pt x="2233" y="4140"/>
                  </a:lnTo>
                  <a:lnTo>
                    <a:pt x="2213" y="4135"/>
                  </a:lnTo>
                  <a:lnTo>
                    <a:pt x="2193" y="4130"/>
                  </a:lnTo>
                  <a:lnTo>
                    <a:pt x="2176" y="4123"/>
                  </a:lnTo>
                  <a:lnTo>
                    <a:pt x="2161" y="4117"/>
                  </a:lnTo>
                  <a:lnTo>
                    <a:pt x="2146" y="4111"/>
                  </a:lnTo>
                  <a:lnTo>
                    <a:pt x="2127" y="4101"/>
                  </a:lnTo>
                  <a:lnTo>
                    <a:pt x="2121" y="4097"/>
                  </a:lnTo>
                  <a:lnTo>
                    <a:pt x="2100" y="4225"/>
                  </a:lnTo>
                  <a:lnTo>
                    <a:pt x="2100" y="4225"/>
                  </a:lnTo>
                  <a:lnTo>
                    <a:pt x="2123" y="4238"/>
                  </a:lnTo>
                  <a:lnTo>
                    <a:pt x="2144" y="4249"/>
                  </a:lnTo>
                  <a:lnTo>
                    <a:pt x="2165" y="4258"/>
                  </a:lnTo>
                  <a:lnTo>
                    <a:pt x="2182" y="4267"/>
                  </a:lnTo>
                  <a:lnTo>
                    <a:pt x="2198" y="4273"/>
                  </a:lnTo>
                  <a:lnTo>
                    <a:pt x="2214" y="4277"/>
                  </a:lnTo>
                  <a:lnTo>
                    <a:pt x="2227" y="4281"/>
                  </a:lnTo>
                  <a:lnTo>
                    <a:pt x="2238" y="4283"/>
                  </a:lnTo>
                  <a:lnTo>
                    <a:pt x="2238" y="4283"/>
                  </a:lnTo>
                  <a:lnTo>
                    <a:pt x="2219" y="4287"/>
                  </a:lnTo>
                  <a:lnTo>
                    <a:pt x="2198" y="4292"/>
                  </a:lnTo>
                  <a:lnTo>
                    <a:pt x="2178" y="4298"/>
                  </a:lnTo>
                  <a:lnTo>
                    <a:pt x="2156" y="4306"/>
                  </a:lnTo>
                  <a:lnTo>
                    <a:pt x="2137" y="4315"/>
                  </a:lnTo>
                  <a:lnTo>
                    <a:pt x="2119" y="4326"/>
                  </a:lnTo>
                  <a:lnTo>
                    <a:pt x="2109" y="4331"/>
                  </a:lnTo>
                  <a:lnTo>
                    <a:pt x="2101" y="4337"/>
                  </a:lnTo>
                  <a:lnTo>
                    <a:pt x="2094" y="4344"/>
                  </a:lnTo>
                  <a:lnTo>
                    <a:pt x="2088" y="4351"/>
                  </a:lnTo>
                  <a:lnTo>
                    <a:pt x="2132" y="4469"/>
                  </a:lnTo>
                  <a:lnTo>
                    <a:pt x="2132" y="4469"/>
                  </a:lnTo>
                  <a:lnTo>
                    <a:pt x="2144" y="4460"/>
                  </a:lnTo>
                  <a:lnTo>
                    <a:pt x="2160" y="4451"/>
                  </a:lnTo>
                  <a:lnTo>
                    <a:pt x="2181" y="4439"/>
                  </a:lnTo>
                  <a:lnTo>
                    <a:pt x="2193" y="4434"/>
                  </a:lnTo>
                  <a:lnTo>
                    <a:pt x="2207" y="4429"/>
                  </a:lnTo>
                  <a:lnTo>
                    <a:pt x="2222" y="4424"/>
                  </a:lnTo>
                  <a:lnTo>
                    <a:pt x="2237" y="4419"/>
                  </a:lnTo>
                  <a:lnTo>
                    <a:pt x="2255" y="4415"/>
                  </a:lnTo>
                  <a:lnTo>
                    <a:pt x="2273" y="4412"/>
                  </a:lnTo>
                  <a:lnTo>
                    <a:pt x="2292" y="4410"/>
                  </a:lnTo>
                  <a:lnTo>
                    <a:pt x="2313" y="4409"/>
                  </a:lnTo>
                  <a:lnTo>
                    <a:pt x="2313" y="4409"/>
                  </a:lnTo>
                  <a:lnTo>
                    <a:pt x="2316" y="4425"/>
                  </a:lnTo>
                  <a:lnTo>
                    <a:pt x="2316" y="4425"/>
                  </a:lnTo>
                  <a:lnTo>
                    <a:pt x="2316" y="4439"/>
                  </a:lnTo>
                  <a:lnTo>
                    <a:pt x="2316" y="4454"/>
                  </a:lnTo>
                  <a:lnTo>
                    <a:pt x="2314" y="4468"/>
                  </a:lnTo>
                  <a:lnTo>
                    <a:pt x="2311" y="4483"/>
                  </a:lnTo>
                  <a:lnTo>
                    <a:pt x="2306" y="4499"/>
                  </a:lnTo>
                  <a:lnTo>
                    <a:pt x="2301" y="4514"/>
                  </a:lnTo>
                  <a:lnTo>
                    <a:pt x="2293" y="4529"/>
                  </a:lnTo>
                  <a:lnTo>
                    <a:pt x="2285" y="4545"/>
                  </a:lnTo>
                  <a:lnTo>
                    <a:pt x="2277" y="4561"/>
                  </a:lnTo>
                  <a:lnTo>
                    <a:pt x="2267" y="4576"/>
                  </a:lnTo>
                  <a:lnTo>
                    <a:pt x="2256" y="4593"/>
                  </a:lnTo>
                  <a:lnTo>
                    <a:pt x="2244" y="4608"/>
                  </a:lnTo>
                  <a:lnTo>
                    <a:pt x="2231" y="4624"/>
                  </a:lnTo>
                  <a:lnTo>
                    <a:pt x="2218" y="4640"/>
                  </a:lnTo>
                  <a:lnTo>
                    <a:pt x="2204" y="4655"/>
                  </a:lnTo>
                  <a:lnTo>
                    <a:pt x="2189" y="4670"/>
                  </a:lnTo>
                  <a:lnTo>
                    <a:pt x="2157" y="4701"/>
                  </a:lnTo>
                  <a:lnTo>
                    <a:pt x="2124" y="4730"/>
                  </a:lnTo>
                  <a:lnTo>
                    <a:pt x="2088" y="4757"/>
                  </a:lnTo>
                  <a:lnTo>
                    <a:pt x="2051" y="4783"/>
                  </a:lnTo>
                  <a:lnTo>
                    <a:pt x="2013" y="4807"/>
                  </a:lnTo>
                  <a:lnTo>
                    <a:pt x="1975" y="4829"/>
                  </a:lnTo>
                  <a:lnTo>
                    <a:pt x="1937" y="4848"/>
                  </a:lnTo>
                  <a:lnTo>
                    <a:pt x="1917" y="4858"/>
                  </a:lnTo>
                  <a:lnTo>
                    <a:pt x="1899" y="4866"/>
                  </a:lnTo>
                  <a:lnTo>
                    <a:pt x="1899" y="4866"/>
                  </a:lnTo>
                  <a:lnTo>
                    <a:pt x="1861" y="4880"/>
                  </a:lnTo>
                  <a:lnTo>
                    <a:pt x="1823" y="4892"/>
                  </a:lnTo>
                  <a:lnTo>
                    <a:pt x="1788" y="4904"/>
                  </a:lnTo>
                  <a:lnTo>
                    <a:pt x="1754" y="4913"/>
                  </a:lnTo>
                  <a:lnTo>
                    <a:pt x="1721" y="4921"/>
                  </a:lnTo>
                  <a:lnTo>
                    <a:pt x="1690" y="4927"/>
                  </a:lnTo>
                  <a:lnTo>
                    <a:pt x="1661" y="4931"/>
                  </a:lnTo>
                  <a:lnTo>
                    <a:pt x="1633" y="4935"/>
                  </a:lnTo>
                  <a:lnTo>
                    <a:pt x="1607" y="4937"/>
                  </a:lnTo>
                  <a:lnTo>
                    <a:pt x="1584" y="4938"/>
                  </a:lnTo>
                  <a:lnTo>
                    <a:pt x="1562" y="4938"/>
                  </a:lnTo>
                  <a:lnTo>
                    <a:pt x="1543" y="4937"/>
                  </a:lnTo>
                  <a:lnTo>
                    <a:pt x="1527" y="4935"/>
                  </a:lnTo>
                  <a:lnTo>
                    <a:pt x="1513" y="4932"/>
                  </a:lnTo>
                  <a:lnTo>
                    <a:pt x="1502" y="4928"/>
                  </a:lnTo>
                  <a:lnTo>
                    <a:pt x="1493" y="4924"/>
                  </a:lnTo>
                  <a:lnTo>
                    <a:pt x="1493" y="4924"/>
                  </a:lnTo>
                  <a:lnTo>
                    <a:pt x="1469" y="4908"/>
                  </a:lnTo>
                  <a:lnTo>
                    <a:pt x="1448" y="4890"/>
                  </a:lnTo>
                  <a:lnTo>
                    <a:pt x="1429" y="4872"/>
                  </a:lnTo>
                  <a:lnTo>
                    <a:pt x="1413" y="4853"/>
                  </a:lnTo>
                  <a:lnTo>
                    <a:pt x="1398" y="4836"/>
                  </a:lnTo>
                  <a:lnTo>
                    <a:pt x="1384" y="4818"/>
                  </a:lnTo>
                  <a:lnTo>
                    <a:pt x="1373" y="4800"/>
                  </a:lnTo>
                  <a:lnTo>
                    <a:pt x="1362" y="4783"/>
                  </a:lnTo>
                  <a:lnTo>
                    <a:pt x="1343" y="4752"/>
                  </a:lnTo>
                  <a:lnTo>
                    <a:pt x="1333" y="4738"/>
                  </a:lnTo>
                  <a:lnTo>
                    <a:pt x="1324" y="4726"/>
                  </a:lnTo>
                  <a:lnTo>
                    <a:pt x="1315" y="4714"/>
                  </a:lnTo>
                  <a:lnTo>
                    <a:pt x="1305" y="4706"/>
                  </a:lnTo>
                  <a:lnTo>
                    <a:pt x="1293" y="4699"/>
                  </a:lnTo>
                  <a:lnTo>
                    <a:pt x="1287" y="4696"/>
                  </a:lnTo>
                  <a:lnTo>
                    <a:pt x="1281" y="4694"/>
                  </a:lnTo>
                  <a:lnTo>
                    <a:pt x="1281" y="4694"/>
                  </a:lnTo>
                  <a:lnTo>
                    <a:pt x="1277" y="4694"/>
                  </a:lnTo>
                  <a:lnTo>
                    <a:pt x="1274" y="4694"/>
                  </a:lnTo>
                  <a:lnTo>
                    <a:pt x="1267" y="4696"/>
                  </a:lnTo>
                  <a:lnTo>
                    <a:pt x="1260" y="4699"/>
                  </a:lnTo>
                  <a:lnTo>
                    <a:pt x="1252" y="4703"/>
                  </a:lnTo>
                  <a:lnTo>
                    <a:pt x="1244" y="4707"/>
                  </a:lnTo>
                  <a:lnTo>
                    <a:pt x="1235" y="4710"/>
                  </a:lnTo>
                  <a:lnTo>
                    <a:pt x="1227" y="4712"/>
                  </a:lnTo>
                  <a:lnTo>
                    <a:pt x="1222" y="4712"/>
                  </a:lnTo>
                  <a:lnTo>
                    <a:pt x="1217" y="4712"/>
                  </a:lnTo>
                  <a:lnTo>
                    <a:pt x="1217" y="4712"/>
                  </a:lnTo>
                  <a:lnTo>
                    <a:pt x="1196" y="4709"/>
                  </a:lnTo>
                  <a:lnTo>
                    <a:pt x="1176" y="4706"/>
                  </a:lnTo>
                  <a:lnTo>
                    <a:pt x="1155" y="4705"/>
                  </a:lnTo>
                  <a:lnTo>
                    <a:pt x="1134" y="4704"/>
                  </a:lnTo>
                  <a:lnTo>
                    <a:pt x="1114" y="4704"/>
                  </a:lnTo>
                  <a:lnTo>
                    <a:pt x="1094" y="4706"/>
                  </a:lnTo>
                  <a:lnTo>
                    <a:pt x="1075" y="4708"/>
                  </a:lnTo>
                  <a:lnTo>
                    <a:pt x="1055" y="4712"/>
                  </a:lnTo>
                  <a:lnTo>
                    <a:pt x="1037" y="4716"/>
                  </a:lnTo>
                  <a:lnTo>
                    <a:pt x="1020" y="4724"/>
                  </a:lnTo>
                  <a:lnTo>
                    <a:pt x="1004" y="4731"/>
                  </a:lnTo>
                  <a:lnTo>
                    <a:pt x="990" y="4740"/>
                  </a:lnTo>
                  <a:lnTo>
                    <a:pt x="976" y="4751"/>
                  </a:lnTo>
                  <a:lnTo>
                    <a:pt x="970" y="4757"/>
                  </a:lnTo>
                  <a:lnTo>
                    <a:pt x="964" y="4763"/>
                  </a:lnTo>
                  <a:lnTo>
                    <a:pt x="959" y="4771"/>
                  </a:lnTo>
                  <a:lnTo>
                    <a:pt x="955" y="4779"/>
                  </a:lnTo>
                  <a:lnTo>
                    <a:pt x="951" y="4786"/>
                  </a:lnTo>
                  <a:lnTo>
                    <a:pt x="947" y="4795"/>
                  </a:lnTo>
                  <a:lnTo>
                    <a:pt x="947" y="4795"/>
                  </a:lnTo>
                  <a:lnTo>
                    <a:pt x="985" y="4793"/>
                  </a:lnTo>
                  <a:lnTo>
                    <a:pt x="1020" y="4792"/>
                  </a:lnTo>
                  <a:lnTo>
                    <a:pt x="1040" y="4792"/>
                  </a:lnTo>
                  <a:lnTo>
                    <a:pt x="1059" y="4793"/>
                  </a:lnTo>
                  <a:lnTo>
                    <a:pt x="1077" y="4794"/>
                  </a:lnTo>
                  <a:lnTo>
                    <a:pt x="1092" y="4797"/>
                  </a:lnTo>
                  <a:lnTo>
                    <a:pt x="1105" y="4800"/>
                  </a:lnTo>
                  <a:lnTo>
                    <a:pt x="1110" y="4802"/>
                  </a:lnTo>
                  <a:lnTo>
                    <a:pt x="1115" y="4804"/>
                  </a:lnTo>
                  <a:lnTo>
                    <a:pt x="1117" y="4807"/>
                  </a:lnTo>
                  <a:lnTo>
                    <a:pt x="1119" y="4811"/>
                  </a:lnTo>
                  <a:lnTo>
                    <a:pt x="1119" y="4814"/>
                  </a:lnTo>
                  <a:lnTo>
                    <a:pt x="1117" y="4818"/>
                  </a:lnTo>
                  <a:lnTo>
                    <a:pt x="1114" y="4822"/>
                  </a:lnTo>
                  <a:lnTo>
                    <a:pt x="1109" y="4827"/>
                  </a:lnTo>
                  <a:lnTo>
                    <a:pt x="1102" y="4832"/>
                  </a:lnTo>
                  <a:lnTo>
                    <a:pt x="1094" y="4837"/>
                  </a:lnTo>
                  <a:lnTo>
                    <a:pt x="1094" y="4837"/>
                  </a:lnTo>
                  <a:lnTo>
                    <a:pt x="1085" y="4843"/>
                  </a:lnTo>
                  <a:lnTo>
                    <a:pt x="1079" y="4849"/>
                  </a:lnTo>
                  <a:lnTo>
                    <a:pt x="1074" y="4856"/>
                  </a:lnTo>
                  <a:lnTo>
                    <a:pt x="1072" y="4863"/>
                  </a:lnTo>
                  <a:lnTo>
                    <a:pt x="1071" y="4870"/>
                  </a:lnTo>
                  <a:lnTo>
                    <a:pt x="1072" y="4876"/>
                  </a:lnTo>
                  <a:lnTo>
                    <a:pt x="1074" y="4883"/>
                  </a:lnTo>
                  <a:lnTo>
                    <a:pt x="1077" y="4890"/>
                  </a:lnTo>
                  <a:lnTo>
                    <a:pt x="1082" y="4898"/>
                  </a:lnTo>
                  <a:lnTo>
                    <a:pt x="1088" y="4906"/>
                  </a:lnTo>
                  <a:lnTo>
                    <a:pt x="1096" y="4913"/>
                  </a:lnTo>
                  <a:lnTo>
                    <a:pt x="1104" y="4920"/>
                  </a:lnTo>
                  <a:lnTo>
                    <a:pt x="1124" y="4935"/>
                  </a:lnTo>
                  <a:lnTo>
                    <a:pt x="1146" y="4951"/>
                  </a:lnTo>
                  <a:lnTo>
                    <a:pt x="1170" y="4966"/>
                  </a:lnTo>
                  <a:lnTo>
                    <a:pt x="1195" y="4980"/>
                  </a:lnTo>
                  <a:lnTo>
                    <a:pt x="1247" y="5008"/>
                  </a:lnTo>
                  <a:lnTo>
                    <a:pt x="1293" y="5031"/>
                  </a:lnTo>
                  <a:lnTo>
                    <a:pt x="1313" y="5042"/>
                  </a:lnTo>
                  <a:lnTo>
                    <a:pt x="1329" y="5051"/>
                  </a:lnTo>
                  <a:lnTo>
                    <a:pt x="1329" y="5051"/>
                  </a:lnTo>
                  <a:lnTo>
                    <a:pt x="1336" y="5056"/>
                  </a:lnTo>
                  <a:lnTo>
                    <a:pt x="1339" y="5060"/>
                  </a:lnTo>
                  <a:lnTo>
                    <a:pt x="1341" y="5063"/>
                  </a:lnTo>
                  <a:lnTo>
                    <a:pt x="1339" y="5066"/>
                  </a:lnTo>
                  <a:lnTo>
                    <a:pt x="1336" y="5068"/>
                  </a:lnTo>
                  <a:lnTo>
                    <a:pt x="1332" y="5070"/>
                  </a:lnTo>
                  <a:lnTo>
                    <a:pt x="1326" y="5071"/>
                  </a:lnTo>
                  <a:lnTo>
                    <a:pt x="1326" y="5071"/>
                  </a:lnTo>
                  <a:lnTo>
                    <a:pt x="1316" y="5071"/>
                  </a:lnTo>
                  <a:lnTo>
                    <a:pt x="1304" y="5069"/>
                  </a:lnTo>
                  <a:lnTo>
                    <a:pt x="1289" y="5066"/>
                  </a:lnTo>
                  <a:lnTo>
                    <a:pt x="1273" y="5061"/>
                  </a:lnTo>
                  <a:lnTo>
                    <a:pt x="1237" y="5050"/>
                  </a:lnTo>
                  <a:lnTo>
                    <a:pt x="1197" y="5035"/>
                  </a:lnTo>
                  <a:lnTo>
                    <a:pt x="1115" y="5004"/>
                  </a:lnTo>
                  <a:lnTo>
                    <a:pt x="1077" y="4988"/>
                  </a:lnTo>
                  <a:lnTo>
                    <a:pt x="1042" y="4977"/>
                  </a:lnTo>
                  <a:lnTo>
                    <a:pt x="1042" y="4977"/>
                  </a:lnTo>
                  <a:lnTo>
                    <a:pt x="1031" y="4974"/>
                  </a:lnTo>
                  <a:lnTo>
                    <a:pt x="1020" y="4972"/>
                  </a:lnTo>
                  <a:lnTo>
                    <a:pt x="1011" y="4972"/>
                  </a:lnTo>
                  <a:lnTo>
                    <a:pt x="1003" y="4973"/>
                  </a:lnTo>
                  <a:lnTo>
                    <a:pt x="996" y="4975"/>
                  </a:lnTo>
                  <a:lnTo>
                    <a:pt x="990" y="4978"/>
                  </a:lnTo>
                  <a:lnTo>
                    <a:pt x="985" y="4981"/>
                  </a:lnTo>
                  <a:lnTo>
                    <a:pt x="981" y="4984"/>
                  </a:lnTo>
                  <a:lnTo>
                    <a:pt x="972" y="4993"/>
                  </a:lnTo>
                  <a:lnTo>
                    <a:pt x="966" y="5000"/>
                  </a:lnTo>
                  <a:lnTo>
                    <a:pt x="962" y="5005"/>
                  </a:lnTo>
                  <a:lnTo>
                    <a:pt x="959" y="5006"/>
                  </a:lnTo>
                  <a:lnTo>
                    <a:pt x="957" y="5007"/>
                  </a:lnTo>
                  <a:lnTo>
                    <a:pt x="957" y="5007"/>
                  </a:lnTo>
                  <a:lnTo>
                    <a:pt x="948" y="5006"/>
                  </a:lnTo>
                  <a:lnTo>
                    <a:pt x="938" y="5005"/>
                  </a:lnTo>
                  <a:lnTo>
                    <a:pt x="926" y="5006"/>
                  </a:lnTo>
                  <a:lnTo>
                    <a:pt x="916" y="5006"/>
                  </a:lnTo>
                  <a:lnTo>
                    <a:pt x="894" y="5010"/>
                  </a:lnTo>
                  <a:lnTo>
                    <a:pt x="871" y="5016"/>
                  </a:lnTo>
                  <a:lnTo>
                    <a:pt x="849" y="5024"/>
                  </a:lnTo>
                  <a:lnTo>
                    <a:pt x="826" y="5034"/>
                  </a:lnTo>
                  <a:lnTo>
                    <a:pt x="805" y="5048"/>
                  </a:lnTo>
                  <a:lnTo>
                    <a:pt x="794" y="5055"/>
                  </a:lnTo>
                  <a:lnTo>
                    <a:pt x="785" y="5062"/>
                  </a:lnTo>
                  <a:lnTo>
                    <a:pt x="776" y="5070"/>
                  </a:lnTo>
                  <a:lnTo>
                    <a:pt x="768" y="5078"/>
                  </a:lnTo>
                  <a:lnTo>
                    <a:pt x="760" y="5088"/>
                  </a:lnTo>
                  <a:lnTo>
                    <a:pt x="753" y="5097"/>
                  </a:lnTo>
                  <a:lnTo>
                    <a:pt x="746" y="5107"/>
                  </a:lnTo>
                  <a:lnTo>
                    <a:pt x="740" y="5116"/>
                  </a:lnTo>
                  <a:lnTo>
                    <a:pt x="736" y="5127"/>
                  </a:lnTo>
                  <a:lnTo>
                    <a:pt x="732" y="5139"/>
                  </a:lnTo>
                  <a:lnTo>
                    <a:pt x="730" y="5150"/>
                  </a:lnTo>
                  <a:lnTo>
                    <a:pt x="728" y="5161"/>
                  </a:lnTo>
                  <a:lnTo>
                    <a:pt x="728" y="5173"/>
                  </a:lnTo>
                  <a:lnTo>
                    <a:pt x="728" y="5186"/>
                  </a:lnTo>
                  <a:lnTo>
                    <a:pt x="731" y="5199"/>
                  </a:lnTo>
                  <a:lnTo>
                    <a:pt x="734" y="5211"/>
                  </a:lnTo>
                  <a:lnTo>
                    <a:pt x="739" y="5225"/>
                  </a:lnTo>
                  <a:lnTo>
                    <a:pt x="745" y="5239"/>
                  </a:lnTo>
                  <a:lnTo>
                    <a:pt x="745" y="5239"/>
                  </a:lnTo>
                  <a:lnTo>
                    <a:pt x="748" y="5234"/>
                  </a:lnTo>
                  <a:lnTo>
                    <a:pt x="758" y="5221"/>
                  </a:lnTo>
                  <a:lnTo>
                    <a:pt x="773" y="5202"/>
                  </a:lnTo>
                  <a:lnTo>
                    <a:pt x="781" y="5192"/>
                  </a:lnTo>
                  <a:lnTo>
                    <a:pt x="791" y="5182"/>
                  </a:lnTo>
                  <a:lnTo>
                    <a:pt x="803" y="5171"/>
                  </a:lnTo>
                  <a:lnTo>
                    <a:pt x="814" y="5162"/>
                  </a:lnTo>
                  <a:lnTo>
                    <a:pt x="826" y="5154"/>
                  </a:lnTo>
                  <a:lnTo>
                    <a:pt x="839" y="5147"/>
                  </a:lnTo>
                  <a:lnTo>
                    <a:pt x="853" y="5142"/>
                  </a:lnTo>
                  <a:lnTo>
                    <a:pt x="859" y="5140"/>
                  </a:lnTo>
                  <a:lnTo>
                    <a:pt x="866" y="5139"/>
                  </a:lnTo>
                  <a:lnTo>
                    <a:pt x="873" y="5139"/>
                  </a:lnTo>
                  <a:lnTo>
                    <a:pt x="879" y="5139"/>
                  </a:lnTo>
                  <a:lnTo>
                    <a:pt x="887" y="5140"/>
                  </a:lnTo>
                  <a:lnTo>
                    <a:pt x="894" y="5142"/>
                  </a:lnTo>
                  <a:lnTo>
                    <a:pt x="894" y="5142"/>
                  </a:lnTo>
                  <a:lnTo>
                    <a:pt x="899" y="5144"/>
                  </a:lnTo>
                  <a:lnTo>
                    <a:pt x="902" y="5148"/>
                  </a:lnTo>
                  <a:lnTo>
                    <a:pt x="903" y="5154"/>
                  </a:lnTo>
                  <a:lnTo>
                    <a:pt x="904" y="5160"/>
                  </a:lnTo>
                  <a:lnTo>
                    <a:pt x="904" y="5177"/>
                  </a:lnTo>
                  <a:lnTo>
                    <a:pt x="902" y="5195"/>
                  </a:lnTo>
                  <a:lnTo>
                    <a:pt x="902" y="5205"/>
                  </a:lnTo>
                  <a:lnTo>
                    <a:pt x="902" y="5215"/>
                  </a:lnTo>
                  <a:lnTo>
                    <a:pt x="904" y="5226"/>
                  </a:lnTo>
                  <a:lnTo>
                    <a:pt x="906" y="5235"/>
                  </a:lnTo>
                  <a:lnTo>
                    <a:pt x="910" y="5245"/>
                  </a:lnTo>
                  <a:lnTo>
                    <a:pt x="915" y="5254"/>
                  </a:lnTo>
                  <a:lnTo>
                    <a:pt x="923" y="5262"/>
                  </a:lnTo>
                  <a:lnTo>
                    <a:pt x="933" y="5270"/>
                  </a:lnTo>
                  <a:lnTo>
                    <a:pt x="933" y="5270"/>
                  </a:lnTo>
                  <a:lnTo>
                    <a:pt x="941" y="5274"/>
                  </a:lnTo>
                  <a:lnTo>
                    <a:pt x="949" y="5277"/>
                  </a:lnTo>
                  <a:lnTo>
                    <a:pt x="959" y="5280"/>
                  </a:lnTo>
                  <a:lnTo>
                    <a:pt x="970" y="5281"/>
                  </a:lnTo>
                  <a:lnTo>
                    <a:pt x="982" y="5283"/>
                  </a:lnTo>
                  <a:lnTo>
                    <a:pt x="995" y="5283"/>
                  </a:lnTo>
                  <a:lnTo>
                    <a:pt x="1021" y="5283"/>
                  </a:lnTo>
                  <a:lnTo>
                    <a:pt x="1051" y="5281"/>
                  </a:lnTo>
                  <a:lnTo>
                    <a:pt x="1082" y="5278"/>
                  </a:lnTo>
                  <a:lnTo>
                    <a:pt x="1146" y="5270"/>
                  </a:lnTo>
                  <a:lnTo>
                    <a:pt x="1209" y="5261"/>
                  </a:lnTo>
                  <a:lnTo>
                    <a:pt x="1238" y="5257"/>
                  </a:lnTo>
                  <a:lnTo>
                    <a:pt x="1266" y="5255"/>
                  </a:lnTo>
                  <a:lnTo>
                    <a:pt x="1290" y="5254"/>
                  </a:lnTo>
                  <a:lnTo>
                    <a:pt x="1311" y="5255"/>
                  </a:lnTo>
                  <a:lnTo>
                    <a:pt x="1320" y="5256"/>
                  </a:lnTo>
                  <a:lnTo>
                    <a:pt x="1328" y="5258"/>
                  </a:lnTo>
                  <a:lnTo>
                    <a:pt x="1335" y="5261"/>
                  </a:lnTo>
                  <a:lnTo>
                    <a:pt x="1341" y="5266"/>
                  </a:lnTo>
                  <a:lnTo>
                    <a:pt x="1341" y="5266"/>
                  </a:lnTo>
                  <a:lnTo>
                    <a:pt x="1344" y="5269"/>
                  </a:lnTo>
                  <a:lnTo>
                    <a:pt x="1345" y="5272"/>
                  </a:lnTo>
                  <a:lnTo>
                    <a:pt x="1344" y="5274"/>
                  </a:lnTo>
                  <a:lnTo>
                    <a:pt x="1339" y="5277"/>
                  </a:lnTo>
                  <a:lnTo>
                    <a:pt x="1335" y="5279"/>
                  </a:lnTo>
                  <a:lnTo>
                    <a:pt x="1328" y="5282"/>
                  </a:lnTo>
                  <a:lnTo>
                    <a:pt x="1311" y="5286"/>
                  </a:lnTo>
                  <a:lnTo>
                    <a:pt x="1288" y="5290"/>
                  </a:lnTo>
                  <a:lnTo>
                    <a:pt x="1263" y="5293"/>
                  </a:lnTo>
                  <a:lnTo>
                    <a:pt x="1202" y="5301"/>
                  </a:lnTo>
                  <a:lnTo>
                    <a:pt x="1171" y="5305"/>
                  </a:lnTo>
                  <a:lnTo>
                    <a:pt x="1140" y="5310"/>
                  </a:lnTo>
                  <a:lnTo>
                    <a:pt x="1110" y="5317"/>
                  </a:lnTo>
                  <a:lnTo>
                    <a:pt x="1084" y="5323"/>
                  </a:lnTo>
                  <a:lnTo>
                    <a:pt x="1072" y="5327"/>
                  </a:lnTo>
                  <a:lnTo>
                    <a:pt x="1060" y="5331"/>
                  </a:lnTo>
                  <a:lnTo>
                    <a:pt x="1050" y="5335"/>
                  </a:lnTo>
                  <a:lnTo>
                    <a:pt x="1042" y="5340"/>
                  </a:lnTo>
                  <a:lnTo>
                    <a:pt x="1035" y="5345"/>
                  </a:lnTo>
                  <a:lnTo>
                    <a:pt x="1030" y="5350"/>
                  </a:lnTo>
                  <a:lnTo>
                    <a:pt x="1026" y="5357"/>
                  </a:lnTo>
                  <a:lnTo>
                    <a:pt x="1024" y="5363"/>
                  </a:lnTo>
                  <a:lnTo>
                    <a:pt x="1024" y="5363"/>
                  </a:lnTo>
                  <a:lnTo>
                    <a:pt x="1023" y="5368"/>
                  </a:lnTo>
                  <a:lnTo>
                    <a:pt x="1023" y="5377"/>
                  </a:lnTo>
                  <a:lnTo>
                    <a:pt x="1024" y="5388"/>
                  </a:lnTo>
                  <a:lnTo>
                    <a:pt x="1026" y="5394"/>
                  </a:lnTo>
                  <a:lnTo>
                    <a:pt x="1028" y="5399"/>
                  </a:lnTo>
                  <a:lnTo>
                    <a:pt x="1028" y="5399"/>
                  </a:lnTo>
                  <a:lnTo>
                    <a:pt x="1029" y="5406"/>
                  </a:lnTo>
                  <a:lnTo>
                    <a:pt x="1029" y="5412"/>
                  </a:lnTo>
                  <a:lnTo>
                    <a:pt x="1026" y="5418"/>
                  </a:lnTo>
                  <a:lnTo>
                    <a:pt x="1021" y="5424"/>
                  </a:lnTo>
                  <a:lnTo>
                    <a:pt x="1011" y="5438"/>
                  </a:lnTo>
                  <a:lnTo>
                    <a:pt x="997" y="5456"/>
                  </a:lnTo>
                  <a:lnTo>
                    <a:pt x="989" y="5466"/>
                  </a:lnTo>
                  <a:lnTo>
                    <a:pt x="982" y="5476"/>
                  </a:lnTo>
                  <a:lnTo>
                    <a:pt x="974" y="5488"/>
                  </a:lnTo>
                  <a:lnTo>
                    <a:pt x="968" y="5501"/>
                  </a:lnTo>
                  <a:lnTo>
                    <a:pt x="962" y="5515"/>
                  </a:lnTo>
                  <a:lnTo>
                    <a:pt x="958" y="5530"/>
                  </a:lnTo>
                  <a:lnTo>
                    <a:pt x="954" y="5547"/>
                  </a:lnTo>
                  <a:lnTo>
                    <a:pt x="953" y="5565"/>
                  </a:lnTo>
                  <a:lnTo>
                    <a:pt x="953" y="5565"/>
                  </a:lnTo>
                  <a:lnTo>
                    <a:pt x="953" y="5574"/>
                  </a:lnTo>
                  <a:lnTo>
                    <a:pt x="953" y="5583"/>
                  </a:lnTo>
                  <a:lnTo>
                    <a:pt x="956" y="5601"/>
                  </a:lnTo>
                  <a:lnTo>
                    <a:pt x="961" y="5618"/>
                  </a:lnTo>
                  <a:lnTo>
                    <a:pt x="967" y="5634"/>
                  </a:lnTo>
                  <a:lnTo>
                    <a:pt x="975" y="5649"/>
                  </a:lnTo>
                  <a:lnTo>
                    <a:pt x="985" y="5663"/>
                  </a:lnTo>
                  <a:lnTo>
                    <a:pt x="995" y="5676"/>
                  </a:lnTo>
                  <a:lnTo>
                    <a:pt x="1005" y="5688"/>
                  </a:lnTo>
                  <a:lnTo>
                    <a:pt x="1015" y="5698"/>
                  </a:lnTo>
                  <a:lnTo>
                    <a:pt x="1026" y="5707"/>
                  </a:lnTo>
                  <a:lnTo>
                    <a:pt x="1043" y="5723"/>
                  </a:lnTo>
                  <a:lnTo>
                    <a:pt x="1055" y="5731"/>
                  </a:lnTo>
                  <a:lnTo>
                    <a:pt x="1060" y="5735"/>
                  </a:lnTo>
                  <a:lnTo>
                    <a:pt x="1060" y="5735"/>
                  </a:lnTo>
                  <a:lnTo>
                    <a:pt x="1062" y="5731"/>
                  </a:lnTo>
                  <a:lnTo>
                    <a:pt x="1063" y="5726"/>
                  </a:lnTo>
                  <a:lnTo>
                    <a:pt x="1063" y="5717"/>
                  </a:lnTo>
                  <a:lnTo>
                    <a:pt x="1062" y="5708"/>
                  </a:lnTo>
                  <a:lnTo>
                    <a:pt x="1059" y="5687"/>
                  </a:lnTo>
                  <a:lnTo>
                    <a:pt x="1056" y="5661"/>
                  </a:lnTo>
                  <a:lnTo>
                    <a:pt x="1055" y="5649"/>
                  </a:lnTo>
                  <a:lnTo>
                    <a:pt x="1054" y="5636"/>
                  </a:lnTo>
                  <a:lnTo>
                    <a:pt x="1054" y="5624"/>
                  </a:lnTo>
                  <a:lnTo>
                    <a:pt x="1056" y="5613"/>
                  </a:lnTo>
                  <a:lnTo>
                    <a:pt x="1058" y="5603"/>
                  </a:lnTo>
                  <a:lnTo>
                    <a:pt x="1062" y="5594"/>
                  </a:lnTo>
                  <a:lnTo>
                    <a:pt x="1065" y="5591"/>
                  </a:lnTo>
                  <a:lnTo>
                    <a:pt x="1069" y="5587"/>
                  </a:lnTo>
                  <a:lnTo>
                    <a:pt x="1072" y="5585"/>
                  </a:lnTo>
                  <a:lnTo>
                    <a:pt x="1076" y="5582"/>
                  </a:lnTo>
                  <a:lnTo>
                    <a:pt x="1076" y="5582"/>
                  </a:lnTo>
                  <a:lnTo>
                    <a:pt x="1081" y="5581"/>
                  </a:lnTo>
                  <a:lnTo>
                    <a:pt x="1085" y="5581"/>
                  </a:lnTo>
                  <a:lnTo>
                    <a:pt x="1090" y="5582"/>
                  </a:lnTo>
                  <a:lnTo>
                    <a:pt x="1094" y="5586"/>
                  </a:lnTo>
                  <a:lnTo>
                    <a:pt x="1103" y="5593"/>
                  </a:lnTo>
                  <a:lnTo>
                    <a:pt x="1114" y="5602"/>
                  </a:lnTo>
                  <a:lnTo>
                    <a:pt x="1125" y="5613"/>
                  </a:lnTo>
                  <a:lnTo>
                    <a:pt x="1138" y="5622"/>
                  </a:lnTo>
                  <a:lnTo>
                    <a:pt x="1145" y="5627"/>
                  </a:lnTo>
                  <a:lnTo>
                    <a:pt x="1152" y="5631"/>
                  </a:lnTo>
                  <a:lnTo>
                    <a:pt x="1162" y="5634"/>
                  </a:lnTo>
                  <a:lnTo>
                    <a:pt x="1170" y="5636"/>
                  </a:lnTo>
                  <a:lnTo>
                    <a:pt x="1170" y="5636"/>
                  </a:lnTo>
                  <a:lnTo>
                    <a:pt x="1179" y="5636"/>
                  </a:lnTo>
                  <a:lnTo>
                    <a:pt x="1188" y="5636"/>
                  </a:lnTo>
                  <a:lnTo>
                    <a:pt x="1196" y="5635"/>
                  </a:lnTo>
                  <a:lnTo>
                    <a:pt x="1206" y="5633"/>
                  </a:lnTo>
                  <a:lnTo>
                    <a:pt x="1214" y="5629"/>
                  </a:lnTo>
                  <a:lnTo>
                    <a:pt x="1222" y="5625"/>
                  </a:lnTo>
                  <a:lnTo>
                    <a:pt x="1229" y="5621"/>
                  </a:lnTo>
                  <a:lnTo>
                    <a:pt x="1237" y="5616"/>
                  </a:lnTo>
                  <a:lnTo>
                    <a:pt x="1253" y="5604"/>
                  </a:lnTo>
                  <a:lnTo>
                    <a:pt x="1267" y="5590"/>
                  </a:lnTo>
                  <a:lnTo>
                    <a:pt x="1282" y="5573"/>
                  </a:lnTo>
                  <a:lnTo>
                    <a:pt x="1299" y="5556"/>
                  </a:lnTo>
                  <a:lnTo>
                    <a:pt x="1332" y="5517"/>
                  </a:lnTo>
                  <a:lnTo>
                    <a:pt x="1352" y="5498"/>
                  </a:lnTo>
                  <a:lnTo>
                    <a:pt x="1372" y="5478"/>
                  </a:lnTo>
                  <a:lnTo>
                    <a:pt x="1395" y="5458"/>
                  </a:lnTo>
                  <a:lnTo>
                    <a:pt x="1419" y="5439"/>
                  </a:lnTo>
                  <a:lnTo>
                    <a:pt x="1433" y="5430"/>
                  </a:lnTo>
                  <a:lnTo>
                    <a:pt x="1446" y="5422"/>
                  </a:lnTo>
                  <a:lnTo>
                    <a:pt x="1460" y="5414"/>
                  </a:lnTo>
                  <a:lnTo>
                    <a:pt x="1475" y="5406"/>
                  </a:lnTo>
                  <a:lnTo>
                    <a:pt x="1475" y="5406"/>
                  </a:lnTo>
                  <a:lnTo>
                    <a:pt x="1515" y="5387"/>
                  </a:lnTo>
                  <a:lnTo>
                    <a:pt x="1547" y="5375"/>
                  </a:lnTo>
                  <a:lnTo>
                    <a:pt x="1559" y="5370"/>
                  </a:lnTo>
                  <a:lnTo>
                    <a:pt x="1571" y="5367"/>
                  </a:lnTo>
                  <a:lnTo>
                    <a:pt x="1580" y="5366"/>
                  </a:lnTo>
                  <a:lnTo>
                    <a:pt x="1587" y="5365"/>
                  </a:lnTo>
                  <a:lnTo>
                    <a:pt x="1593" y="5365"/>
                  </a:lnTo>
                  <a:lnTo>
                    <a:pt x="1597" y="5367"/>
                  </a:lnTo>
                  <a:lnTo>
                    <a:pt x="1600" y="5369"/>
                  </a:lnTo>
                  <a:lnTo>
                    <a:pt x="1602" y="5372"/>
                  </a:lnTo>
                  <a:lnTo>
                    <a:pt x="1604" y="5375"/>
                  </a:lnTo>
                  <a:lnTo>
                    <a:pt x="1604" y="5379"/>
                  </a:lnTo>
                  <a:lnTo>
                    <a:pt x="1603" y="5389"/>
                  </a:lnTo>
                  <a:lnTo>
                    <a:pt x="1600" y="5401"/>
                  </a:lnTo>
                  <a:lnTo>
                    <a:pt x="1596" y="5415"/>
                  </a:lnTo>
                  <a:lnTo>
                    <a:pt x="1593" y="5428"/>
                  </a:lnTo>
                  <a:lnTo>
                    <a:pt x="1591" y="5440"/>
                  </a:lnTo>
                  <a:lnTo>
                    <a:pt x="1591" y="5446"/>
                  </a:lnTo>
                  <a:lnTo>
                    <a:pt x="1591" y="5453"/>
                  </a:lnTo>
                  <a:lnTo>
                    <a:pt x="1593" y="5458"/>
                  </a:lnTo>
                  <a:lnTo>
                    <a:pt x="1595" y="5463"/>
                  </a:lnTo>
                  <a:lnTo>
                    <a:pt x="1598" y="5467"/>
                  </a:lnTo>
                  <a:lnTo>
                    <a:pt x="1603" y="5471"/>
                  </a:lnTo>
                  <a:lnTo>
                    <a:pt x="1609" y="5474"/>
                  </a:lnTo>
                  <a:lnTo>
                    <a:pt x="1617" y="5476"/>
                  </a:lnTo>
                  <a:lnTo>
                    <a:pt x="1617" y="5476"/>
                  </a:lnTo>
                  <a:lnTo>
                    <a:pt x="1629" y="5480"/>
                  </a:lnTo>
                  <a:lnTo>
                    <a:pt x="1640" y="5483"/>
                  </a:lnTo>
                  <a:lnTo>
                    <a:pt x="1649" y="5488"/>
                  </a:lnTo>
                  <a:lnTo>
                    <a:pt x="1656" y="5492"/>
                  </a:lnTo>
                  <a:lnTo>
                    <a:pt x="1663" y="5498"/>
                  </a:lnTo>
                  <a:lnTo>
                    <a:pt x="1668" y="5503"/>
                  </a:lnTo>
                  <a:lnTo>
                    <a:pt x="1671" y="5509"/>
                  </a:lnTo>
                  <a:lnTo>
                    <a:pt x="1673" y="5515"/>
                  </a:lnTo>
                  <a:lnTo>
                    <a:pt x="1675" y="5521"/>
                  </a:lnTo>
                  <a:lnTo>
                    <a:pt x="1675" y="5527"/>
                  </a:lnTo>
                  <a:lnTo>
                    <a:pt x="1674" y="5534"/>
                  </a:lnTo>
                  <a:lnTo>
                    <a:pt x="1673" y="5541"/>
                  </a:lnTo>
                  <a:lnTo>
                    <a:pt x="1671" y="5548"/>
                  </a:lnTo>
                  <a:lnTo>
                    <a:pt x="1668" y="5555"/>
                  </a:lnTo>
                  <a:lnTo>
                    <a:pt x="1660" y="5568"/>
                  </a:lnTo>
                  <a:lnTo>
                    <a:pt x="1650" y="5581"/>
                  </a:lnTo>
                  <a:lnTo>
                    <a:pt x="1640" y="5594"/>
                  </a:lnTo>
                  <a:lnTo>
                    <a:pt x="1630" y="5605"/>
                  </a:lnTo>
                  <a:lnTo>
                    <a:pt x="1620" y="5615"/>
                  </a:lnTo>
                  <a:lnTo>
                    <a:pt x="1603" y="5629"/>
                  </a:lnTo>
                  <a:lnTo>
                    <a:pt x="1597" y="5636"/>
                  </a:lnTo>
                  <a:lnTo>
                    <a:pt x="1597" y="5636"/>
                  </a:lnTo>
                  <a:lnTo>
                    <a:pt x="1605" y="5640"/>
                  </a:lnTo>
                  <a:lnTo>
                    <a:pt x="1616" y="5642"/>
                  </a:lnTo>
                  <a:lnTo>
                    <a:pt x="1627" y="5643"/>
                  </a:lnTo>
                  <a:lnTo>
                    <a:pt x="1640" y="5642"/>
                  </a:lnTo>
                  <a:lnTo>
                    <a:pt x="1654" y="5639"/>
                  </a:lnTo>
                  <a:lnTo>
                    <a:pt x="1669" y="5635"/>
                  </a:lnTo>
                  <a:lnTo>
                    <a:pt x="1685" y="5628"/>
                  </a:lnTo>
                  <a:lnTo>
                    <a:pt x="1700" y="5620"/>
                  </a:lnTo>
                  <a:lnTo>
                    <a:pt x="1717" y="5611"/>
                  </a:lnTo>
                  <a:lnTo>
                    <a:pt x="1732" y="5600"/>
                  </a:lnTo>
                  <a:lnTo>
                    <a:pt x="1747" y="5587"/>
                  </a:lnTo>
                  <a:lnTo>
                    <a:pt x="1763" y="5572"/>
                  </a:lnTo>
                  <a:lnTo>
                    <a:pt x="1776" y="5555"/>
                  </a:lnTo>
                  <a:lnTo>
                    <a:pt x="1789" y="5536"/>
                  </a:lnTo>
                  <a:lnTo>
                    <a:pt x="1801" y="5516"/>
                  </a:lnTo>
                  <a:lnTo>
                    <a:pt x="1811" y="5495"/>
                  </a:lnTo>
                  <a:lnTo>
                    <a:pt x="1811" y="5495"/>
                  </a:lnTo>
                  <a:lnTo>
                    <a:pt x="1814" y="5486"/>
                  </a:lnTo>
                  <a:lnTo>
                    <a:pt x="1817" y="5480"/>
                  </a:lnTo>
                  <a:lnTo>
                    <a:pt x="1820" y="5475"/>
                  </a:lnTo>
                  <a:lnTo>
                    <a:pt x="1824" y="5471"/>
                  </a:lnTo>
                  <a:lnTo>
                    <a:pt x="1828" y="5468"/>
                  </a:lnTo>
                  <a:lnTo>
                    <a:pt x="1831" y="5465"/>
                  </a:lnTo>
                  <a:lnTo>
                    <a:pt x="1839" y="5462"/>
                  </a:lnTo>
                  <a:lnTo>
                    <a:pt x="1848" y="5459"/>
                  </a:lnTo>
                  <a:lnTo>
                    <a:pt x="1857" y="5455"/>
                  </a:lnTo>
                  <a:lnTo>
                    <a:pt x="1866" y="5449"/>
                  </a:lnTo>
                  <a:lnTo>
                    <a:pt x="1871" y="5444"/>
                  </a:lnTo>
                  <a:lnTo>
                    <a:pt x="1876" y="5439"/>
                  </a:lnTo>
                  <a:lnTo>
                    <a:pt x="1876" y="5439"/>
                  </a:lnTo>
                  <a:lnTo>
                    <a:pt x="1879" y="5433"/>
                  </a:lnTo>
                  <a:lnTo>
                    <a:pt x="1882" y="5427"/>
                  </a:lnTo>
                  <a:lnTo>
                    <a:pt x="1886" y="5421"/>
                  </a:lnTo>
                  <a:lnTo>
                    <a:pt x="1887" y="5415"/>
                  </a:lnTo>
                  <a:lnTo>
                    <a:pt x="1888" y="5400"/>
                  </a:lnTo>
                  <a:lnTo>
                    <a:pt x="1888" y="5386"/>
                  </a:lnTo>
                  <a:lnTo>
                    <a:pt x="1888" y="5371"/>
                  </a:lnTo>
                  <a:lnTo>
                    <a:pt x="1888" y="5357"/>
                  </a:lnTo>
                  <a:lnTo>
                    <a:pt x="1890" y="5342"/>
                  </a:lnTo>
                  <a:lnTo>
                    <a:pt x="1892" y="5336"/>
                  </a:lnTo>
                  <a:lnTo>
                    <a:pt x="1894" y="5330"/>
                  </a:lnTo>
                  <a:lnTo>
                    <a:pt x="1894" y="5330"/>
                  </a:lnTo>
                  <a:lnTo>
                    <a:pt x="1898" y="5324"/>
                  </a:lnTo>
                  <a:lnTo>
                    <a:pt x="1902" y="5319"/>
                  </a:lnTo>
                  <a:lnTo>
                    <a:pt x="1906" y="5314"/>
                  </a:lnTo>
                  <a:lnTo>
                    <a:pt x="1911" y="5309"/>
                  </a:lnTo>
                  <a:lnTo>
                    <a:pt x="1923" y="5301"/>
                  </a:lnTo>
                  <a:lnTo>
                    <a:pt x="1937" y="5295"/>
                  </a:lnTo>
                  <a:lnTo>
                    <a:pt x="1951" y="5290"/>
                  </a:lnTo>
                  <a:lnTo>
                    <a:pt x="1965" y="5286"/>
                  </a:lnTo>
                  <a:lnTo>
                    <a:pt x="1996" y="5278"/>
                  </a:lnTo>
                  <a:lnTo>
                    <a:pt x="2026" y="5272"/>
                  </a:lnTo>
                  <a:lnTo>
                    <a:pt x="2038" y="5268"/>
                  </a:lnTo>
                  <a:lnTo>
                    <a:pt x="2049" y="5262"/>
                  </a:lnTo>
                  <a:lnTo>
                    <a:pt x="2057" y="5256"/>
                  </a:lnTo>
                  <a:lnTo>
                    <a:pt x="2061" y="5253"/>
                  </a:lnTo>
                  <a:lnTo>
                    <a:pt x="2063" y="5249"/>
                  </a:lnTo>
                  <a:lnTo>
                    <a:pt x="2066" y="5245"/>
                  </a:lnTo>
                  <a:lnTo>
                    <a:pt x="2068" y="5240"/>
                  </a:lnTo>
                  <a:lnTo>
                    <a:pt x="2068" y="5235"/>
                  </a:lnTo>
                  <a:lnTo>
                    <a:pt x="2068" y="5230"/>
                  </a:lnTo>
                  <a:lnTo>
                    <a:pt x="2068" y="5230"/>
                  </a:lnTo>
                  <a:lnTo>
                    <a:pt x="2066" y="5215"/>
                  </a:lnTo>
                  <a:lnTo>
                    <a:pt x="2066" y="5202"/>
                  </a:lnTo>
                  <a:lnTo>
                    <a:pt x="2069" y="5190"/>
                  </a:lnTo>
                  <a:lnTo>
                    <a:pt x="2073" y="5180"/>
                  </a:lnTo>
                  <a:lnTo>
                    <a:pt x="2078" y="5169"/>
                  </a:lnTo>
                  <a:lnTo>
                    <a:pt x="2083" y="5161"/>
                  </a:lnTo>
                  <a:lnTo>
                    <a:pt x="2090" y="5153"/>
                  </a:lnTo>
                  <a:lnTo>
                    <a:pt x="2098" y="5146"/>
                  </a:lnTo>
                  <a:lnTo>
                    <a:pt x="2106" y="5140"/>
                  </a:lnTo>
                  <a:lnTo>
                    <a:pt x="2116" y="5134"/>
                  </a:lnTo>
                  <a:lnTo>
                    <a:pt x="2134" y="5124"/>
                  </a:lnTo>
                  <a:lnTo>
                    <a:pt x="2152" y="5116"/>
                  </a:lnTo>
                  <a:lnTo>
                    <a:pt x="2169" y="5109"/>
                  </a:lnTo>
                  <a:lnTo>
                    <a:pt x="2169" y="5109"/>
                  </a:lnTo>
                  <a:lnTo>
                    <a:pt x="2171" y="5109"/>
                  </a:lnTo>
                  <a:lnTo>
                    <a:pt x="2172" y="5110"/>
                  </a:lnTo>
                  <a:lnTo>
                    <a:pt x="2175" y="5112"/>
                  </a:lnTo>
                  <a:lnTo>
                    <a:pt x="2177" y="5117"/>
                  </a:lnTo>
                  <a:lnTo>
                    <a:pt x="2181" y="5124"/>
                  </a:lnTo>
                  <a:lnTo>
                    <a:pt x="2189" y="5143"/>
                  </a:lnTo>
                  <a:lnTo>
                    <a:pt x="2195" y="5154"/>
                  </a:lnTo>
                  <a:lnTo>
                    <a:pt x="2202" y="5166"/>
                  </a:lnTo>
                  <a:lnTo>
                    <a:pt x="2212" y="5179"/>
                  </a:lnTo>
                  <a:lnTo>
                    <a:pt x="2222" y="5192"/>
                  </a:lnTo>
                  <a:lnTo>
                    <a:pt x="2234" y="5206"/>
                  </a:lnTo>
                  <a:lnTo>
                    <a:pt x="2250" y="5220"/>
                  </a:lnTo>
                  <a:lnTo>
                    <a:pt x="2267" y="5233"/>
                  </a:lnTo>
                  <a:lnTo>
                    <a:pt x="2287" y="5245"/>
                  </a:lnTo>
                  <a:lnTo>
                    <a:pt x="2311" y="5257"/>
                  </a:lnTo>
                  <a:lnTo>
                    <a:pt x="2337" y="5268"/>
                  </a:lnTo>
                  <a:lnTo>
                    <a:pt x="2337" y="5268"/>
                  </a:lnTo>
                  <a:lnTo>
                    <a:pt x="2412" y="5237"/>
                  </a:lnTo>
                  <a:lnTo>
                    <a:pt x="2458" y="5215"/>
                  </a:lnTo>
                  <a:lnTo>
                    <a:pt x="2485" y="5202"/>
                  </a:lnTo>
                  <a:lnTo>
                    <a:pt x="2514" y="5187"/>
                  </a:lnTo>
                  <a:lnTo>
                    <a:pt x="2514" y="5187"/>
                  </a:lnTo>
                  <a:lnTo>
                    <a:pt x="2546" y="5170"/>
                  </a:lnTo>
                  <a:lnTo>
                    <a:pt x="2576" y="5153"/>
                  </a:lnTo>
                  <a:lnTo>
                    <a:pt x="2588" y="5145"/>
                  </a:lnTo>
                  <a:lnTo>
                    <a:pt x="2599" y="5138"/>
                  </a:lnTo>
                  <a:lnTo>
                    <a:pt x="2609" y="5130"/>
                  </a:lnTo>
                  <a:lnTo>
                    <a:pt x="2617" y="5123"/>
                  </a:lnTo>
                  <a:lnTo>
                    <a:pt x="2617" y="5123"/>
                  </a:lnTo>
                  <a:lnTo>
                    <a:pt x="2616" y="5121"/>
                  </a:lnTo>
                  <a:lnTo>
                    <a:pt x="2615" y="5119"/>
                  </a:lnTo>
                  <a:lnTo>
                    <a:pt x="2607" y="5112"/>
                  </a:lnTo>
                  <a:lnTo>
                    <a:pt x="2596" y="5101"/>
                  </a:lnTo>
                  <a:lnTo>
                    <a:pt x="2583" y="5087"/>
                  </a:lnTo>
                  <a:lnTo>
                    <a:pt x="2568" y="5069"/>
                  </a:lnTo>
                  <a:lnTo>
                    <a:pt x="2553" y="5050"/>
                  </a:lnTo>
                  <a:lnTo>
                    <a:pt x="2546" y="5039"/>
                  </a:lnTo>
                  <a:lnTo>
                    <a:pt x="2540" y="5026"/>
                  </a:lnTo>
                  <a:lnTo>
                    <a:pt x="2535" y="5015"/>
                  </a:lnTo>
                  <a:lnTo>
                    <a:pt x="2530" y="5002"/>
                  </a:lnTo>
                  <a:lnTo>
                    <a:pt x="2530" y="5002"/>
                  </a:lnTo>
                  <a:lnTo>
                    <a:pt x="2527" y="4989"/>
                  </a:lnTo>
                  <a:lnTo>
                    <a:pt x="2524" y="4978"/>
                  </a:lnTo>
                  <a:lnTo>
                    <a:pt x="2522" y="4969"/>
                  </a:lnTo>
                  <a:lnTo>
                    <a:pt x="2522" y="4960"/>
                  </a:lnTo>
                  <a:lnTo>
                    <a:pt x="2522" y="4953"/>
                  </a:lnTo>
                  <a:lnTo>
                    <a:pt x="2522" y="4948"/>
                  </a:lnTo>
                  <a:lnTo>
                    <a:pt x="2523" y="4944"/>
                  </a:lnTo>
                  <a:lnTo>
                    <a:pt x="2524" y="4942"/>
                  </a:lnTo>
                  <a:lnTo>
                    <a:pt x="2524" y="4942"/>
                  </a:lnTo>
                  <a:lnTo>
                    <a:pt x="2537" y="4959"/>
                  </a:lnTo>
                  <a:lnTo>
                    <a:pt x="2552" y="4976"/>
                  </a:lnTo>
                  <a:lnTo>
                    <a:pt x="2573" y="4997"/>
                  </a:lnTo>
                  <a:lnTo>
                    <a:pt x="2585" y="5008"/>
                  </a:lnTo>
                  <a:lnTo>
                    <a:pt x="2597" y="5019"/>
                  </a:lnTo>
                  <a:lnTo>
                    <a:pt x="2611" y="5030"/>
                  </a:lnTo>
                  <a:lnTo>
                    <a:pt x="2627" y="5042"/>
                  </a:lnTo>
                  <a:lnTo>
                    <a:pt x="2643" y="5053"/>
                  </a:lnTo>
                  <a:lnTo>
                    <a:pt x="2660" y="5062"/>
                  </a:lnTo>
                  <a:lnTo>
                    <a:pt x="2677" y="5071"/>
                  </a:lnTo>
                  <a:lnTo>
                    <a:pt x="2695" y="5079"/>
                  </a:lnTo>
                  <a:lnTo>
                    <a:pt x="2695" y="5079"/>
                  </a:lnTo>
                  <a:lnTo>
                    <a:pt x="2749" y="5051"/>
                  </a:lnTo>
                  <a:lnTo>
                    <a:pt x="2803" y="5021"/>
                  </a:lnTo>
                  <a:lnTo>
                    <a:pt x="2857" y="4988"/>
                  </a:lnTo>
                  <a:lnTo>
                    <a:pt x="2911" y="4954"/>
                  </a:lnTo>
                  <a:lnTo>
                    <a:pt x="2911" y="4954"/>
                  </a:lnTo>
                  <a:lnTo>
                    <a:pt x="2946" y="4930"/>
                  </a:lnTo>
                  <a:lnTo>
                    <a:pt x="2946" y="4930"/>
                  </a:lnTo>
                  <a:lnTo>
                    <a:pt x="2947" y="4929"/>
                  </a:lnTo>
                  <a:lnTo>
                    <a:pt x="2947" y="4929"/>
                  </a:lnTo>
                  <a:lnTo>
                    <a:pt x="2948" y="4927"/>
                  </a:lnTo>
                  <a:lnTo>
                    <a:pt x="2947" y="4925"/>
                  </a:lnTo>
                  <a:lnTo>
                    <a:pt x="2943" y="4918"/>
                  </a:lnTo>
                  <a:lnTo>
                    <a:pt x="2935" y="4909"/>
                  </a:lnTo>
                  <a:lnTo>
                    <a:pt x="2924" y="4898"/>
                  </a:lnTo>
                  <a:lnTo>
                    <a:pt x="2899" y="4874"/>
                  </a:lnTo>
                  <a:lnTo>
                    <a:pt x="2870" y="4845"/>
                  </a:lnTo>
                  <a:lnTo>
                    <a:pt x="2857" y="4831"/>
                  </a:lnTo>
                  <a:lnTo>
                    <a:pt x="2846" y="4817"/>
                  </a:lnTo>
                  <a:lnTo>
                    <a:pt x="2836" y="4802"/>
                  </a:lnTo>
                  <a:lnTo>
                    <a:pt x="2832" y="4795"/>
                  </a:lnTo>
                  <a:lnTo>
                    <a:pt x="2829" y="4789"/>
                  </a:lnTo>
                  <a:lnTo>
                    <a:pt x="2828" y="4782"/>
                  </a:lnTo>
                  <a:lnTo>
                    <a:pt x="2827" y="4776"/>
                  </a:lnTo>
                  <a:lnTo>
                    <a:pt x="2827" y="4770"/>
                  </a:lnTo>
                  <a:lnTo>
                    <a:pt x="2828" y="4765"/>
                  </a:lnTo>
                  <a:lnTo>
                    <a:pt x="2830" y="4759"/>
                  </a:lnTo>
                  <a:lnTo>
                    <a:pt x="2834" y="4754"/>
                  </a:lnTo>
                  <a:lnTo>
                    <a:pt x="2840" y="4750"/>
                  </a:lnTo>
                  <a:lnTo>
                    <a:pt x="2847" y="4746"/>
                  </a:lnTo>
                  <a:lnTo>
                    <a:pt x="2847" y="4746"/>
                  </a:lnTo>
                  <a:lnTo>
                    <a:pt x="2853" y="4742"/>
                  </a:lnTo>
                  <a:lnTo>
                    <a:pt x="2858" y="4737"/>
                  </a:lnTo>
                  <a:lnTo>
                    <a:pt x="2861" y="4732"/>
                  </a:lnTo>
                  <a:lnTo>
                    <a:pt x="2863" y="4726"/>
                  </a:lnTo>
                  <a:lnTo>
                    <a:pt x="2864" y="4720"/>
                  </a:lnTo>
                  <a:lnTo>
                    <a:pt x="2864" y="4711"/>
                  </a:lnTo>
                  <a:lnTo>
                    <a:pt x="2864" y="4704"/>
                  </a:lnTo>
                  <a:lnTo>
                    <a:pt x="2862" y="4695"/>
                  </a:lnTo>
                  <a:lnTo>
                    <a:pt x="2857" y="4678"/>
                  </a:lnTo>
                  <a:lnTo>
                    <a:pt x="2849" y="4658"/>
                  </a:lnTo>
                  <a:lnTo>
                    <a:pt x="2830" y="4616"/>
                  </a:lnTo>
                  <a:lnTo>
                    <a:pt x="2821" y="4595"/>
                  </a:lnTo>
                  <a:lnTo>
                    <a:pt x="2813" y="4574"/>
                  </a:lnTo>
                  <a:lnTo>
                    <a:pt x="2806" y="4554"/>
                  </a:lnTo>
                  <a:lnTo>
                    <a:pt x="2804" y="4544"/>
                  </a:lnTo>
                  <a:lnTo>
                    <a:pt x="2802" y="4534"/>
                  </a:lnTo>
                  <a:lnTo>
                    <a:pt x="2802" y="4525"/>
                  </a:lnTo>
                  <a:lnTo>
                    <a:pt x="2802" y="4517"/>
                  </a:lnTo>
                  <a:lnTo>
                    <a:pt x="2803" y="4509"/>
                  </a:lnTo>
                  <a:lnTo>
                    <a:pt x="2805" y="4502"/>
                  </a:lnTo>
                  <a:lnTo>
                    <a:pt x="2808" y="4495"/>
                  </a:lnTo>
                  <a:lnTo>
                    <a:pt x="2813" y="4488"/>
                  </a:lnTo>
                  <a:lnTo>
                    <a:pt x="2819" y="4482"/>
                  </a:lnTo>
                  <a:lnTo>
                    <a:pt x="2827" y="4478"/>
                  </a:lnTo>
                  <a:lnTo>
                    <a:pt x="2827" y="4478"/>
                  </a:lnTo>
                  <a:lnTo>
                    <a:pt x="2928" y="4425"/>
                  </a:lnTo>
                  <a:lnTo>
                    <a:pt x="3034" y="4374"/>
                  </a:lnTo>
                  <a:lnTo>
                    <a:pt x="3138" y="4323"/>
                  </a:lnTo>
                  <a:lnTo>
                    <a:pt x="3241" y="4273"/>
                  </a:lnTo>
                  <a:lnTo>
                    <a:pt x="3433" y="4182"/>
                  </a:lnTo>
                  <a:lnTo>
                    <a:pt x="3516" y="4142"/>
                  </a:lnTo>
                  <a:lnTo>
                    <a:pt x="3591" y="4105"/>
                  </a:lnTo>
                  <a:lnTo>
                    <a:pt x="3591" y="4105"/>
                  </a:lnTo>
                  <a:lnTo>
                    <a:pt x="3587" y="4089"/>
                  </a:lnTo>
                  <a:lnTo>
                    <a:pt x="3581" y="4070"/>
                  </a:lnTo>
                  <a:lnTo>
                    <a:pt x="3571" y="4047"/>
                  </a:lnTo>
                  <a:lnTo>
                    <a:pt x="3564" y="4035"/>
                  </a:lnTo>
                  <a:lnTo>
                    <a:pt x="3557" y="4020"/>
                  </a:lnTo>
                  <a:lnTo>
                    <a:pt x="3549" y="4006"/>
                  </a:lnTo>
                  <a:lnTo>
                    <a:pt x="3540" y="3992"/>
                  </a:lnTo>
                  <a:lnTo>
                    <a:pt x="3529" y="3977"/>
                  </a:lnTo>
                  <a:lnTo>
                    <a:pt x="3516" y="3962"/>
                  </a:lnTo>
                  <a:lnTo>
                    <a:pt x="3502" y="3948"/>
                  </a:lnTo>
                  <a:lnTo>
                    <a:pt x="3487" y="3933"/>
                  </a:lnTo>
                  <a:close/>
                  <a:moveTo>
                    <a:pt x="322" y="5867"/>
                  </a:moveTo>
                  <a:lnTo>
                    <a:pt x="322" y="5867"/>
                  </a:lnTo>
                  <a:lnTo>
                    <a:pt x="321" y="5881"/>
                  </a:lnTo>
                  <a:lnTo>
                    <a:pt x="321" y="5892"/>
                  </a:lnTo>
                  <a:lnTo>
                    <a:pt x="323" y="5908"/>
                  </a:lnTo>
                  <a:lnTo>
                    <a:pt x="326" y="5923"/>
                  </a:lnTo>
                  <a:lnTo>
                    <a:pt x="329" y="5931"/>
                  </a:lnTo>
                  <a:lnTo>
                    <a:pt x="332" y="5939"/>
                  </a:lnTo>
                  <a:lnTo>
                    <a:pt x="337" y="5947"/>
                  </a:lnTo>
                  <a:lnTo>
                    <a:pt x="343" y="5956"/>
                  </a:lnTo>
                  <a:lnTo>
                    <a:pt x="349" y="5964"/>
                  </a:lnTo>
                  <a:lnTo>
                    <a:pt x="357" y="5971"/>
                  </a:lnTo>
                  <a:lnTo>
                    <a:pt x="357" y="5971"/>
                  </a:lnTo>
                  <a:lnTo>
                    <a:pt x="369" y="5980"/>
                  </a:lnTo>
                  <a:lnTo>
                    <a:pt x="382" y="5988"/>
                  </a:lnTo>
                  <a:lnTo>
                    <a:pt x="397" y="5995"/>
                  </a:lnTo>
                  <a:lnTo>
                    <a:pt x="412" y="6000"/>
                  </a:lnTo>
                  <a:lnTo>
                    <a:pt x="426" y="6002"/>
                  </a:lnTo>
                  <a:lnTo>
                    <a:pt x="434" y="6002"/>
                  </a:lnTo>
                  <a:lnTo>
                    <a:pt x="441" y="6001"/>
                  </a:lnTo>
                  <a:lnTo>
                    <a:pt x="447" y="6000"/>
                  </a:lnTo>
                  <a:lnTo>
                    <a:pt x="453" y="5998"/>
                  </a:lnTo>
                  <a:lnTo>
                    <a:pt x="458" y="5995"/>
                  </a:lnTo>
                  <a:lnTo>
                    <a:pt x="463" y="5991"/>
                  </a:lnTo>
                  <a:lnTo>
                    <a:pt x="463" y="5991"/>
                  </a:lnTo>
                  <a:lnTo>
                    <a:pt x="468" y="5986"/>
                  </a:lnTo>
                  <a:lnTo>
                    <a:pt x="473" y="5979"/>
                  </a:lnTo>
                  <a:lnTo>
                    <a:pt x="476" y="5973"/>
                  </a:lnTo>
                  <a:lnTo>
                    <a:pt x="479" y="5966"/>
                  </a:lnTo>
                  <a:lnTo>
                    <a:pt x="481" y="5958"/>
                  </a:lnTo>
                  <a:lnTo>
                    <a:pt x="482" y="5950"/>
                  </a:lnTo>
                  <a:lnTo>
                    <a:pt x="483" y="5933"/>
                  </a:lnTo>
                  <a:lnTo>
                    <a:pt x="483" y="5917"/>
                  </a:lnTo>
                  <a:lnTo>
                    <a:pt x="484" y="5900"/>
                  </a:lnTo>
                  <a:lnTo>
                    <a:pt x="485" y="5892"/>
                  </a:lnTo>
                  <a:lnTo>
                    <a:pt x="487" y="5884"/>
                  </a:lnTo>
                  <a:lnTo>
                    <a:pt x="489" y="5877"/>
                  </a:lnTo>
                  <a:lnTo>
                    <a:pt x="493" y="5869"/>
                  </a:lnTo>
                  <a:lnTo>
                    <a:pt x="493" y="5869"/>
                  </a:lnTo>
                  <a:lnTo>
                    <a:pt x="495" y="5866"/>
                  </a:lnTo>
                  <a:lnTo>
                    <a:pt x="499" y="5863"/>
                  </a:lnTo>
                  <a:lnTo>
                    <a:pt x="508" y="5857"/>
                  </a:lnTo>
                  <a:lnTo>
                    <a:pt x="516" y="5854"/>
                  </a:lnTo>
                  <a:lnTo>
                    <a:pt x="519" y="5853"/>
                  </a:lnTo>
                  <a:lnTo>
                    <a:pt x="519" y="5853"/>
                  </a:lnTo>
                  <a:lnTo>
                    <a:pt x="526" y="5851"/>
                  </a:lnTo>
                  <a:lnTo>
                    <a:pt x="532" y="5848"/>
                  </a:lnTo>
                  <a:lnTo>
                    <a:pt x="538" y="5845"/>
                  </a:lnTo>
                  <a:lnTo>
                    <a:pt x="544" y="5840"/>
                  </a:lnTo>
                  <a:lnTo>
                    <a:pt x="544" y="5840"/>
                  </a:lnTo>
                  <a:lnTo>
                    <a:pt x="585" y="5859"/>
                  </a:lnTo>
                  <a:lnTo>
                    <a:pt x="626" y="5877"/>
                  </a:lnTo>
                  <a:lnTo>
                    <a:pt x="668" y="5896"/>
                  </a:lnTo>
                  <a:lnTo>
                    <a:pt x="709" y="5917"/>
                  </a:lnTo>
                  <a:lnTo>
                    <a:pt x="748" y="5938"/>
                  </a:lnTo>
                  <a:lnTo>
                    <a:pt x="789" y="5961"/>
                  </a:lnTo>
                  <a:lnTo>
                    <a:pt x="830" y="5983"/>
                  </a:lnTo>
                  <a:lnTo>
                    <a:pt x="870" y="6007"/>
                  </a:lnTo>
                  <a:lnTo>
                    <a:pt x="910" y="6031"/>
                  </a:lnTo>
                  <a:lnTo>
                    <a:pt x="949" y="6056"/>
                  </a:lnTo>
                  <a:lnTo>
                    <a:pt x="1027" y="6106"/>
                  </a:lnTo>
                  <a:lnTo>
                    <a:pt x="1103" y="6158"/>
                  </a:lnTo>
                  <a:lnTo>
                    <a:pt x="1178" y="6211"/>
                  </a:lnTo>
                  <a:lnTo>
                    <a:pt x="1178" y="6211"/>
                  </a:lnTo>
                  <a:lnTo>
                    <a:pt x="1197" y="6225"/>
                  </a:lnTo>
                  <a:lnTo>
                    <a:pt x="1215" y="6236"/>
                  </a:lnTo>
                  <a:lnTo>
                    <a:pt x="1215" y="6236"/>
                  </a:lnTo>
                  <a:lnTo>
                    <a:pt x="1208" y="6258"/>
                  </a:lnTo>
                  <a:lnTo>
                    <a:pt x="1199" y="6281"/>
                  </a:lnTo>
                  <a:lnTo>
                    <a:pt x="1189" y="6305"/>
                  </a:lnTo>
                  <a:lnTo>
                    <a:pt x="1177" y="6331"/>
                  </a:lnTo>
                  <a:lnTo>
                    <a:pt x="1177" y="6331"/>
                  </a:lnTo>
                  <a:lnTo>
                    <a:pt x="1137" y="6407"/>
                  </a:lnTo>
                  <a:lnTo>
                    <a:pt x="1118" y="6443"/>
                  </a:lnTo>
                  <a:lnTo>
                    <a:pt x="1100" y="6479"/>
                  </a:lnTo>
                  <a:lnTo>
                    <a:pt x="1093" y="6497"/>
                  </a:lnTo>
                  <a:lnTo>
                    <a:pt x="1087" y="6514"/>
                  </a:lnTo>
                  <a:lnTo>
                    <a:pt x="1081" y="6530"/>
                  </a:lnTo>
                  <a:lnTo>
                    <a:pt x="1077" y="6547"/>
                  </a:lnTo>
                  <a:lnTo>
                    <a:pt x="1074" y="6562"/>
                  </a:lnTo>
                  <a:lnTo>
                    <a:pt x="1072" y="6576"/>
                  </a:lnTo>
                  <a:lnTo>
                    <a:pt x="1072" y="6591"/>
                  </a:lnTo>
                  <a:lnTo>
                    <a:pt x="1073" y="6603"/>
                  </a:lnTo>
                  <a:lnTo>
                    <a:pt x="1073" y="6603"/>
                  </a:lnTo>
                  <a:lnTo>
                    <a:pt x="1075" y="6612"/>
                  </a:lnTo>
                  <a:lnTo>
                    <a:pt x="1077" y="6621"/>
                  </a:lnTo>
                  <a:lnTo>
                    <a:pt x="1080" y="6629"/>
                  </a:lnTo>
                  <a:lnTo>
                    <a:pt x="1083" y="6638"/>
                  </a:lnTo>
                  <a:lnTo>
                    <a:pt x="1087" y="6645"/>
                  </a:lnTo>
                  <a:lnTo>
                    <a:pt x="1092" y="6652"/>
                  </a:lnTo>
                  <a:lnTo>
                    <a:pt x="1097" y="6658"/>
                  </a:lnTo>
                  <a:lnTo>
                    <a:pt x="1102" y="6664"/>
                  </a:lnTo>
                  <a:lnTo>
                    <a:pt x="1108" y="6669"/>
                  </a:lnTo>
                  <a:lnTo>
                    <a:pt x="1115" y="6674"/>
                  </a:lnTo>
                  <a:lnTo>
                    <a:pt x="1122" y="6679"/>
                  </a:lnTo>
                  <a:lnTo>
                    <a:pt x="1129" y="6682"/>
                  </a:lnTo>
                  <a:lnTo>
                    <a:pt x="1137" y="6685"/>
                  </a:lnTo>
                  <a:lnTo>
                    <a:pt x="1145" y="6687"/>
                  </a:lnTo>
                  <a:lnTo>
                    <a:pt x="1154" y="6689"/>
                  </a:lnTo>
                  <a:lnTo>
                    <a:pt x="1163" y="6690"/>
                  </a:lnTo>
                  <a:lnTo>
                    <a:pt x="1163" y="6690"/>
                  </a:lnTo>
                  <a:lnTo>
                    <a:pt x="1173" y="6690"/>
                  </a:lnTo>
                  <a:lnTo>
                    <a:pt x="1183" y="6689"/>
                  </a:lnTo>
                  <a:lnTo>
                    <a:pt x="1192" y="6687"/>
                  </a:lnTo>
                  <a:lnTo>
                    <a:pt x="1201" y="6685"/>
                  </a:lnTo>
                  <a:lnTo>
                    <a:pt x="1210" y="6682"/>
                  </a:lnTo>
                  <a:lnTo>
                    <a:pt x="1218" y="6677"/>
                  </a:lnTo>
                  <a:lnTo>
                    <a:pt x="1226" y="6673"/>
                  </a:lnTo>
                  <a:lnTo>
                    <a:pt x="1233" y="6668"/>
                  </a:lnTo>
                  <a:lnTo>
                    <a:pt x="1240" y="6662"/>
                  </a:lnTo>
                  <a:lnTo>
                    <a:pt x="1246" y="6657"/>
                  </a:lnTo>
                  <a:lnTo>
                    <a:pt x="1252" y="6651"/>
                  </a:lnTo>
                  <a:lnTo>
                    <a:pt x="1257" y="6644"/>
                  </a:lnTo>
                  <a:lnTo>
                    <a:pt x="1261" y="6637"/>
                  </a:lnTo>
                  <a:lnTo>
                    <a:pt x="1265" y="6629"/>
                  </a:lnTo>
                  <a:lnTo>
                    <a:pt x="1268" y="6622"/>
                  </a:lnTo>
                  <a:lnTo>
                    <a:pt x="1270" y="6614"/>
                  </a:lnTo>
                  <a:lnTo>
                    <a:pt x="1270" y="6614"/>
                  </a:lnTo>
                  <a:lnTo>
                    <a:pt x="1272" y="6598"/>
                  </a:lnTo>
                  <a:lnTo>
                    <a:pt x="1273" y="6582"/>
                  </a:lnTo>
                  <a:lnTo>
                    <a:pt x="1271" y="6570"/>
                  </a:lnTo>
                  <a:lnTo>
                    <a:pt x="1268" y="6558"/>
                  </a:lnTo>
                  <a:lnTo>
                    <a:pt x="1263" y="6549"/>
                  </a:lnTo>
                  <a:lnTo>
                    <a:pt x="1258" y="6539"/>
                  </a:lnTo>
                  <a:lnTo>
                    <a:pt x="1251" y="6532"/>
                  </a:lnTo>
                  <a:lnTo>
                    <a:pt x="1243" y="6527"/>
                  </a:lnTo>
                  <a:lnTo>
                    <a:pt x="1236" y="6522"/>
                  </a:lnTo>
                  <a:lnTo>
                    <a:pt x="1229" y="6518"/>
                  </a:lnTo>
                  <a:lnTo>
                    <a:pt x="1215" y="6513"/>
                  </a:lnTo>
                  <a:lnTo>
                    <a:pt x="1206" y="6511"/>
                  </a:lnTo>
                  <a:lnTo>
                    <a:pt x="1201" y="6511"/>
                  </a:lnTo>
                  <a:lnTo>
                    <a:pt x="1201" y="6511"/>
                  </a:lnTo>
                  <a:lnTo>
                    <a:pt x="1217" y="6466"/>
                  </a:lnTo>
                  <a:lnTo>
                    <a:pt x="1229" y="6430"/>
                  </a:lnTo>
                  <a:lnTo>
                    <a:pt x="1240" y="6401"/>
                  </a:lnTo>
                  <a:lnTo>
                    <a:pt x="1240" y="6401"/>
                  </a:lnTo>
                  <a:lnTo>
                    <a:pt x="1248" y="6381"/>
                  </a:lnTo>
                  <a:lnTo>
                    <a:pt x="1258" y="6363"/>
                  </a:lnTo>
                  <a:lnTo>
                    <a:pt x="1266" y="6345"/>
                  </a:lnTo>
                  <a:lnTo>
                    <a:pt x="1275" y="6329"/>
                  </a:lnTo>
                  <a:lnTo>
                    <a:pt x="1283" y="6314"/>
                  </a:lnTo>
                  <a:lnTo>
                    <a:pt x="1292" y="6299"/>
                  </a:lnTo>
                  <a:lnTo>
                    <a:pt x="1310" y="6275"/>
                  </a:lnTo>
                  <a:lnTo>
                    <a:pt x="1327" y="6254"/>
                  </a:lnTo>
                  <a:lnTo>
                    <a:pt x="1345" y="6237"/>
                  </a:lnTo>
                  <a:lnTo>
                    <a:pt x="1361" y="6224"/>
                  </a:lnTo>
                  <a:lnTo>
                    <a:pt x="1376" y="6212"/>
                  </a:lnTo>
                  <a:lnTo>
                    <a:pt x="1391" y="6205"/>
                  </a:lnTo>
                  <a:lnTo>
                    <a:pt x="1404" y="6199"/>
                  </a:lnTo>
                  <a:lnTo>
                    <a:pt x="1416" y="6195"/>
                  </a:lnTo>
                  <a:lnTo>
                    <a:pt x="1426" y="6193"/>
                  </a:lnTo>
                  <a:lnTo>
                    <a:pt x="1435" y="6192"/>
                  </a:lnTo>
                  <a:lnTo>
                    <a:pt x="1441" y="6192"/>
                  </a:lnTo>
                  <a:lnTo>
                    <a:pt x="1446" y="6192"/>
                  </a:lnTo>
                  <a:lnTo>
                    <a:pt x="1446" y="6192"/>
                  </a:lnTo>
                  <a:lnTo>
                    <a:pt x="1442" y="6188"/>
                  </a:lnTo>
                  <a:lnTo>
                    <a:pt x="1437" y="6183"/>
                  </a:lnTo>
                  <a:lnTo>
                    <a:pt x="1432" y="6175"/>
                  </a:lnTo>
                  <a:lnTo>
                    <a:pt x="1425" y="6166"/>
                  </a:lnTo>
                  <a:lnTo>
                    <a:pt x="1420" y="6155"/>
                  </a:lnTo>
                  <a:lnTo>
                    <a:pt x="1414" y="6142"/>
                  </a:lnTo>
                  <a:lnTo>
                    <a:pt x="1409" y="6125"/>
                  </a:lnTo>
                  <a:lnTo>
                    <a:pt x="1406" y="6108"/>
                  </a:lnTo>
                  <a:lnTo>
                    <a:pt x="1404" y="6088"/>
                  </a:lnTo>
                  <a:lnTo>
                    <a:pt x="1404" y="6065"/>
                  </a:lnTo>
                  <a:lnTo>
                    <a:pt x="1405" y="6053"/>
                  </a:lnTo>
                  <a:lnTo>
                    <a:pt x="1407" y="6041"/>
                  </a:lnTo>
                  <a:lnTo>
                    <a:pt x="1409" y="6027"/>
                  </a:lnTo>
                  <a:lnTo>
                    <a:pt x="1413" y="6013"/>
                  </a:lnTo>
                  <a:lnTo>
                    <a:pt x="1417" y="5999"/>
                  </a:lnTo>
                  <a:lnTo>
                    <a:pt x="1422" y="5983"/>
                  </a:lnTo>
                  <a:lnTo>
                    <a:pt x="1428" y="5968"/>
                  </a:lnTo>
                  <a:lnTo>
                    <a:pt x="1436" y="5952"/>
                  </a:lnTo>
                  <a:lnTo>
                    <a:pt x="1444" y="5934"/>
                  </a:lnTo>
                  <a:lnTo>
                    <a:pt x="1453" y="5917"/>
                  </a:lnTo>
                  <a:lnTo>
                    <a:pt x="1453" y="5917"/>
                  </a:lnTo>
                  <a:lnTo>
                    <a:pt x="1473" y="5880"/>
                  </a:lnTo>
                  <a:lnTo>
                    <a:pt x="1490" y="5844"/>
                  </a:lnTo>
                  <a:lnTo>
                    <a:pt x="1505" y="5811"/>
                  </a:lnTo>
                  <a:lnTo>
                    <a:pt x="1516" y="5780"/>
                  </a:lnTo>
                  <a:lnTo>
                    <a:pt x="1527" y="5749"/>
                  </a:lnTo>
                  <a:lnTo>
                    <a:pt x="1535" y="5719"/>
                  </a:lnTo>
                  <a:lnTo>
                    <a:pt x="1541" y="5691"/>
                  </a:lnTo>
                  <a:lnTo>
                    <a:pt x="1546" y="5663"/>
                  </a:lnTo>
                  <a:lnTo>
                    <a:pt x="1546" y="5663"/>
                  </a:lnTo>
                  <a:lnTo>
                    <a:pt x="1547" y="5654"/>
                  </a:lnTo>
                  <a:lnTo>
                    <a:pt x="1546" y="5645"/>
                  </a:lnTo>
                  <a:lnTo>
                    <a:pt x="1545" y="5636"/>
                  </a:lnTo>
                  <a:lnTo>
                    <a:pt x="1542" y="5626"/>
                  </a:lnTo>
                  <a:lnTo>
                    <a:pt x="1538" y="5617"/>
                  </a:lnTo>
                  <a:lnTo>
                    <a:pt x="1534" y="5609"/>
                  </a:lnTo>
                  <a:lnTo>
                    <a:pt x="1529" y="5600"/>
                  </a:lnTo>
                  <a:lnTo>
                    <a:pt x="1523" y="5592"/>
                  </a:lnTo>
                  <a:lnTo>
                    <a:pt x="1515" y="5585"/>
                  </a:lnTo>
                  <a:lnTo>
                    <a:pt x="1508" y="5577"/>
                  </a:lnTo>
                  <a:lnTo>
                    <a:pt x="1500" y="5571"/>
                  </a:lnTo>
                  <a:lnTo>
                    <a:pt x="1492" y="5566"/>
                  </a:lnTo>
                  <a:lnTo>
                    <a:pt x="1484" y="5561"/>
                  </a:lnTo>
                  <a:lnTo>
                    <a:pt x="1474" y="5558"/>
                  </a:lnTo>
                  <a:lnTo>
                    <a:pt x="1465" y="5556"/>
                  </a:lnTo>
                  <a:lnTo>
                    <a:pt x="1455" y="5554"/>
                  </a:lnTo>
                  <a:lnTo>
                    <a:pt x="1455" y="5554"/>
                  </a:lnTo>
                  <a:lnTo>
                    <a:pt x="1445" y="5554"/>
                  </a:lnTo>
                  <a:lnTo>
                    <a:pt x="1436" y="5555"/>
                  </a:lnTo>
                  <a:lnTo>
                    <a:pt x="1425" y="5557"/>
                  </a:lnTo>
                  <a:lnTo>
                    <a:pt x="1416" y="5560"/>
                  </a:lnTo>
                  <a:lnTo>
                    <a:pt x="1407" y="5564"/>
                  </a:lnTo>
                  <a:lnTo>
                    <a:pt x="1399" y="5568"/>
                  </a:lnTo>
                  <a:lnTo>
                    <a:pt x="1391" y="5574"/>
                  </a:lnTo>
                  <a:lnTo>
                    <a:pt x="1382" y="5579"/>
                  </a:lnTo>
                  <a:lnTo>
                    <a:pt x="1375" y="5587"/>
                  </a:lnTo>
                  <a:lnTo>
                    <a:pt x="1369" y="5593"/>
                  </a:lnTo>
                  <a:lnTo>
                    <a:pt x="1363" y="5600"/>
                  </a:lnTo>
                  <a:lnTo>
                    <a:pt x="1358" y="5608"/>
                  </a:lnTo>
                  <a:lnTo>
                    <a:pt x="1354" y="5616"/>
                  </a:lnTo>
                  <a:lnTo>
                    <a:pt x="1350" y="5624"/>
                  </a:lnTo>
                  <a:lnTo>
                    <a:pt x="1348" y="5633"/>
                  </a:lnTo>
                  <a:lnTo>
                    <a:pt x="1347" y="5641"/>
                  </a:lnTo>
                  <a:lnTo>
                    <a:pt x="1347" y="5641"/>
                  </a:lnTo>
                  <a:lnTo>
                    <a:pt x="1346" y="5661"/>
                  </a:lnTo>
                  <a:lnTo>
                    <a:pt x="1347" y="5680"/>
                  </a:lnTo>
                  <a:lnTo>
                    <a:pt x="1351" y="5695"/>
                  </a:lnTo>
                  <a:lnTo>
                    <a:pt x="1356" y="5707"/>
                  </a:lnTo>
                  <a:lnTo>
                    <a:pt x="1362" y="5717"/>
                  </a:lnTo>
                  <a:lnTo>
                    <a:pt x="1369" y="5727"/>
                  </a:lnTo>
                  <a:lnTo>
                    <a:pt x="1377" y="5734"/>
                  </a:lnTo>
                  <a:lnTo>
                    <a:pt x="1386" y="5739"/>
                  </a:lnTo>
                  <a:lnTo>
                    <a:pt x="1394" y="5743"/>
                  </a:lnTo>
                  <a:lnTo>
                    <a:pt x="1402" y="5747"/>
                  </a:lnTo>
                  <a:lnTo>
                    <a:pt x="1416" y="5752"/>
                  </a:lnTo>
                  <a:lnTo>
                    <a:pt x="1422" y="5754"/>
                  </a:lnTo>
                  <a:lnTo>
                    <a:pt x="1425" y="5756"/>
                  </a:lnTo>
                  <a:lnTo>
                    <a:pt x="1428" y="5759"/>
                  </a:lnTo>
                  <a:lnTo>
                    <a:pt x="1428" y="5762"/>
                  </a:lnTo>
                  <a:lnTo>
                    <a:pt x="1428" y="5762"/>
                  </a:lnTo>
                  <a:lnTo>
                    <a:pt x="1417" y="5798"/>
                  </a:lnTo>
                  <a:lnTo>
                    <a:pt x="1405" y="5831"/>
                  </a:lnTo>
                  <a:lnTo>
                    <a:pt x="1392" y="5861"/>
                  </a:lnTo>
                  <a:lnTo>
                    <a:pt x="1378" y="5887"/>
                  </a:lnTo>
                  <a:lnTo>
                    <a:pt x="1365" y="5912"/>
                  </a:lnTo>
                  <a:lnTo>
                    <a:pt x="1352" y="5933"/>
                  </a:lnTo>
                  <a:lnTo>
                    <a:pt x="1337" y="5953"/>
                  </a:lnTo>
                  <a:lnTo>
                    <a:pt x="1323" y="5969"/>
                  </a:lnTo>
                  <a:lnTo>
                    <a:pt x="1323" y="5969"/>
                  </a:lnTo>
                  <a:lnTo>
                    <a:pt x="1296" y="5953"/>
                  </a:lnTo>
                  <a:lnTo>
                    <a:pt x="1263" y="5933"/>
                  </a:lnTo>
                  <a:lnTo>
                    <a:pt x="1263" y="5933"/>
                  </a:lnTo>
                  <a:lnTo>
                    <a:pt x="1186" y="5891"/>
                  </a:lnTo>
                  <a:lnTo>
                    <a:pt x="1111" y="5850"/>
                  </a:lnTo>
                  <a:lnTo>
                    <a:pt x="1038" y="5811"/>
                  </a:lnTo>
                  <a:lnTo>
                    <a:pt x="1001" y="5793"/>
                  </a:lnTo>
                  <a:lnTo>
                    <a:pt x="964" y="5776"/>
                  </a:lnTo>
                  <a:lnTo>
                    <a:pt x="927" y="5758"/>
                  </a:lnTo>
                  <a:lnTo>
                    <a:pt x="889" y="5743"/>
                  </a:lnTo>
                  <a:lnTo>
                    <a:pt x="850" y="5727"/>
                  </a:lnTo>
                  <a:lnTo>
                    <a:pt x="810" y="5712"/>
                  </a:lnTo>
                  <a:lnTo>
                    <a:pt x="769" y="5698"/>
                  </a:lnTo>
                  <a:lnTo>
                    <a:pt x="727" y="5686"/>
                  </a:lnTo>
                  <a:lnTo>
                    <a:pt x="683" y="5673"/>
                  </a:lnTo>
                  <a:lnTo>
                    <a:pt x="638" y="5662"/>
                  </a:lnTo>
                  <a:lnTo>
                    <a:pt x="638" y="5662"/>
                  </a:lnTo>
                  <a:lnTo>
                    <a:pt x="655" y="5629"/>
                  </a:lnTo>
                  <a:lnTo>
                    <a:pt x="655" y="5629"/>
                  </a:lnTo>
                  <a:lnTo>
                    <a:pt x="681" y="5585"/>
                  </a:lnTo>
                  <a:lnTo>
                    <a:pt x="699" y="5553"/>
                  </a:lnTo>
                  <a:lnTo>
                    <a:pt x="706" y="5542"/>
                  </a:lnTo>
                  <a:lnTo>
                    <a:pt x="710" y="5532"/>
                  </a:lnTo>
                  <a:lnTo>
                    <a:pt x="712" y="5526"/>
                  </a:lnTo>
                  <a:lnTo>
                    <a:pt x="711" y="5524"/>
                  </a:lnTo>
                  <a:lnTo>
                    <a:pt x="710" y="5522"/>
                  </a:lnTo>
                  <a:lnTo>
                    <a:pt x="710" y="5522"/>
                  </a:lnTo>
                  <a:lnTo>
                    <a:pt x="709" y="5522"/>
                  </a:lnTo>
                  <a:lnTo>
                    <a:pt x="708" y="5522"/>
                  </a:lnTo>
                  <a:lnTo>
                    <a:pt x="702" y="5523"/>
                  </a:lnTo>
                  <a:lnTo>
                    <a:pt x="688" y="5532"/>
                  </a:lnTo>
                  <a:lnTo>
                    <a:pt x="664" y="5548"/>
                  </a:lnTo>
                  <a:lnTo>
                    <a:pt x="647" y="5557"/>
                  </a:lnTo>
                  <a:lnTo>
                    <a:pt x="628" y="5568"/>
                  </a:lnTo>
                  <a:lnTo>
                    <a:pt x="628" y="5568"/>
                  </a:lnTo>
                  <a:lnTo>
                    <a:pt x="606" y="5579"/>
                  </a:lnTo>
                  <a:lnTo>
                    <a:pt x="588" y="5589"/>
                  </a:lnTo>
                  <a:lnTo>
                    <a:pt x="573" y="5595"/>
                  </a:lnTo>
                  <a:lnTo>
                    <a:pt x="558" y="5600"/>
                  </a:lnTo>
                  <a:lnTo>
                    <a:pt x="545" y="5604"/>
                  </a:lnTo>
                  <a:lnTo>
                    <a:pt x="532" y="5607"/>
                  </a:lnTo>
                  <a:lnTo>
                    <a:pt x="504" y="5611"/>
                  </a:lnTo>
                  <a:lnTo>
                    <a:pt x="504" y="5611"/>
                  </a:lnTo>
                  <a:lnTo>
                    <a:pt x="495" y="5611"/>
                  </a:lnTo>
                  <a:lnTo>
                    <a:pt x="486" y="5610"/>
                  </a:lnTo>
                  <a:lnTo>
                    <a:pt x="468" y="5607"/>
                  </a:lnTo>
                  <a:lnTo>
                    <a:pt x="453" y="5603"/>
                  </a:lnTo>
                  <a:lnTo>
                    <a:pt x="446" y="5603"/>
                  </a:lnTo>
                  <a:lnTo>
                    <a:pt x="441" y="5604"/>
                  </a:lnTo>
                  <a:lnTo>
                    <a:pt x="441" y="5604"/>
                  </a:lnTo>
                  <a:lnTo>
                    <a:pt x="435" y="5607"/>
                  </a:lnTo>
                  <a:lnTo>
                    <a:pt x="428" y="5613"/>
                  </a:lnTo>
                  <a:lnTo>
                    <a:pt x="423" y="5620"/>
                  </a:lnTo>
                  <a:lnTo>
                    <a:pt x="418" y="5629"/>
                  </a:lnTo>
                  <a:lnTo>
                    <a:pt x="413" y="5642"/>
                  </a:lnTo>
                  <a:lnTo>
                    <a:pt x="408" y="5656"/>
                  </a:lnTo>
                  <a:lnTo>
                    <a:pt x="395" y="5693"/>
                  </a:lnTo>
                  <a:lnTo>
                    <a:pt x="395" y="5693"/>
                  </a:lnTo>
                  <a:lnTo>
                    <a:pt x="370" y="5764"/>
                  </a:lnTo>
                  <a:lnTo>
                    <a:pt x="363" y="5783"/>
                  </a:lnTo>
                  <a:lnTo>
                    <a:pt x="363" y="5783"/>
                  </a:lnTo>
                  <a:lnTo>
                    <a:pt x="355" y="5801"/>
                  </a:lnTo>
                  <a:lnTo>
                    <a:pt x="348" y="5815"/>
                  </a:lnTo>
                  <a:lnTo>
                    <a:pt x="335" y="5834"/>
                  </a:lnTo>
                  <a:lnTo>
                    <a:pt x="331" y="5842"/>
                  </a:lnTo>
                  <a:lnTo>
                    <a:pt x="327" y="5849"/>
                  </a:lnTo>
                  <a:lnTo>
                    <a:pt x="324" y="5857"/>
                  </a:lnTo>
                  <a:lnTo>
                    <a:pt x="322" y="5867"/>
                  </a:lnTo>
                  <a:close/>
                  <a:moveTo>
                    <a:pt x="390" y="969"/>
                  </a:moveTo>
                  <a:lnTo>
                    <a:pt x="390" y="969"/>
                  </a:lnTo>
                  <a:lnTo>
                    <a:pt x="419" y="968"/>
                  </a:lnTo>
                  <a:lnTo>
                    <a:pt x="451" y="965"/>
                  </a:lnTo>
                  <a:lnTo>
                    <a:pt x="483" y="962"/>
                  </a:lnTo>
                  <a:lnTo>
                    <a:pt x="513" y="958"/>
                  </a:lnTo>
                  <a:lnTo>
                    <a:pt x="563" y="952"/>
                  </a:lnTo>
                  <a:lnTo>
                    <a:pt x="583" y="948"/>
                  </a:lnTo>
                  <a:lnTo>
                    <a:pt x="580" y="644"/>
                  </a:lnTo>
                  <a:lnTo>
                    <a:pt x="580" y="644"/>
                  </a:lnTo>
                  <a:lnTo>
                    <a:pt x="531" y="637"/>
                  </a:lnTo>
                  <a:lnTo>
                    <a:pt x="429" y="621"/>
                  </a:lnTo>
                  <a:lnTo>
                    <a:pt x="429" y="621"/>
                  </a:lnTo>
                  <a:lnTo>
                    <a:pt x="416" y="620"/>
                  </a:lnTo>
                  <a:lnTo>
                    <a:pt x="404" y="619"/>
                  </a:lnTo>
                  <a:lnTo>
                    <a:pt x="392" y="619"/>
                  </a:lnTo>
                  <a:lnTo>
                    <a:pt x="381" y="620"/>
                  </a:lnTo>
                  <a:lnTo>
                    <a:pt x="371" y="622"/>
                  </a:lnTo>
                  <a:lnTo>
                    <a:pt x="362" y="625"/>
                  </a:lnTo>
                  <a:lnTo>
                    <a:pt x="353" y="628"/>
                  </a:lnTo>
                  <a:lnTo>
                    <a:pt x="346" y="632"/>
                  </a:lnTo>
                  <a:lnTo>
                    <a:pt x="338" y="636"/>
                  </a:lnTo>
                  <a:lnTo>
                    <a:pt x="331" y="641"/>
                  </a:lnTo>
                  <a:lnTo>
                    <a:pt x="325" y="646"/>
                  </a:lnTo>
                  <a:lnTo>
                    <a:pt x="320" y="651"/>
                  </a:lnTo>
                  <a:lnTo>
                    <a:pt x="311" y="664"/>
                  </a:lnTo>
                  <a:lnTo>
                    <a:pt x="304" y="676"/>
                  </a:lnTo>
                  <a:lnTo>
                    <a:pt x="298" y="689"/>
                  </a:lnTo>
                  <a:lnTo>
                    <a:pt x="293" y="702"/>
                  </a:lnTo>
                  <a:lnTo>
                    <a:pt x="290" y="715"/>
                  </a:lnTo>
                  <a:lnTo>
                    <a:pt x="288" y="725"/>
                  </a:lnTo>
                  <a:lnTo>
                    <a:pt x="287" y="742"/>
                  </a:lnTo>
                  <a:lnTo>
                    <a:pt x="287" y="748"/>
                  </a:lnTo>
                  <a:lnTo>
                    <a:pt x="291" y="832"/>
                  </a:lnTo>
                  <a:lnTo>
                    <a:pt x="291" y="832"/>
                  </a:lnTo>
                  <a:lnTo>
                    <a:pt x="291" y="838"/>
                  </a:lnTo>
                  <a:lnTo>
                    <a:pt x="293" y="854"/>
                  </a:lnTo>
                  <a:lnTo>
                    <a:pt x="298" y="875"/>
                  </a:lnTo>
                  <a:lnTo>
                    <a:pt x="302" y="887"/>
                  </a:lnTo>
                  <a:lnTo>
                    <a:pt x="306" y="901"/>
                  </a:lnTo>
                  <a:lnTo>
                    <a:pt x="311" y="913"/>
                  </a:lnTo>
                  <a:lnTo>
                    <a:pt x="318" y="925"/>
                  </a:lnTo>
                  <a:lnTo>
                    <a:pt x="326" y="938"/>
                  </a:lnTo>
                  <a:lnTo>
                    <a:pt x="335" y="948"/>
                  </a:lnTo>
                  <a:lnTo>
                    <a:pt x="340" y="952"/>
                  </a:lnTo>
                  <a:lnTo>
                    <a:pt x="347" y="956"/>
                  </a:lnTo>
                  <a:lnTo>
                    <a:pt x="353" y="960"/>
                  </a:lnTo>
                  <a:lnTo>
                    <a:pt x="359" y="963"/>
                  </a:lnTo>
                  <a:lnTo>
                    <a:pt x="366" y="965"/>
                  </a:lnTo>
                  <a:lnTo>
                    <a:pt x="373" y="967"/>
                  </a:lnTo>
                  <a:lnTo>
                    <a:pt x="381" y="968"/>
                  </a:lnTo>
                  <a:lnTo>
                    <a:pt x="390" y="969"/>
                  </a:lnTo>
                  <a:close/>
                  <a:moveTo>
                    <a:pt x="1101" y="856"/>
                  </a:moveTo>
                  <a:lnTo>
                    <a:pt x="1101" y="856"/>
                  </a:lnTo>
                  <a:lnTo>
                    <a:pt x="1103" y="835"/>
                  </a:lnTo>
                  <a:lnTo>
                    <a:pt x="1103" y="813"/>
                  </a:lnTo>
                  <a:lnTo>
                    <a:pt x="1103" y="770"/>
                  </a:lnTo>
                  <a:lnTo>
                    <a:pt x="1103" y="770"/>
                  </a:lnTo>
                  <a:lnTo>
                    <a:pt x="1102" y="609"/>
                  </a:lnTo>
                  <a:lnTo>
                    <a:pt x="1102" y="609"/>
                  </a:lnTo>
                  <a:lnTo>
                    <a:pt x="1102" y="599"/>
                  </a:lnTo>
                  <a:lnTo>
                    <a:pt x="1101" y="589"/>
                  </a:lnTo>
                  <a:lnTo>
                    <a:pt x="1100" y="578"/>
                  </a:lnTo>
                  <a:lnTo>
                    <a:pt x="1097" y="565"/>
                  </a:lnTo>
                  <a:lnTo>
                    <a:pt x="1094" y="555"/>
                  </a:lnTo>
                  <a:lnTo>
                    <a:pt x="1092" y="551"/>
                  </a:lnTo>
                  <a:lnTo>
                    <a:pt x="1089" y="548"/>
                  </a:lnTo>
                  <a:lnTo>
                    <a:pt x="1086" y="546"/>
                  </a:lnTo>
                  <a:lnTo>
                    <a:pt x="1082" y="545"/>
                  </a:lnTo>
                  <a:lnTo>
                    <a:pt x="1082" y="545"/>
                  </a:lnTo>
                  <a:lnTo>
                    <a:pt x="1049" y="545"/>
                  </a:lnTo>
                  <a:lnTo>
                    <a:pt x="1031" y="546"/>
                  </a:lnTo>
                  <a:lnTo>
                    <a:pt x="1020" y="547"/>
                  </a:lnTo>
                  <a:lnTo>
                    <a:pt x="1020" y="547"/>
                  </a:lnTo>
                  <a:lnTo>
                    <a:pt x="1017" y="552"/>
                  </a:lnTo>
                  <a:lnTo>
                    <a:pt x="1015" y="559"/>
                  </a:lnTo>
                  <a:lnTo>
                    <a:pt x="1009" y="578"/>
                  </a:lnTo>
                  <a:lnTo>
                    <a:pt x="1003" y="597"/>
                  </a:lnTo>
                  <a:lnTo>
                    <a:pt x="1000" y="604"/>
                  </a:lnTo>
                  <a:lnTo>
                    <a:pt x="998" y="609"/>
                  </a:lnTo>
                  <a:lnTo>
                    <a:pt x="978" y="547"/>
                  </a:lnTo>
                  <a:lnTo>
                    <a:pt x="978" y="547"/>
                  </a:lnTo>
                  <a:lnTo>
                    <a:pt x="962" y="546"/>
                  </a:lnTo>
                  <a:lnTo>
                    <a:pt x="939" y="546"/>
                  </a:lnTo>
                  <a:lnTo>
                    <a:pt x="914" y="547"/>
                  </a:lnTo>
                  <a:lnTo>
                    <a:pt x="900" y="549"/>
                  </a:lnTo>
                  <a:lnTo>
                    <a:pt x="900" y="549"/>
                  </a:lnTo>
                  <a:lnTo>
                    <a:pt x="895" y="561"/>
                  </a:lnTo>
                  <a:lnTo>
                    <a:pt x="889" y="579"/>
                  </a:lnTo>
                  <a:lnTo>
                    <a:pt x="882" y="597"/>
                  </a:lnTo>
                  <a:lnTo>
                    <a:pt x="877" y="609"/>
                  </a:lnTo>
                  <a:lnTo>
                    <a:pt x="858" y="550"/>
                  </a:lnTo>
                  <a:lnTo>
                    <a:pt x="858" y="550"/>
                  </a:lnTo>
                  <a:lnTo>
                    <a:pt x="845" y="549"/>
                  </a:lnTo>
                  <a:lnTo>
                    <a:pt x="821" y="549"/>
                  </a:lnTo>
                  <a:lnTo>
                    <a:pt x="797" y="550"/>
                  </a:lnTo>
                  <a:lnTo>
                    <a:pt x="788" y="551"/>
                  </a:lnTo>
                  <a:lnTo>
                    <a:pt x="784" y="551"/>
                  </a:lnTo>
                  <a:lnTo>
                    <a:pt x="784" y="551"/>
                  </a:lnTo>
                  <a:lnTo>
                    <a:pt x="780" y="556"/>
                  </a:lnTo>
                  <a:lnTo>
                    <a:pt x="777" y="563"/>
                  </a:lnTo>
                  <a:lnTo>
                    <a:pt x="770" y="581"/>
                  </a:lnTo>
                  <a:lnTo>
                    <a:pt x="763" y="598"/>
                  </a:lnTo>
                  <a:lnTo>
                    <a:pt x="758" y="609"/>
                  </a:lnTo>
                  <a:lnTo>
                    <a:pt x="739" y="551"/>
                  </a:lnTo>
                  <a:lnTo>
                    <a:pt x="739" y="551"/>
                  </a:lnTo>
                  <a:lnTo>
                    <a:pt x="722" y="551"/>
                  </a:lnTo>
                  <a:lnTo>
                    <a:pt x="691" y="551"/>
                  </a:lnTo>
                  <a:lnTo>
                    <a:pt x="691" y="551"/>
                  </a:lnTo>
                  <a:lnTo>
                    <a:pt x="686" y="552"/>
                  </a:lnTo>
                  <a:lnTo>
                    <a:pt x="682" y="553"/>
                  </a:lnTo>
                  <a:lnTo>
                    <a:pt x="678" y="555"/>
                  </a:lnTo>
                  <a:lnTo>
                    <a:pt x="674" y="557"/>
                  </a:lnTo>
                  <a:lnTo>
                    <a:pt x="668" y="564"/>
                  </a:lnTo>
                  <a:lnTo>
                    <a:pt x="663" y="573"/>
                  </a:lnTo>
                  <a:lnTo>
                    <a:pt x="658" y="581"/>
                  </a:lnTo>
                  <a:lnTo>
                    <a:pt x="655" y="591"/>
                  </a:lnTo>
                  <a:lnTo>
                    <a:pt x="654" y="600"/>
                  </a:lnTo>
                  <a:lnTo>
                    <a:pt x="653" y="608"/>
                  </a:lnTo>
                  <a:lnTo>
                    <a:pt x="653" y="608"/>
                  </a:lnTo>
                  <a:lnTo>
                    <a:pt x="654" y="686"/>
                  </a:lnTo>
                  <a:lnTo>
                    <a:pt x="655" y="765"/>
                  </a:lnTo>
                  <a:lnTo>
                    <a:pt x="655" y="765"/>
                  </a:lnTo>
                  <a:lnTo>
                    <a:pt x="658" y="869"/>
                  </a:lnTo>
                  <a:lnTo>
                    <a:pt x="661" y="947"/>
                  </a:lnTo>
                  <a:lnTo>
                    <a:pt x="661" y="947"/>
                  </a:lnTo>
                  <a:lnTo>
                    <a:pt x="680" y="946"/>
                  </a:lnTo>
                  <a:lnTo>
                    <a:pt x="690" y="944"/>
                  </a:lnTo>
                  <a:lnTo>
                    <a:pt x="698" y="943"/>
                  </a:lnTo>
                  <a:lnTo>
                    <a:pt x="707" y="941"/>
                  </a:lnTo>
                  <a:lnTo>
                    <a:pt x="715" y="938"/>
                  </a:lnTo>
                  <a:lnTo>
                    <a:pt x="721" y="933"/>
                  </a:lnTo>
                  <a:lnTo>
                    <a:pt x="727" y="929"/>
                  </a:lnTo>
                  <a:lnTo>
                    <a:pt x="727" y="929"/>
                  </a:lnTo>
                  <a:lnTo>
                    <a:pt x="732" y="924"/>
                  </a:lnTo>
                  <a:lnTo>
                    <a:pt x="736" y="919"/>
                  </a:lnTo>
                  <a:lnTo>
                    <a:pt x="743" y="908"/>
                  </a:lnTo>
                  <a:lnTo>
                    <a:pt x="748" y="897"/>
                  </a:lnTo>
                  <a:lnTo>
                    <a:pt x="753" y="886"/>
                  </a:lnTo>
                  <a:lnTo>
                    <a:pt x="756" y="876"/>
                  </a:lnTo>
                  <a:lnTo>
                    <a:pt x="757" y="869"/>
                  </a:lnTo>
                  <a:lnTo>
                    <a:pt x="758" y="862"/>
                  </a:lnTo>
                  <a:lnTo>
                    <a:pt x="758" y="862"/>
                  </a:lnTo>
                  <a:lnTo>
                    <a:pt x="758" y="882"/>
                  </a:lnTo>
                  <a:lnTo>
                    <a:pt x="758" y="912"/>
                  </a:lnTo>
                  <a:lnTo>
                    <a:pt x="759" y="942"/>
                  </a:lnTo>
                  <a:lnTo>
                    <a:pt x="761" y="965"/>
                  </a:lnTo>
                  <a:lnTo>
                    <a:pt x="761" y="965"/>
                  </a:lnTo>
                  <a:lnTo>
                    <a:pt x="761" y="966"/>
                  </a:lnTo>
                  <a:lnTo>
                    <a:pt x="763" y="967"/>
                  </a:lnTo>
                  <a:lnTo>
                    <a:pt x="769" y="969"/>
                  </a:lnTo>
                  <a:lnTo>
                    <a:pt x="778" y="970"/>
                  </a:lnTo>
                  <a:lnTo>
                    <a:pt x="789" y="970"/>
                  </a:lnTo>
                  <a:lnTo>
                    <a:pt x="803" y="968"/>
                  </a:lnTo>
                  <a:lnTo>
                    <a:pt x="816" y="963"/>
                  </a:lnTo>
                  <a:lnTo>
                    <a:pt x="822" y="960"/>
                  </a:lnTo>
                  <a:lnTo>
                    <a:pt x="829" y="957"/>
                  </a:lnTo>
                  <a:lnTo>
                    <a:pt x="835" y="952"/>
                  </a:lnTo>
                  <a:lnTo>
                    <a:pt x="842" y="947"/>
                  </a:lnTo>
                  <a:lnTo>
                    <a:pt x="842" y="947"/>
                  </a:lnTo>
                  <a:lnTo>
                    <a:pt x="850" y="937"/>
                  </a:lnTo>
                  <a:lnTo>
                    <a:pt x="857" y="925"/>
                  </a:lnTo>
                  <a:lnTo>
                    <a:pt x="862" y="913"/>
                  </a:lnTo>
                  <a:lnTo>
                    <a:pt x="866" y="901"/>
                  </a:lnTo>
                  <a:lnTo>
                    <a:pt x="873" y="878"/>
                  </a:lnTo>
                  <a:lnTo>
                    <a:pt x="877" y="862"/>
                  </a:lnTo>
                  <a:lnTo>
                    <a:pt x="877" y="862"/>
                  </a:lnTo>
                  <a:lnTo>
                    <a:pt x="877" y="893"/>
                  </a:lnTo>
                  <a:lnTo>
                    <a:pt x="878" y="926"/>
                  </a:lnTo>
                  <a:lnTo>
                    <a:pt x="880" y="953"/>
                  </a:lnTo>
                  <a:lnTo>
                    <a:pt x="881" y="962"/>
                  </a:lnTo>
                  <a:lnTo>
                    <a:pt x="882" y="964"/>
                  </a:lnTo>
                  <a:lnTo>
                    <a:pt x="883" y="965"/>
                  </a:lnTo>
                  <a:lnTo>
                    <a:pt x="883" y="965"/>
                  </a:lnTo>
                  <a:lnTo>
                    <a:pt x="890" y="966"/>
                  </a:lnTo>
                  <a:lnTo>
                    <a:pt x="898" y="966"/>
                  </a:lnTo>
                  <a:lnTo>
                    <a:pt x="908" y="965"/>
                  </a:lnTo>
                  <a:lnTo>
                    <a:pt x="919" y="963"/>
                  </a:lnTo>
                  <a:lnTo>
                    <a:pt x="930" y="960"/>
                  </a:lnTo>
                  <a:lnTo>
                    <a:pt x="942" y="956"/>
                  </a:lnTo>
                  <a:lnTo>
                    <a:pt x="953" y="950"/>
                  </a:lnTo>
                  <a:lnTo>
                    <a:pt x="958" y="946"/>
                  </a:lnTo>
                  <a:lnTo>
                    <a:pt x="962" y="942"/>
                  </a:lnTo>
                  <a:lnTo>
                    <a:pt x="962" y="942"/>
                  </a:lnTo>
                  <a:lnTo>
                    <a:pt x="970" y="932"/>
                  </a:lnTo>
                  <a:lnTo>
                    <a:pt x="978" y="922"/>
                  </a:lnTo>
                  <a:lnTo>
                    <a:pt x="984" y="912"/>
                  </a:lnTo>
                  <a:lnTo>
                    <a:pt x="989" y="901"/>
                  </a:lnTo>
                  <a:lnTo>
                    <a:pt x="992" y="890"/>
                  </a:lnTo>
                  <a:lnTo>
                    <a:pt x="995" y="879"/>
                  </a:lnTo>
                  <a:lnTo>
                    <a:pt x="998" y="862"/>
                  </a:lnTo>
                  <a:lnTo>
                    <a:pt x="998" y="862"/>
                  </a:lnTo>
                  <a:lnTo>
                    <a:pt x="998" y="891"/>
                  </a:lnTo>
                  <a:lnTo>
                    <a:pt x="999" y="915"/>
                  </a:lnTo>
                  <a:lnTo>
                    <a:pt x="1001" y="936"/>
                  </a:lnTo>
                  <a:lnTo>
                    <a:pt x="1001" y="936"/>
                  </a:lnTo>
                  <a:lnTo>
                    <a:pt x="1015" y="935"/>
                  </a:lnTo>
                  <a:lnTo>
                    <a:pt x="1024" y="933"/>
                  </a:lnTo>
                  <a:lnTo>
                    <a:pt x="1032" y="931"/>
                  </a:lnTo>
                  <a:lnTo>
                    <a:pt x="1032" y="931"/>
                  </a:lnTo>
                  <a:lnTo>
                    <a:pt x="1046" y="925"/>
                  </a:lnTo>
                  <a:lnTo>
                    <a:pt x="1057" y="920"/>
                  </a:lnTo>
                  <a:lnTo>
                    <a:pt x="1068" y="913"/>
                  </a:lnTo>
                  <a:lnTo>
                    <a:pt x="1068" y="913"/>
                  </a:lnTo>
                  <a:lnTo>
                    <a:pt x="1078" y="905"/>
                  </a:lnTo>
                  <a:lnTo>
                    <a:pt x="1083" y="900"/>
                  </a:lnTo>
                  <a:lnTo>
                    <a:pt x="1088" y="894"/>
                  </a:lnTo>
                  <a:lnTo>
                    <a:pt x="1092" y="887"/>
                  </a:lnTo>
                  <a:lnTo>
                    <a:pt x="1096" y="878"/>
                  </a:lnTo>
                  <a:lnTo>
                    <a:pt x="1099" y="868"/>
                  </a:lnTo>
                  <a:lnTo>
                    <a:pt x="1101" y="856"/>
                  </a:lnTo>
                  <a:close/>
                  <a:moveTo>
                    <a:pt x="1266" y="1010"/>
                  </a:moveTo>
                  <a:lnTo>
                    <a:pt x="1266" y="916"/>
                  </a:lnTo>
                  <a:lnTo>
                    <a:pt x="1266" y="916"/>
                  </a:lnTo>
                  <a:lnTo>
                    <a:pt x="1261" y="910"/>
                  </a:lnTo>
                  <a:lnTo>
                    <a:pt x="1255" y="902"/>
                  </a:lnTo>
                  <a:lnTo>
                    <a:pt x="1247" y="891"/>
                  </a:lnTo>
                  <a:lnTo>
                    <a:pt x="1240" y="875"/>
                  </a:lnTo>
                  <a:lnTo>
                    <a:pt x="1237" y="866"/>
                  </a:lnTo>
                  <a:lnTo>
                    <a:pt x="1234" y="856"/>
                  </a:lnTo>
                  <a:lnTo>
                    <a:pt x="1232" y="845"/>
                  </a:lnTo>
                  <a:lnTo>
                    <a:pt x="1229" y="831"/>
                  </a:lnTo>
                  <a:lnTo>
                    <a:pt x="1228" y="818"/>
                  </a:lnTo>
                  <a:lnTo>
                    <a:pt x="1227" y="803"/>
                  </a:lnTo>
                  <a:lnTo>
                    <a:pt x="1227" y="803"/>
                  </a:lnTo>
                  <a:lnTo>
                    <a:pt x="1227" y="792"/>
                  </a:lnTo>
                  <a:lnTo>
                    <a:pt x="1228" y="782"/>
                  </a:lnTo>
                  <a:lnTo>
                    <a:pt x="1229" y="772"/>
                  </a:lnTo>
                  <a:lnTo>
                    <a:pt x="1232" y="762"/>
                  </a:lnTo>
                  <a:lnTo>
                    <a:pt x="1238" y="743"/>
                  </a:lnTo>
                  <a:lnTo>
                    <a:pt x="1244" y="727"/>
                  </a:lnTo>
                  <a:lnTo>
                    <a:pt x="1252" y="714"/>
                  </a:lnTo>
                  <a:lnTo>
                    <a:pt x="1258" y="702"/>
                  </a:lnTo>
                  <a:lnTo>
                    <a:pt x="1264" y="693"/>
                  </a:lnTo>
                  <a:lnTo>
                    <a:pt x="1263" y="603"/>
                  </a:lnTo>
                  <a:lnTo>
                    <a:pt x="1263" y="603"/>
                  </a:lnTo>
                  <a:lnTo>
                    <a:pt x="1254" y="596"/>
                  </a:lnTo>
                  <a:lnTo>
                    <a:pt x="1230" y="581"/>
                  </a:lnTo>
                  <a:lnTo>
                    <a:pt x="1216" y="573"/>
                  </a:lnTo>
                  <a:lnTo>
                    <a:pt x="1201" y="565"/>
                  </a:lnTo>
                  <a:lnTo>
                    <a:pt x="1194" y="562"/>
                  </a:lnTo>
                  <a:lnTo>
                    <a:pt x="1188" y="561"/>
                  </a:lnTo>
                  <a:lnTo>
                    <a:pt x="1182" y="560"/>
                  </a:lnTo>
                  <a:lnTo>
                    <a:pt x="1176" y="560"/>
                  </a:lnTo>
                  <a:lnTo>
                    <a:pt x="1177" y="887"/>
                  </a:lnTo>
                  <a:lnTo>
                    <a:pt x="1177" y="887"/>
                  </a:lnTo>
                  <a:lnTo>
                    <a:pt x="1177" y="899"/>
                  </a:lnTo>
                  <a:lnTo>
                    <a:pt x="1174" y="909"/>
                  </a:lnTo>
                  <a:lnTo>
                    <a:pt x="1170" y="920"/>
                  </a:lnTo>
                  <a:lnTo>
                    <a:pt x="1164" y="930"/>
                  </a:lnTo>
                  <a:lnTo>
                    <a:pt x="1156" y="942"/>
                  </a:lnTo>
                  <a:lnTo>
                    <a:pt x="1148" y="952"/>
                  </a:lnTo>
                  <a:lnTo>
                    <a:pt x="1138" y="962"/>
                  </a:lnTo>
                  <a:lnTo>
                    <a:pt x="1128" y="971"/>
                  </a:lnTo>
                  <a:lnTo>
                    <a:pt x="1117" y="981"/>
                  </a:lnTo>
                  <a:lnTo>
                    <a:pt x="1104" y="989"/>
                  </a:lnTo>
                  <a:lnTo>
                    <a:pt x="1092" y="997"/>
                  </a:lnTo>
                  <a:lnTo>
                    <a:pt x="1079" y="1003"/>
                  </a:lnTo>
                  <a:lnTo>
                    <a:pt x="1065" y="1009"/>
                  </a:lnTo>
                  <a:lnTo>
                    <a:pt x="1052" y="1014"/>
                  </a:lnTo>
                  <a:lnTo>
                    <a:pt x="1039" y="1018"/>
                  </a:lnTo>
                  <a:lnTo>
                    <a:pt x="1026" y="1021"/>
                  </a:lnTo>
                  <a:lnTo>
                    <a:pt x="1026" y="1021"/>
                  </a:lnTo>
                  <a:lnTo>
                    <a:pt x="996" y="1027"/>
                  </a:lnTo>
                  <a:lnTo>
                    <a:pt x="967" y="1031"/>
                  </a:lnTo>
                  <a:lnTo>
                    <a:pt x="939" y="1034"/>
                  </a:lnTo>
                  <a:lnTo>
                    <a:pt x="911" y="1037"/>
                  </a:lnTo>
                  <a:lnTo>
                    <a:pt x="858" y="1040"/>
                  </a:lnTo>
                  <a:lnTo>
                    <a:pt x="810" y="1042"/>
                  </a:lnTo>
                  <a:lnTo>
                    <a:pt x="770" y="1042"/>
                  </a:lnTo>
                  <a:lnTo>
                    <a:pt x="739" y="1042"/>
                  </a:lnTo>
                  <a:lnTo>
                    <a:pt x="712" y="1041"/>
                  </a:lnTo>
                  <a:lnTo>
                    <a:pt x="712" y="1041"/>
                  </a:lnTo>
                  <a:lnTo>
                    <a:pt x="713" y="1048"/>
                  </a:lnTo>
                  <a:lnTo>
                    <a:pt x="716" y="1068"/>
                  </a:lnTo>
                  <a:lnTo>
                    <a:pt x="722" y="1095"/>
                  </a:lnTo>
                  <a:lnTo>
                    <a:pt x="725" y="1110"/>
                  </a:lnTo>
                  <a:lnTo>
                    <a:pt x="730" y="1126"/>
                  </a:lnTo>
                  <a:lnTo>
                    <a:pt x="730" y="1126"/>
                  </a:lnTo>
                  <a:lnTo>
                    <a:pt x="735" y="1136"/>
                  </a:lnTo>
                  <a:lnTo>
                    <a:pt x="741" y="1146"/>
                  </a:lnTo>
                  <a:lnTo>
                    <a:pt x="748" y="1155"/>
                  </a:lnTo>
                  <a:lnTo>
                    <a:pt x="756" y="1164"/>
                  </a:lnTo>
                  <a:lnTo>
                    <a:pt x="769" y="1176"/>
                  </a:lnTo>
                  <a:lnTo>
                    <a:pt x="774" y="1180"/>
                  </a:lnTo>
                  <a:lnTo>
                    <a:pt x="1163" y="1180"/>
                  </a:lnTo>
                  <a:lnTo>
                    <a:pt x="1266" y="1010"/>
                  </a:lnTo>
                  <a:close/>
                  <a:moveTo>
                    <a:pt x="773" y="1398"/>
                  </a:moveTo>
                  <a:lnTo>
                    <a:pt x="1164" y="1398"/>
                  </a:lnTo>
                  <a:lnTo>
                    <a:pt x="1164" y="1398"/>
                  </a:lnTo>
                  <a:lnTo>
                    <a:pt x="1175" y="1365"/>
                  </a:lnTo>
                  <a:lnTo>
                    <a:pt x="1183" y="1339"/>
                  </a:lnTo>
                  <a:lnTo>
                    <a:pt x="1186" y="1328"/>
                  </a:lnTo>
                  <a:lnTo>
                    <a:pt x="1188" y="1319"/>
                  </a:lnTo>
                  <a:lnTo>
                    <a:pt x="1170" y="1256"/>
                  </a:lnTo>
                  <a:lnTo>
                    <a:pt x="775" y="1256"/>
                  </a:lnTo>
                  <a:lnTo>
                    <a:pt x="753" y="1321"/>
                  </a:lnTo>
                  <a:lnTo>
                    <a:pt x="773" y="1398"/>
                  </a:lnTo>
                  <a:close/>
                  <a:moveTo>
                    <a:pt x="1164" y="1471"/>
                  </a:moveTo>
                  <a:lnTo>
                    <a:pt x="782" y="1471"/>
                  </a:lnTo>
                  <a:lnTo>
                    <a:pt x="780" y="1976"/>
                  </a:lnTo>
                  <a:lnTo>
                    <a:pt x="1111" y="1985"/>
                  </a:lnTo>
                  <a:lnTo>
                    <a:pt x="1216" y="1902"/>
                  </a:lnTo>
                  <a:lnTo>
                    <a:pt x="1164" y="1471"/>
                  </a:lnTo>
                  <a:close/>
                  <a:moveTo>
                    <a:pt x="1343" y="2103"/>
                  </a:moveTo>
                  <a:lnTo>
                    <a:pt x="1343" y="2103"/>
                  </a:lnTo>
                  <a:lnTo>
                    <a:pt x="1309" y="2079"/>
                  </a:lnTo>
                  <a:lnTo>
                    <a:pt x="1284" y="2061"/>
                  </a:lnTo>
                  <a:lnTo>
                    <a:pt x="1276" y="2054"/>
                  </a:lnTo>
                  <a:lnTo>
                    <a:pt x="1271" y="2049"/>
                  </a:lnTo>
                  <a:lnTo>
                    <a:pt x="1271" y="2049"/>
                  </a:lnTo>
                  <a:lnTo>
                    <a:pt x="1269" y="2043"/>
                  </a:lnTo>
                  <a:lnTo>
                    <a:pt x="1267" y="2033"/>
                  </a:lnTo>
                  <a:lnTo>
                    <a:pt x="1263" y="2004"/>
                  </a:lnTo>
                  <a:lnTo>
                    <a:pt x="1260" y="1964"/>
                  </a:lnTo>
                  <a:lnTo>
                    <a:pt x="1138" y="2062"/>
                  </a:lnTo>
                  <a:lnTo>
                    <a:pt x="765" y="2061"/>
                  </a:lnTo>
                  <a:lnTo>
                    <a:pt x="765" y="2061"/>
                  </a:lnTo>
                  <a:lnTo>
                    <a:pt x="765" y="2062"/>
                  </a:lnTo>
                  <a:lnTo>
                    <a:pt x="764" y="2064"/>
                  </a:lnTo>
                  <a:lnTo>
                    <a:pt x="762" y="2072"/>
                  </a:lnTo>
                  <a:lnTo>
                    <a:pt x="760" y="2103"/>
                  </a:lnTo>
                  <a:lnTo>
                    <a:pt x="759" y="2147"/>
                  </a:lnTo>
                  <a:lnTo>
                    <a:pt x="758" y="2197"/>
                  </a:lnTo>
                  <a:lnTo>
                    <a:pt x="757" y="2291"/>
                  </a:lnTo>
                  <a:lnTo>
                    <a:pt x="757" y="2333"/>
                  </a:lnTo>
                  <a:lnTo>
                    <a:pt x="757" y="2333"/>
                  </a:lnTo>
                  <a:lnTo>
                    <a:pt x="786" y="2359"/>
                  </a:lnTo>
                  <a:lnTo>
                    <a:pt x="852" y="2412"/>
                  </a:lnTo>
                  <a:lnTo>
                    <a:pt x="888" y="2441"/>
                  </a:lnTo>
                  <a:lnTo>
                    <a:pt x="919" y="2465"/>
                  </a:lnTo>
                  <a:lnTo>
                    <a:pt x="943" y="2481"/>
                  </a:lnTo>
                  <a:lnTo>
                    <a:pt x="950" y="2486"/>
                  </a:lnTo>
                  <a:lnTo>
                    <a:pt x="952" y="2487"/>
                  </a:lnTo>
                  <a:lnTo>
                    <a:pt x="954" y="2487"/>
                  </a:lnTo>
                  <a:lnTo>
                    <a:pt x="1205" y="2170"/>
                  </a:lnTo>
                  <a:lnTo>
                    <a:pt x="1343" y="2103"/>
                  </a:lnTo>
                  <a:close/>
                  <a:moveTo>
                    <a:pt x="1259" y="2225"/>
                  </a:moveTo>
                  <a:lnTo>
                    <a:pt x="1033" y="2515"/>
                  </a:lnTo>
                  <a:lnTo>
                    <a:pt x="1402" y="2669"/>
                  </a:lnTo>
                  <a:lnTo>
                    <a:pt x="1402" y="2669"/>
                  </a:lnTo>
                  <a:lnTo>
                    <a:pt x="1442" y="2647"/>
                  </a:lnTo>
                  <a:lnTo>
                    <a:pt x="1485" y="2624"/>
                  </a:lnTo>
                  <a:lnTo>
                    <a:pt x="1528" y="2599"/>
                  </a:lnTo>
                  <a:lnTo>
                    <a:pt x="1571" y="2573"/>
                  </a:lnTo>
                  <a:lnTo>
                    <a:pt x="1656" y="2521"/>
                  </a:lnTo>
                  <a:lnTo>
                    <a:pt x="1736" y="2471"/>
                  </a:lnTo>
                  <a:lnTo>
                    <a:pt x="1806" y="2426"/>
                  </a:lnTo>
                  <a:lnTo>
                    <a:pt x="1862" y="2389"/>
                  </a:lnTo>
                  <a:lnTo>
                    <a:pt x="1912" y="2356"/>
                  </a:lnTo>
                  <a:lnTo>
                    <a:pt x="1392" y="2160"/>
                  </a:lnTo>
                  <a:lnTo>
                    <a:pt x="1259" y="2225"/>
                  </a:lnTo>
                  <a:close/>
                  <a:moveTo>
                    <a:pt x="1462" y="703"/>
                  </a:moveTo>
                  <a:lnTo>
                    <a:pt x="1462" y="703"/>
                  </a:lnTo>
                  <a:lnTo>
                    <a:pt x="1461" y="553"/>
                  </a:lnTo>
                  <a:lnTo>
                    <a:pt x="1461" y="448"/>
                  </a:lnTo>
                  <a:lnTo>
                    <a:pt x="1462" y="411"/>
                  </a:lnTo>
                  <a:lnTo>
                    <a:pt x="1463" y="399"/>
                  </a:lnTo>
                  <a:lnTo>
                    <a:pt x="1464" y="394"/>
                  </a:lnTo>
                  <a:lnTo>
                    <a:pt x="1464" y="394"/>
                  </a:lnTo>
                  <a:lnTo>
                    <a:pt x="1469" y="386"/>
                  </a:lnTo>
                  <a:lnTo>
                    <a:pt x="1474" y="379"/>
                  </a:lnTo>
                  <a:lnTo>
                    <a:pt x="1480" y="368"/>
                  </a:lnTo>
                  <a:lnTo>
                    <a:pt x="1480" y="368"/>
                  </a:lnTo>
                  <a:lnTo>
                    <a:pt x="1483" y="360"/>
                  </a:lnTo>
                  <a:lnTo>
                    <a:pt x="1484" y="351"/>
                  </a:lnTo>
                  <a:lnTo>
                    <a:pt x="1484" y="343"/>
                  </a:lnTo>
                  <a:lnTo>
                    <a:pt x="1483" y="333"/>
                  </a:lnTo>
                  <a:lnTo>
                    <a:pt x="1481" y="320"/>
                  </a:lnTo>
                  <a:lnTo>
                    <a:pt x="1480" y="315"/>
                  </a:lnTo>
                  <a:lnTo>
                    <a:pt x="1298" y="315"/>
                  </a:lnTo>
                  <a:lnTo>
                    <a:pt x="1298" y="315"/>
                  </a:lnTo>
                  <a:lnTo>
                    <a:pt x="1297" y="319"/>
                  </a:lnTo>
                  <a:lnTo>
                    <a:pt x="1296" y="323"/>
                  </a:lnTo>
                  <a:lnTo>
                    <a:pt x="1296" y="335"/>
                  </a:lnTo>
                  <a:lnTo>
                    <a:pt x="1297" y="348"/>
                  </a:lnTo>
                  <a:lnTo>
                    <a:pt x="1299" y="358"/>
                  </a:lnTo>
                  <a:lnTo>
                    <a:pt x="1299" y="358"/>
                  </a:lnTo>
                  <a:lnTo>
                    <a:pt x="1303" y="369"/>
                  </a:lnTo>
                  <a:lnTo>
                    <a:pt x="1309" y="380"/>
                  </a:lnTo>
                  <a:lnTo>
                    <a:pt x="1316" y="391"/>
                  </a:lnTo>
                  <a:lnTo>
                    <a:pt x="1320" y="395"/>
                  </a:lnTo>
                  <a:lnTo>
                    <a:pt x="1325" y="398"/>
                  </a:lnTo>
                  <a:lnTo>
                    <a:pt x="1325" y="703"/>
                  </a:lnTo>
                  <a:lnTo>
                    <a:pt x="1325" y="703"/>
                  </a:lnTo>
                  <a:lnTo>
                    <a:pt x="1321" y="710"/>
                  </a:lnTo>
                  <a:lnTo>
                    <a:pt x="1316" y="717"/>
                  </a:lnTo>
                  <a:lnTo>
                    <a:pt x="1311" y="727"/>
                  </a:lnTo>
                  <a:lnTo>
                    <a:pt x="1306" y="741"/>
                  </a:lnTo>
                  <a:lnTo>
                    <a:pt x="1301" y="758"/>
                  </a:lnTo>
                  <a:lnTo>
                    <a:pt x="1296" y="778"/>
                  </a:lnTo>
                  <a:lnTo>
                    <a:pt x="1292" y="802"/>
                  </a:lnTo>
                  <a:lnTo>
                    <a:pt x="1292" y="802"/>
                  </a:lnTo>
                  <a:lnTo>
                    <a:pt x="1292" y="813"/>
                  </a:lnTo>
                  <a:lnTo>
                    <a:pt x="1292" y="823"/>
                  </a:lnTo>
                  <a:lnTo>
                    <a:pt x="1293" y="833"/>
                  </a:lnTo>
                  <a:lnTo>
                    <a:pt x="1296" y="844"/>
                  </a:lnTo>
                  <a:lnTo>
                    <a:pt x="1302" y="861"/>
                  </a:lnTo>
                  <a:lnTo>
                    <a:pt x="1308" y="877"/>
                  </a:lnTo>
                  <a:lnTo>
                    <a:pt x="1315" y="891"/>
                  </a:lnTo>
                  <a:lnTo>
                    <a:pt x="1321" y="900"/>
                  </a:lnTo>
                  <a:lnTo>
                    <a:pt x="1327" y="909"/>
                  </a:lnTo>
                  <a:lnTo>
                    <a:pt x="1323" y="1165"/>
                  </a:lnTo>
                  <a:lnTo>
                    <a:pt x="1323" y="1165"/>
                  </a:lnTo>
                  <a:lnTo>
                    <a:pt x="1321" y="1167"/>
                  </a:lnTo>
                  <a:lnTo>
                    <a:pt x="1315" y="1174"/>
                  </a:lnTo>
                  <a:lnTo>
                    <a:pt x="1312" y="1179"/>
                  </a:lnTo>
                  <a:lnTo>
                    <a:pt x="1310" y="1186"/>
                  </a:lnTo>
                  <a:lnTo>
                    <a:pt x="1307" y="1194"/>
                  </a:lnTo>
                  <a:lnTo>
                    <a:pt x="1306" y="1203"/>
                  </a:lnTo>
                  <a:lnTo>
                    <a:pt x="1306" y="1203"/>
                  </a:lnTo>
                  <a:lnTo>
                    <a:pt x="1306" y="1213"/>
                  </a:lnTo>
                  <a:lnTo>
                    <a:pt x="1306" y="1221"/>
                  </a:lnTo>
                  <a:lnTo>
                    <a:pt x="1307" y="1234"/>
                  </a:lnTo>
                  <a:lnTo>
                    <a:pt x="1309" y="1241"/>
                  </a:lnTo>
                  <a:lnTo>
                    <a:pt x="1310" y="1243"/>
                  </a:lnTo>
                  <a:lnTo>
                    <a:pt x="1480" y="1243"/>
                  </a:lnTo>
                  <a:lnTo>
                    <a:pt x="1480" y="1243"/>
                  </a:lnTo>
                  <a:lnTo>
                    <a:pt x="1482" y="1235"/>
                  </a:lnTo>
                  <a:lnTo>
                    <a:pt x="1483" y="1221"/>
                  </a:lnTo>
                  <a:lnTo>
                    <a:pt x="1482" y="1204"/>
                  </a:lnTo>
                  <a:lnTo>
                    <a:pt x="1482" y="1196"/>
                  </a:lnTo>
                  <a:lnTo>
                    <a:pt x="1480" y="1188"/>
                  </a:lnTo>
                  <a:lnTo>
                    <a:pt x="1480" y="1188"/>
                  </a:lnTo>
                  <a:lnTo>
                    <a:pt x="1477" y="1179"/>
                  </a:lnTo>
                  <a:lnTo>
                    <a:pt x="1471" y="1172"/>
                  </a:lnTo>
                  <a:lnTo>
                    <a:pt x="1466" y="1166"/>
                  </a:lnTo>
                  <a:lnTo>
                    <a:pt x="1461" y="1161"/>
                  </a:lnTo>
                  <a:lnTo>
                    <a:pt x="1460" y="909"/>
                  </a:lnTo>
                  <a:lnTo>
                    <a:pt x="1460" y="909"/>
                  </a:lnTo>
                  <a:lnTo>
                    <a:pt x="1473" y="888"/>
                  </a:lnTo>
                  <a:lnTo>
                    <a:pt x="1482" y="876"/>
                  </a:lnTo>
                  <a:lnTo>
                    <a:pt x="1488" y="865"/>
                  </a:lnTo>
                  <a:lnTo>
                    <a:pt x="1494" y="852"/>
                  </a:lnTo>
                  <a:lnTo>
                    <a:pt x="1499" y="837"/>
                  </a:lnTo>
                  <a:lnTo>
                    <a:pt x="1502" y="822"/>
                  </a:lnTo>
                  <a:lnTo>
                    <a:pt x="1503" y="814"/>
                  </a:lnTo>
                  <a:lnTo>
                    <a:pt x="1503" y="806"/>
                  </a:lnTo>
                  <a:lnTo>
                    <a:pt x="1503" y="806"/>
                  </a:lnTo>
                  <a:lnTo>
                    <a:pt x="1503" y="797"/>
                  </a:lnTo>
                  <a:lnTo>
                    <a:pt x="1502" y="788"/>
                  </a:lnTo>
                  <a:lnTo>
                    <a:pt x="1498" y="773"/>
                  </a:lnTo>
                  <a:lnTo>
                    <a:pt x="1493" y="758"/>
                  </a:lnTo>
                  <a:lnTo>
                    <a:pt x="1487" y="743"/>
                  </a:lnTo>
                  <a:lnTo>
                    <a:pt x="1481" y="731"/>
                  </a:lnTo>
                  <a:lnTo>
                    <a:pt x="1473" y="720"/>
                  </a:lnTo>
                  <a:lnTo>
                    <a:pt x="1462" y="703"/>
                  </a:lnTo>
                  <a:close/>
                  <a:moveTo>
                    <a:pt x="1843" y="953"/>
                  </a:moveTo>
                  <a:lnTo>
                    <a:pt x="2130" y="663"/>
                  </a:lnTo>
                  <a:lnTo>
                    <a:pt x="2130" y="663"/>
                  </a:lnTo>
                  <a:lnTo>
                    <a:pt x="1946" y="660"/>
                  </a:lnTo>
                  <a:lnTo>
                    <a:pt x="1837" y="659"/>
                  </a:lnTo>
                  <a:lnTo>
                    <a:pt x="1715" y="658"/>
                  </a:lnTo>
                  <a:lnTo>
                    <a:pt x="1715" y="658"/>
                  </a:lnTo>
                  <a:lnTo>
                    <a:pt x="1708" y="657"/>
                  </a:lnTo>
                  <a:lnTo>
                    <a:pt x="1698" y="655"/>
                  </a:lnTo>
                  <a:lnTo>
                    <a:pt x="1687" y="651"/>
                  </a:lnTo>
                  <a:lnTo>
                    <a:pt x="1676" y="646"/>
                  </a:lnTo>
                  <a:lnTo>
                    <a:pt x="1650" y="634"/>
                  </a:lnTo>
                  <a:lnTo>
                    <a:pt x="1623" y="620"/>
                  </a:lnTo>
                  <a:lnTo>
                    <a:pt x="1597" y="606"/>
                  </a:lnTo>
                  <a:lnTo>
                    <a:pt x="1576" y="596"/>
                  </a:lnTo>
                  <a:lnTo>
                    <a:pt x="1566" y="592"/>
                  </a:lnTo>
                  <a:lnTo>
                    <a:pt x="1558" y="591"/>
                  </a:lnTo>
                  <a:lnTo>
                    <a:pt x="1553" y="590"/>
                  </a:lnTo>
                  <a:lnTo>
                    <a:pt x="1551" y="591"/>
                  </a:lnTo>
                  <a:lnTo>
                    <a:pt x="1550" y="592"/>
                  </a:lnTo>
                  <a:lnTo>
                    <a:pt x="1550" y="592"/>
                  </a:lnTo>
                  <a:lnTo>
                    <a:pt x="1535" y="628"/>
                  </a:lnTo>
                  <a:lnTo>
                    <a:pt x="1514" y="681"/>
                  </a:lnTo>
                  <a:lnTo>
                    <a:pt x="1514" y="681"/>
                  </a:lnTo>
                  <a:lnTo>
                    <a:pt x="1523" y="691"/>
                  </a:lnTo>
                  <a:lnTo>
                    <a:pt x="1532" y="703"/>
                  </a:lnTo>
                  <a:lnTo>
                    <a:pt x="1542" y="719"/>
                  </a:lnTo>
                  <a:lnTo>
                    <a:pt x="1551" y="737"/>
                  </a:lnTo>
                  <a:lnTo>
                    <a:pt x="1556" y="747"/>
                  </a:lnTo>
                  <a:lnTo>
                    <a:pt x="1560" y="759"/>
                  </a:lnTo>
                  <a:lnTo>
                    <a:pt x="1563" y="770"/>
                  </a:lnTo>
                  <a:lnTo>
                    <a:pt x="1565" y="781"/>
                  </a:lnTo>
                  <a:lnTo>
                    <a:pt x="1568" y="793"/>
                  </a:lnTo>
                  <a:lnTo>
                    <a:pt x="1568" y="806"/>
                  </a:lnTo>
                  <a:lnTo>
                    <a:pt x="1568" y="806"/>
                  </a:lnTo>
                  <a:lnTo>
                    <a:pt x="1566" y="825"/>
                  </a:lnTo>
                  <a:lnTo>
                    <a:pt x="1564" y="838"/>
                  </a:lnTo>
                  <a:lnTo>
                    <a:pt x="1561" y="855"/>
                  </a:lnTo>
                  <a:lnTo>
                    <a:pt x="1558" y="864"/>
                  </a:lnTo>
                  <a:lnTo>
                    <a:pt x="1555" y="873"/>
                  </a:lnTo>
                  <a:lnTo>
                    <a:pt x="1551" y="883"/>
                  </a:lnTo>
                  <a:lnTo>
                    <a:pt x="1545" y="894"/>
                  </a:lnTo>
                  <a:lnTo>
                    <a:pt x="1539" y="903"/>
                  </a:lnTo>
                  <a:lnTo>
                    <a:pt x="1532" y="914"/>
                  </a:lnTo>
                  <a:lnTo>
                    <a:pt x="1524" y="924"/>
                  </a:lnTo>
                  <a:lnTo>
                    <a:pt x="1513" y="935"/>
                  </a:lnTo>
                  <a:lnTo>
                    <a:pt x="1513" y="935"/>
                  </a:lnTo>
                  <a:lnTo>
                    <a:pt x="1536" y="981"/>
                  </a:lnTo>
                  <a:lnTo>
                    <a:pt x="1553" y="1013"/>
                  </a:lnTo>
                  <a:lnTo>
                    <a:pt x="1560" y="1025"/>
                  </a:lnTo>
                  <a:lnTo>
                    <a:pt x="1565" y="1032"/>
                  </a:lnTo>
                  <a:lnTo>
                    <a:pt x="1565" y="1032"/>
                  </a:lnTo>
                  <a:lnTo>
                    <a:pt x="1580" y="1023"/>
                  </a:lnTo>
                  <a:lnTo>
                    <a:pt x="1597" y="1013"/>
                  </a:lnTo>
                  <a:lnTo>
                    <a:pt x="1618" y="1002"/>
                  </a:lnTo>
                  <a:lnTo>
                    <a:pt x="1642" y="990"/>
                  </a:lnTo>
                  <a:lnTo>
                    <a:pt x="1669" y="978"/>
                  </a:lnTo>
                  <a:lnTo>
                    <a:pt x="1696" y="968"/>
                  </a:lnTo>
                  <a:lnTo>
                    <a:pt x="1711" y="964"/>
                  </a:lnTo>
                  <a:lnTo>
                    <a:pt x="1724" y="961"/>
                  </a:lnTo>
                  <a:lnTo>
                    <a:pt x="1724" y="961"/>
                  </a:lnTo>
                  <a:lnTo>
                    <a:pt x="1737" y="959"/>
                  </a:lnTo>
                  <a:lnTo>
                    <a:pt x="1761" y="957"/>
                  </a:lnTo>
                  <a:lnTo>
                    <a:pt x="1843" y="953"/>
                  </a:lnTo>
                  <a:close/>
                  <a:moveTo>
                    <a:pt x="3120" y="962"/>
                  </a:moveTo>
                  <a:lnTo>
                    <a:pt x="3486" y="484"/>
                  </a:lnTo>
                  <a:lnTo>
                    <a:pt x="3486" y="484"/>
                  </a:lnTo>
                  <a:lnTo>
                    <a:pt x="3479" y="482"/>
                  </a:lnTo>
                  <a:lnTo>
                    <a:pt x="3469" y="481"/>
                  </a:lnTo>
                  <a:lnTo>
                    <a:pt x="3458" y="480"/>
                  </a:lnTo>
                  <a:lnTo>
                    <a:pt x="3445" y="480"/>
                  </a:lnTo>
                  <a:lnTo>
                    <a:pt x="3428" y="483"/>
                  </a:lnTo>
                  <a:lnTo>
                    <a:pt x="3420" y="485"/>
                  </a:lnTo>
                  <a:lnTo>
                    <a:pt x="3412" y="488"/>
                  </a:lnTo>
                  <a:lnTo>
                    <a:pt x="3403" y="492"/>
                  </a:lnTo>
                  <a:lnTo>
                    <a:pt x="3394" y="496"/>
                  </a:lnTo>
                  <a:lnTo>
                    <a:pt x="3394" y="496"/>
                  </a:lnTo>
                  <a:lnTo>
                    <a:pt x="3385" y="502"/>
                  </a:lnTo>
                  <a:lnTo>
                    <a:pt x="3376" y="508"/>
                  </a:lnTo>
                  <a:lnTo>
                    <a:pt x="3369" y="515"/>
                  </a:lnTo>
                  <a:lnTo>
                    <a:pt x="3363" y="523"/>
                  </a:lnTo>
                  <a:lnTo>
                    <a:pt x="3358" y="532"/>
                  </a:lnTo>
                  <a:lnTo>
                    <a:pt x="3353" y="540"/>
                  </a:lnTo>
                  <a:lnTo>
                    <a:pt x="3349" y="548"/>
                  </a:lnTo>
                  <a:lnTo>
                    <a:pt x="3346" y="557"/>
                  </a:lnTo>
                  <a:lnTo>
                    <a:pt x="3341" y="574"/>
                  </a:lnTo>
                  <a:lnTo>
                    <a:pt x="3337" y="589"/>
                  </a:lnTo>
                  <a:lnTo>
                    <a:pt x="3336" y="600"/>
                  </a:lnTo>
                  <a:lnTo>
                    <a:pt x="3337" y="605"/>
                  </a:lnTo>
                  <a:lnTo>
                    <a:pt x="3338" y="608"/>
                  </a:lnTo>
                  <a:lnTo>
                    <a:pt x="3338" y="608"/>
                  </a:lnTo>
                  <a:lnTo>
                    <a:pt x="3334" y="599"/>
                  </a:lnTo>
                  <a:lnTo>
                    <a:pt x="3330" y="592"/>
                  </a:lnTo>
                  <a:lnTo>
                    <a:pt x="3325" y="585"/>
                  </a:lnTo>
                  <a:lnTo>
                    <a:pt x="3320" y="579"/>
                  </a:lnTo>
                  <a:lnTo>
                    <a:pt x="3315" y="574"/>
                  </a:lnTo>
                  <a:lnTo>
                    <a:pt x="3310" y="568"/>
                  </a:lnTo>
                  <a:lnTo>
                    <a:pt x="3304" y="564"/>
                  </a:lnTo>
                  <a:lnTo>
                    <a:pt x="3299" y="561"/>
                  </a:lnTo>
                  <a:lnTo>
                    <a:pt x="3286" y="556"/>
                  </a:lnTo>
                  <a:lnTo>
                    <a:pt x="3273" y="554"/>
                  </a:lnTo>
                  <a:lnTo>
                    <a:pt x="3261" y="553"/>
                  </a:lnTo>
                  <a:lnTo>
                    <a:pt x="3249" y="554"/>
                  </a:lnTo>
                  <a:lnTo>
                    <a:pt x="3236" y="556"/>
                  </a:lnTo>
                  <a:lnTo>
                    <a:pt x="3225" y="558"/>
                  </a:lnTo>
                  <a:lnTo>
                    <a:pt x="3214" y="562"/>
                  </a:lnTo>
                  <a:lnTo>
                    <a:pt x="3206" y="565"/>
                  </a:lnTo>
                  <a:lnTo>
                    <a:pt x="3192" y="572"/>
                  </a:lnTo>
                  <a:lnTo>
                    <a:pt x="3187" y="574"/>
                  </a:lnTo>
                  <a:lnTo>
                    <a:pt x="3187" y="574"/>
                  </a:lnTo>
                  <a:lnTo>
                    <a:pt x="3199" y="594"/>
                  </a:lnTo>
                  <a:lnTo>
                    <a:pt x="3209" y="613"/>
                  </a:lnTo>
                  <a:lnTo>
                    <a:pt x="3215" y="632"/>
                  </a:lnTo>
                  <a:lnTo>
                    <a:pt x="3219" y="647"/>
                  </a:lnTo>
                  <a:lnTo>
                    <a:pt x="3220" y="663"/>
                  </a:lnTo>
                  <a:lnTo>
                    <a:pt x="3220" y="675"/>
                  </a:lnTo>
                  <a:lnTo>
                    <a:pt x="3218" y="687"/>
                  </a:lnTo>
                  <a:lnTo>
                    <a:pt x="3214" y="696"/>
                  </a:lnTo>
                  <a:lnTo>
                    <a:pt x="3209" y="705"/>
                  </a:lnTo>
                  <a:lnTo>
                    <a:pt x="3203" y="712"/>
                  </a:lnTo>
                  <a:lnTo>
                    <a:pt x="3194" y="718"/>
                  </a:lnTo>
                  <a:lnTo>
                    <a:pt x="3186" y="722"/>
                  </a:lnTo>
                  <a:lnTo>
                    <a:pt x="3178" y="724"/>
                  </a:lnTo>
                  <a:lnTo>
                    <a:pt x="3169" y="725"/>
                  </a:lnTo>
                  <a:lnTo>
                    <a:pt x="3160" y="725"/>
                  </a:lnTo>
                  <a:lnTo>
                    <a:pt x="3150" y="724"/>
                  </a:lnTo>
                  <a:lnTo>
                    <a:pt x="3150" y="724"/>
                  </a:lnTo>
                  <a:lnTo>
                    <a:pt x="3138" y="720"/>
                  </a:lnTo>
                  <a:lnTo>
                    <a:pt x="3129" y="715"/>
                  </a:lnTo>
                  <a:lnTo>
                    <a:pt x="3121" y="709"/>
                  </a:lnTo>
                  <a:lnTo>
                    <a:pt x="3114" y="702"/>
                  </a:lnTo>
                  <a:lnTo>
                    <a:pt x="3108" y="695"/>
                  </a:lnTo>
                  <a:lnTo>
                    <a:pt x="3104" y="688"/>
                  </a:lnTo>
                  <a:lnTo>
                    <a:pt x="3100" y="680"/>
                  </a:lnTo>
                  <a:lnTo>
                    <a:pt x="3098" y="673"/>
                  </a:lnTo>
                  <a:lnTo>
                    <a:pt x="3095" y="658"/>
                  </a:lnTo>
                  <a:lnTo>
                    <a:pt x="3095" y="646"/>
                  </a:lnTo>
                  <a:lnTo>
                    <a:pt x="3095" y="638"/>
                  </a:lnTo>
                  <a:lnTo>
                    <a:pt x="3095" y="635"/>
                  </a:lnTo>
                  <a:lnTo>
                    <a:pt x="3095" y="635"/>
                  </a:lnTo>
                  <a:lnTo>
                    <a:pt x="3092" y="637"/>
                  </a:lnTo>
                  <a:lnTo>
                    <a:pt x="3084" y="643"/>
                  </a:lnTo>
                  <a:lnTo>
                    <a:pt x="3072" y="650"/>
                  </a:lnTo>
                  <a:lnTo>
                    <a:pt x="3064" y="653"/>
                  </a:lnTo>
                  <a:lnTo>
                    <a:pt x="3056" y="656"/>
                  </a:lnTo>
                  <a:lnTo>
                    <a:pt x="3047" y="658"/>
                  </a:lnTo>
                  <a:lnTo>
                    <a:pt x="3038" y="659"/>
                  </a:lnTo>
                  <a:lnTo>
                    <a:pt x="3028" y="659"/>
                  </a:lnTo>
                  <a:lnTo>
                    <a:pt x="3018" y="658"/>
                  </a:lnTo>
                  <a:lnTo>
                    <a:pt x="3008" y="655"/>
                  </a:lnTo>
                  <a:lnTo>
                    <a:pt x="2999" y="650"/>
                  </a:lnTo>
                  <a:lnTo>
                    <a:pt x="2989" y="643"/>
                  </a:lnTo>
                  <a:lnTo>
                    <a:pt x="2980" y="634"/>
                  </a:lnTo>
                  <a:lnTo>
                    <a:pt x="2980" y="634"/>
                  </a:lnTo>
                  <a:lnTo>
                    <a:pt x="2973" y="625"/>
                  </a:lnTo>
                  <a:lnTo>
                    <a:pt x="2969" y="616"/>
                  </a:lnTo>
                  <a:lnTo>
                    <a:pt x="2967" y="607"/>
                  </a:lnTo>
                  <a:lnTo>
                    <a:pt x="2968" y="598"/>
                  </a:lnTo>
                  <a:lnTo>
                    <a:pt x="2969" y="589"/>
                  </a:lnTo>
                  <a:lnTo>
                    <a:pt x="2973" y="581"/>
                  </a:lnTo>
                  <a:lnTo>
                    <a:pt x="2980" y="572"/>
                  </a:lnTo>
                  <a:lnTo>
                    <a:pt x="2987" y="564"/>
                  </a:lnTo>
                  <a:lnTo>
                    <a:pt x="2996" y="557"/>
                  </a:lnTo>
                  <a:lnTo>
                    <a:pt x="3006" y="550"/>
                  </a:lnTo>
                  <a:lnTo>
                    <a:pt x="3019" y="544"/>
                  </a:lnTo>
                  <a:lnTo>
                    <a:pt x="3033" y="540"/>
                  </a:lnTo>
                  <a:lnTo>
                    <a:pt x="3048" y="536"/>
                  </a:lnTo>
                  <a:lnTo>
                    <a:pt x="3065" y="533"/>
                  </a:lnTo>
                  <a:lnTo>
                    <a:pt x="3083" y="532"/>
                  </a:lnTo>
                  <a:lnTo>
                    <a:pt x="3102" y="531"/>
                  </a:lnTo>
                  <a:lnTo>
                    <a:pt x="3102" y="531"/>
                  </a:lnTo>
                  <a:lnTo>
                    <a:pt x="3103" y="520"/>
                  </a:lnTo>
                  <a:lnTo>
                    <a:pt x="3102" y="509"/>
                  </a:lnTo>
                  <a:lnTo>
                    <a:pt x="3099" y="494"/>
                  </a:lnTo>
                  <a:lnTo>
                    <a:pt x="3096" y="486"/>
                  </a:lnTo>
                  <a:lnTo>
                    <a:pt x="3093" y="477"/>
                  </a:lnTo>
                  <a:lnTo>
                    <a:pt x="3089" y="469"/>
                  </a:lnTo>
                  <a:lnTo>
                    <a:pt x="3084" y="460"/>
                  </a:lnTo>
                  <a:lnTo>
                    <a:pt x="3078" y="451"/>
                  </a:lnTo>
                  <a:lnTo>
                    <a:pt x="3071" y="443"/>
                  </a:lnTo>
                  <a:lnTo>
                    <a:pt x="3061" y="435"/>
                  </a:lnTo>
                  <a:lnTo>
                    <a:pt x="3051" y="426"/>
                  </a:lnTo>
                  <a:lnTo>
                    <a:pt x="3051" y="426"/>
                  </a:lnTo>
                  <a:lnTo>
                    <a:pt x="3043" y="421"/>
                  </a:lnTo>
                  <a:lnTo>
                    <a:pt x="3034" y="417"/>
                  </a:lnTo>
                  <a:lnTo>
                    <a:pt x="3024" y="415"/>
                  </a:lnTo>
                  <a:lnTo>
                    <a:pt x="3014" y="413"/>
                  </a:lnTo>
                  <a:lnTo>
                    <a:pt x="3004" y="412"/>
                  </a:lnTo>
                  <a:lnTo>
                    <a:pt x="2995" y="412"/>
                  </a:lnTo>
                  <a:lnTo>
                    <a:pt x="2977" y="414"/>
                  </a:lnTo>
                  <a:lnTo>
                    <a:pt x="2960" y="418"/>
                  </a:lnTo>
                  <a:lnTo>
                    <a:pt x="2947" y="421"/>
                  </a:lnTo>
                  <a:lnTo>
                    <a:pt x="2936" y="425"/>
                  </a:lnTo>
                  <a:lnTo>
                    <a:pt x="2936" y="425"/>
                  </a:lnTo>
                  <a:lnTo>
                    <a:pt x="2943" y="421"/>
                  </a:lnTo>
                  <a:lnTo>
                    <a:pt x="2951" y="415"/>
                  </a:lnTo>
                  <a:lnTo>
                    <a:pt x="2960" y="408"/>
                  </a:lnTo>
                  <a:lnTo>
                    <a:pt x="2970" y="397"/>
                  </a:lnTo>
                  <a:lnTo>
                    <a:pt x="2980" y="384"/>
                  </a:lnTo>
                  <a:lnTo>
                    <a:pt x="2984" y="376"/>
                  </a:lnTo>
                  <a:lnTo>
                    <a:pt x="2988" y="369"/>
                  </a:lnTo>
                  <a:lnTo>
                    <a:pt x="2991" y="360"/>
                  </a:lnTo>
                  <a:lnTo>
                    <a:pt x="2993" y="351"/>
                  </a:lnTo>
                  <a:lnTo>
                    <a:pt x="2993" y="351"/>
                  </a:lnTo>
                  <a:lnTo>
                    <a:pt x="2995" y="336"/>
                  </a:lnTo>
                  <a:lnTo>
                    <a:pt x="2994" y="320"/>
                  </a:lnTo>
                  <a:lnTo>
                    <a:pt x="2992" y="303"/>
                  </a:lnTo>
                  <a:lnTo>
                    <a:pt x="2988" y="285"/>
                  </a:lnTo>
                  <a:lnTo>
                    <a:pt x="2981" y="267"/>
                  </a:lnTo>
                  <a:lnTo>
                    <a:pt x="2972" y="249"/>
                  </a:lnTo>
                  <a:lnTo>
                    <a:pt x="2961" y="232"/>
                  </a:lnTo>
                  <a:lnTo>
                    <a:pt x="2955" y="223"/>
                  </a:lnTo>
                  <a:lnTo>
                    <a:pt x="2948" y="216"/>
                  </a:lnTo>
                  <a:lnTo>
                    <a:pt x="2947" y="214"/>
                  </a:lnTo>
                  <a:lnTo>
                    <a:pt x="2944" y="214"/>
                  </a:lnTo>
                  <a:lnTo>
                    <a:pt x="2944" y="214"/>
                  </a:lnTo>
                  <a:lnTo>
                    <a:pt x="2934" y="214"/>
                  </a:lnTo>
                  <a:lnTo>
                    <a:pt x="2923" y="215"/>
                  </a:lnTo>
                  <a:lnTo>
                    <a:pt x="2903" y="219"/>
                  </a:lnTo>
                  <a:lnTo>
                    <a:pt x="2885" y="224"/>
                  </a:lnTo>
                  <a:lnTo>
                    <a:pt x="2866" y="232"/>
                  </a:lnTo>
                  <a:lnTo>
                    <a:pt x="2851" y="240"/>
                  </a:lnTo>
                  <a:lnTo>
                    <a:pt x="2836" y="250"/>
                  </a:lnTo>
                  <a:lnTo>
                    <a:pt x="2824" y="261"/>
                  </a:lnTo>
                  <a:lnTo>
                    <a:pt x="2814" y="272"/>
                  </a:lnTo>
                  <a:lnTo>
                    <a:pt x="2814" y="272"/>
                  </a:lnTo>
                  <a:lnTo>
                    <a:pt x="2809" y="280"/>
                  </a:lnTo>
                  <a:lnTo>
                    <a:pt x="2805" y="288"/>
                  </a:lnTo>
                  <a:lnTo>
                    <a:pt x="2802" y="297"/>
                  </a:lnTo>
                  <a:lnTo>
                    <a:pt x="2799" y="305"/>
                  </a:lnTo>
                  <a:lnTo>
                    <a:pt x="2796" y="320"/>
                  </a:lnTo>
                  <a:lnTo>
                    <a:pt x="2795" y="334"/>
                  </a:lnTo>
                  <a:lnTo>
                    <a:pt x="2795" y="347"/>
                  </a:lnTo>
                  <a:lnTo>
                    <a:pt x="2796" y="357"/>
                  </a:lnTo>
                  <a:lnTo>
                    <a:pt x="2798" y="365"/>
                  </a:lnTo>
                  <a:lnTo>
                    <a:pt x="2798" y="365"/>
                  </a:lnTo>
                  <a:lnTo>
                    <a:pt x="2792" y="354"/>
                  </a:lnTo>
                  <a:lnTo>
                    <a:pt x="2787" y="341"/>
                  </a:lnTo>
                  <a:lnTo>
                    <a:pt x="2778" y="327"/>
                  </a:lnTo>
                  <a:lnTo>
                    <a:pt x="2767" y="313"/>
                  </a:lnTo>
                  <a:lnTo>
                    <a:pt x="2761" y="306"/>
                  </a:lnTo>
                  <a:lnTo>
                    <a:pt x="2754" y="299"/>
                  </a:lnTo>
                  <a:lnTo>
                    <a:pt x="2746" y="292"/>
                  </a:lnTo>
                  <a:lnTo>
                    <a:pt x="2737" y="287"/>
                  </a:lnTo>
                  <a:lnTo>
                    <a:pt x="2729" y="283"/>
                  </a:lnTo>
                  <a:lnTo>
                    <a:pt x="2719" y="281"/>
                  </a:lnTo>
                  <a:lnTo>
                    <a:pt x="2719" y="281"/>
                  </a:lnTo>
                  <a:lnTo>
                    <a:pt x="2707" y="278"/>
                  </a:lnTo>
                  <a:lnTo>
                    <a:pt x="2694" y="278"/>
                  </a:lnTo>
                  <a:lnTo>
                    <a:pt x="2683" y="278"/>
                  </a:lnTo>
                  <a:lnTo>
                    <a:pt x="2672" y="279"/>
                  </a:lnTo>
                  <a:lnTo>
                    <a:pt x="2663" y="281"/>
                  </a:lnTo>
                  <a:lnTo>
                    <a:pt x="2653" y="284"/>
                  </a:lnTo>
                  <a:lnTo>
                    <a:pt x="2644" y="287"/>
                  </a:lnTo>
                  <a:lnTo>
                    <a:pt x="2637" y="291"/>
                  </a:lnTo>
                  <a:lnTo>
                    <a:pt x="2624" y="300"/>
                  </a:lnTo>
                  <a:lnTo>
                    <a:pt x="2615" y="307"/>
                  </a:lnTo>
                  <a:lnTo>
                    <a:pt x="2607" y="314"/>
                  </a:lnTo>
                  <a:lnTo>
                    <a:pt x="2607" y="314"/>
                  </a:lnTo>
                  <a:lnTo>
                    <a:pt x="2621" y="328"/>
                  </a:lnTo>
                  <a:lnTo>
                    <a:pt x="2632" y="343"/>
                  </a:lnTo>
                  <a:lnTo>
                    <a:pt x="2641" y="357"/>
                  </a:lnTo>
                  <a:lnTo>
                    <a:pt x="2648" y="371"/>
                  </a:lnTo>
                  <a:lnTo>
                    <a:pt x="2654" y="384"/>
                  </a:lnTo>
                  <a:lnTo>
                    <a:pt x="2659" y="398"/>
                  </a:lnTo>
                  <a:lnTo>
                    <a:pt x="2661" y="410"/>
                  </a:lnTo>
                  <a:lnTo>
                    <a:pt x="2662" y="421"/>
                  </a:lnTo>
                  <a:lnTo>
                    <a:pt x="2661" y="432"/>
                  </a:lnTo>
                  <a:lnTo>
                    <a:pt x="2659" y="442"/>
                  </a:lnTo>
                  <a:lnTo>
                    <a:pt x="2654" y="451"/>
                  </a:lnTo>
                  <a:lnTo>
                    <a:pt x="2649" y="458"/>
                  </a:lnTo>
                  <a:lnTo>
                    <a:pt x="2642" y="464"/>
                  </a:lnTo>
                  <a:lnTo>
                    <a:pt x="2635" y="469"/>
                  </a:lnTo>
                  <a:lnTo>
                    <a:pt x="2626" y="472"/>
                  </a:lnTo>
                  <a:lnTo>
                    <a:pt x="2616" y="473"/>
                  </a:lnTo>
                  <a:lnTo>
                    <a:pt x="2616" y="473"/>
                  </a:lnTo>
                  <a:lnTo>
                    <a:pt x="2601" y="473"/>
                  </a:lnTo>
                  <a:lnTo>
                    <a:pt x="2590" y="471"/>
                  </a:lnTo>
                  <a:lnTo>
                    <a:pt x="2580" y="467"/>
                  </a:lnTo>
                  <a:lnTo>
                    <a:pt x="2571" y="462"/>
                  </a:lnTo>
                  <a:lnTo>
                    <a:pt x="2562" y="456"/>
                  </a:lnTo>
                  <a:lnTo>
                    <a:pt x="2556" y="449"/>
                  </a:lnTo>
                  <a:lnTo>
                    <a:pt x="2551" y="441"/>
                  </a:lnTo>
                  <a:lnTo>
                    <a:pt x="2547" y="432"/>
                  </a:lnTo>
                  <a:lnTo>
                    <a:pt x="2543" y="424"/>
                  </a:lnTo>
                  <a:lnTo>
                    <a:pt x="2541" y="417"/>
                  </a:lnTo>
                  <a:lnTo>
                    <a:pt x="2538" y="403"/>
                  </a:lnTo>
                  <a:lnTo>
                    <a:pt x="2536" y="393"/>
                  </a:lnTo>
                  <a:lnTo>
                    <a:pt x="2536" y="390"/>
                  </a:lnTo>
                  <a:lnTo>
                    <a:pt x="2536" y="390"/>
                  </a:lnTo>
                  <a:lnTo>
                    <a:pt x="2534" y="392"/>
                  </a:lnTo>
                  <a:lnTo>
                    <a:pt x="2528" y="398"/>
                  </a:lnTo>
                  <a:lnTo>
                    <a:pt x="2518" y="405"/>
                  </a:lnTo>
                  <a:lnTo>
                    <a:pt x="2506" y="413"/>
                  </a:lnTo>
                  <a:lnTo>
                    <a:pt x="2499" y="416"/>
                  </a:lnTo>
                  <a:lnTo>
                    <a:pt x="2491" y="419"/>
                  </a:lnTo>
                  <a:lnTo>
                    <a:pt x="2483" y="420"/>
                  </a:lnTo>
                  <a:lnTo>
                    <a:pt x="2473" y="421"/>
                  </a:lnTo>
                  <a:lnTo>
                    <a:pt x="2464" y="421"/>
                  </a:lnTo>
                  <a:lnTo>
                    <a:pt x="2454" y="419"/>
                  </a:lnTo>
                  <a:lnTo>
                    <a:pt x="2444" y="415"/>
                  </a:lnTo>
                  <a:lnTo>
                    <a:pt x="2434" y="409"/>
                  </a:lnTo>
                  <a:lnTo>
                    <a:pt x="2434" y="409"/>
                  </a:lnTo>
                  <a:lnTo>
                    <a:pt x="2426" y="404"/>
                  </a:lnTo>
                  <a:lnTo>
                    <a:pt x="2419" y="397"/>
                  </a:lnTo>
                  <a:lnTo>
                    <a:pt x="2414" y="390"/>
                  </a:lnTo>
                  <a:lnTo>
                    <a:pt x="2410" y="381"/>
                  </a:lnTo>
                  <a:lnTo>
                    <a:pt x="2408" y="372"/>
                  </a:lnTo>
                  <a:lnTo>
                    <a:pt x="2407" y="363"/>
                  </a:lnTo>
                  <a:lnTo>
                    <a:pt x="2407" y="354"/>
                  </a:lnTo>
                  <a:lnTo>
                    <a:pt x="2410" y="345"/>
                  </a:lnTo>
                  <a:lnTo>
                    <a:pt x="2415" y="334"/>
                  </a:lnTo>
                  <a:lnTo>
                    <a:pt x="2421" y="325"/>
                  </a:lnTo>
                  <a:lnTo>
                    <a:pt x="2432" y="316"/>
                  </a:lnTo>
                  <a:lnTo>
                    <a:pt x="2443" y="308"/>
                  </a:lnTo>
                  <a:lnTo>
                    <a:pt x="2457" y="300"/>
                  </a:lnTo>
                  <a:lnTo>
                    <a:pt x="2474" y="292"/>
                  </a:lnTo>
                  <a:lnTo>
                    <a:pt x="2495" y="286"/>
                  </a:lnTo>
                  <a:lnTo>
                    <a:pt x="2518" y="280"/>
                  </a:lnTo>
                  <a:lnTo>
                    <a:pt x="2518" y="280"/>
                  </a:lnTo>
                  <a:lnTo>
                    <a:pt x="2517" y="275"/>
                  </a:lnTo>
                  <a:lnTo>
                    <a:pt x="2512" y="262"/>
                  </a:lnTo>
                  <a:lnTo>
                    <a:pt x="2509" y="253"/>
                  </a:lnTo>
                  <a:lnTo>
                    <a:pt x="2504" y="242"/>
                  </a:lnTo>
                  <a:lnTo>
                    <a:pt x="2499" y="232"/>
                  </a:lnTo>
                  <a:lnTo>
                    <a:pt x="2492" y="222"/>
                  </a:lnTo>
                  <a:lnTo>
                    <a:pt x="2484" y="213"/>
                  </a:lnTo>
                  <a:lnTo>
                    <a:pt x="2474" y="203"/>
                  </a:lnTo>
                  <a:lnTo>
                    <a:pt x="2464" y="196"/>
                  </a:lnTo>
                  <a:lnTo>
                    <a:pt x="2452" y="190"/>
                  </a:lnTo>
                  <a:lnTo>
                    <a:pt x="2446" y="188"/>
                  </a:lnTo>
                  <a:lnTo>
                    <a:pt x="2440" y="187"/>
                  </a:lnTo>
                  <a:lnTo>
                    <a:pt x="2433" y="186"/>
                  </a:lnTo>
                  <a:lnTo>
                    <a:pt x="2424" y="185"/>
                  </a:lnTo>
                  <a:lnTo>
                    <a:pt x="2417" y="186"/>
                  </a:lnTo>
                  <a:lnTo>
                    <a:pt x="2408" y="187"/>
                  </a:lnTo>
                  <a:lnTo>
                    <a:pt x="2400" y="190"/>
                  </a:lnTo>
                  <a:lnTo>
                    <a:pt x="2391" y="193"/>
                  </a:lnTo>
                  <a:lnTo>
                    <a:pt x="2391" y="193"/>
                  </a:lnTo>
                  <a:lnTo>
                    <a:pt x="2394" y="191"/>
                  </a:lnTo>
                  <a:lnTo>
                    <a:pt x="2398" y="188"/>
                  </a:lnTo>
                  <a:lnTo>
                    <a:pt x="2406" y="180"/>
                  </a:lnTo>
                  <a:lnTo>
                    <a:pt x="2415" y="168"/>
                  </a:lnTo>
                  <a:lnTo>
                    <a:pt x="2423" y="153"/>
                  </a:lnTo>
                  <a:lnTo>
                    <a:pt x="2427" y="144"/>
                  </a:lnTo>
                  <a:lnTo>
                    <a:pt x="2432" y="136"/>
                  </a:lnTo>
                  <a:lnTo>
                    <a:pt x="2435" y="127"/>
                  </a:lnTo>
                  <a:lnTo>
                    <a:pt x="2437" y="117"/>
                  </a:lnTo>
                  <a:lnTo>
                    <a:pt x="2438" y="106"/>
                  </a:lnTo>
                  <a:lnTo>
                    <a:pt x="2439" y="97"/>
                  </a:lnTo>
                  <a:lnTo>
                    <a:pt x="2438" y="86"/>
                  </a:lnTo>
                  <a:lnTo>
                    <a:pt x="2436" y="76"/>
                  </a:lnTo>
                  <a:lnTo>
                    <a:pt x="2436" y="76"/>
                  </a:lnTo>
                  <a:lnTo>
                    <a:pt x="2434" y="66"/>
                  </a:lnTo>
                  <a:lnTo>
                    <a:pt x="2429" y="57"/>
                  </a:lnTo>
                  <a:lnTo>
                    <a:pt x="2426" y="49"/>
                  </a:lnTo>
                  <a:lnTo>
                    <a:pt x="2422" y="41"/>
                  </a:lnTo>
                  <a:lnTo>
                    <a:pt x="2413" y="28"/>
                  </a:lnTo>
                  <a:lnTo>
                    <a:pt x="2404" y="17"/>
                  </a:lnTo>
                  <a:lnTo>
                    <a:pt x="2396" y="9"/>
                  </a:lnTo>
                  <a:lnTo>
                    <a:pt x="2389" y="4"/>
                  </a:lnTo>
                  <a:lnTo>
                    <a:pt x="2382" y="0"/>
                  </a:lnTo>
                  <a:lnTo>
                    <a:pt x="2279" y="593"/>
                  </a:lnTo>
                  <a:lnTo>
                    <a:pt x="2548" y="712"/>
                  </a:lnTo>
                  <a:lnTo>
                    <a:pt x="2548" y="712"/>
                  </a:lnTo>
                  <a:lnTo>
                    <a:pt x="2572" y="693"/>
                  </a:lnTo>
                  <a:lnTo>
                    <a:pt x="2594" y="677"/>
                  </a:lnTo>
                  <a:lnTo>
                    <a:pt x="2615" y="665"/>
                  </a:lnTo>
                  <a:lnTo>
                    <a:pt x="2633" y="656"/>
                  </a:lnTo>
                  <a:lnTo>
                    <a:pt x="2633" y="656"/>
                  </a:lnTo>
                  <a:lnTo>
                    <a:pt x="2646" y="650"/>
                  </a:lnTo>
                  <a:lnTo>
                    <a:pt x="2661" y="646"/>
                  </a:lnTo>
                  <a:lnTo>
                    <a:pt x="2675" y="642"/>
                  </a:lnTo>
                  <a:lnTo>
                    <a:pt x="2688" y="639"/>
                  </a:lnTo>
                  <a:lnTo>
                    <a:pt x="2702" y="637"/>
                  </a:lnTo>
                  <a:lnTo>
                    <a:pt x="2716" y="636"/>
                  </a:lnTo>
                  <a:lnTo>
                    <a:pt x="2729" y="635"/>
                  </a:lnTo>
                  <a:lnTo>
                    <a:pt x="2743" y="635"/>
                  </a:lnTo>
                  <a:lnTo>
                    <a:pt x="2757" y="636"/>
                  </a:lnTo>
                  <a:lnTo>
                    <a:pt x="2770" y="638"/>
                  </a:lnTo>
                  <a:lnTo>
                    <a:pt x="2783" y="640"/>
                  </a:lnTo>
                  <a:lnTo>
                    <a:pt x="2796" y="643"/>
                  </a:lnTo>
                  <a:lnTo>
                    <a:pt x="2821" y="650"/>
                  </a:lnTo>
                  <a:lnTo>
                    <a:pt x="2845" y="658"/>
                  </a:lnTo>
                  <a:lnTo>
                    <a:pt x="2845" y="658"/>
                  </a:lnTo>
                  <a:lnTo>
                    <a:pt x="2861" y="667"/>
                  </a:lnTo>
                  <a:lnTo>
                    <a:pt x="2875" y="675"/>
                  </a:lnTo>
                  <a:lnTo>
                    <a:pt x="2889" y="683"/>
                  </a:lnTo>
                  <a:lnTo>
                    <a:pt x="2900" y="691"/>
                  </a:lnTo>
                  <a:lnTo>
                    <a:pt x="2910" y="699"/>
                  </a:lnTo>
                  <a:lnTo>
                    <a:pt x="2918" y="709"/>
                  </a:lnTo>
                  <a:lnTo>
                    <a:pt x="2925" y="717"/>
                  </a:lnTo>
                  <a:lnTo>
                    <a:pt x="2932" y="726"/>
                  </a:lnTo>
                  <a:lnTo>
                    <a:pt x="2937" y="735"/>
                  </a:lnTo>
                  <a:lnTo>
                    <a:pt x="2941" y="743"/>
                  </a:lnTo>
                  <a:lnTo>
                    <a:pt x="2944" y="753"/>
                  </a:lnTo>
                  <a:lnTo>
                    <a:pt x="2947" y="761"/>
                  </a:lnTo>
                  <a:lnTo>
                    <a:pt x="2950" y="778"/>
                  </a:lnTo>
                  <a:lnTo>
                    <a:pt x="2952" y="793"/>
                  </a:lnTo>
                  <a:lnTo>
                    <a:pt x="2952" y="793"/>
                  </a:lnTo>
                  <a:lnTo>
                    <a:pt x="2951" y="804"/>
                  </a:lnTo>
                  <a:lnTo>
                    <a:pt x="2949" y="815"/>
                  </a:lnTo>
                  <a:lnTo>
                    <a:pt x="2946" y="827"/>
                  </a:lnTo>
                  <a:lnTo>
                    <a:pt x="2942" y="839"/>
                  </a:lnTo>
                  <a:lnTo>
                    <a:pt x="2933" y="863"/>
                  </a:lnTo>
                  <a:lnTo>
                    <a:pt x="2925" y="877"/>
                  </a:lnTo>
                  <a:lnTo>
                    <a:pt x="3120" y="962"/>
                  </a:lnTo>
                  <a:close/>
                  <a:moveTo>
                    <a:pt x="4480" y="887"/>
                  </a:moveTo>
                  <a:lnTo>
                    <a:pt x="4715" y="773"/>
                  </a:lnTo>
                  <a:lnTo>
                    <a:pt x="4477" y="674"/>
                  </a:lnTo>
                  <a:lnTo>
                    <a:pt x="4477" y="674"/>
                  </a:lnTo>
                  <a:lnTo>
                    <a:pt x="4404" y="675"/>
                  </a:lnTo>
                  <a:lnTo>
                    <a:pt x="4312" y="676"/>
                  </a:lnTo>
                  <a:lnTo>
                    <a:pt x="4201" y="675"/>
                  </a:lnTo>
                  <a:lnTo>
                    <a:pt x="4076" y="673"/>
                  </a:lnTo>
                  <a:lnTo>
                    <a:pt x="3783" y="667"/>
                  </a:lnTo>
                  <a:lnTo>
                    <a:pt x="3449" y="660"/>
                  </a:lnTo>
                  <a:lnTo>
                    <a:pt x="3252" y="916"/>
                  </a:lnTo>
                  <a:lnTo>
                    <a:pt x="3252" y="916"/>
                  </a:lnTo>
                  <a:lnTo>
                    <a:pt x="3986" y="900"/>
                  </a:lnTo>
                  <a:lnTo>
                    <a:pt x="4276" y="894"/>
                  </a:lnTo>
                  <a:lnTo>
                    <a:pt x="4480" y="887"/>
                  </a:lnTo>
                  <a:close/>
                  <a:moveTo>
                    <a:pt x="4171" y="2139"/>
                  </a:moveTo>
                  <a:lnTo>
                    <a:pt x="4171" y="2139"/>
                  </a:lnTo>
                  <a:lnTo>
                    <a:pt x="4105" y="2106"/>
                  </a:lnTo>
                  <a:lnTo>
                    <a:pt x="4042" y="2073"/>
                  </a:lnTo>
                  <a:lnTo>
                    <a:pt x="3983" y="2042"/>
                  </a:lnTo>
                  <a:lnTo>
                    <a:pt x="3954" y="2025"/>
                  </a:lnTo>
                  <a:lnTo>
                    <a:pt x="3926" y="2008"/>
                  </a:lnTo>
                  <a:lnTo>
                    <a:pt x="3900" y="1991"/>
                  </a:lnTo>
                  <a:lnTo>
                    <a:pt x="3875" y="1973"/>
                  </a:lnTo>
                  <a:lnTo>
                    <a:pt x="3852" y="1954"/>
                  </a:lnTo>
                  <a:lnTo>
                    <a:pt x="3829" y="1934"/>
                  </a:lnTo>
                  <a:lnTo>
                    <a:pt x="3809" y="1914"/>
                  </a:lnTo>
                  <a:lnTo>
                    <a:pt x="3789" y="1893"/>
                  </a:lnTo>
                  <a:lnTo>
                    <a:pt x="3772" y="1869"/>
                  </a:lnTo>
                  <a:lnTo>
                    <a:pt x="3756" y="1845"/>
                  </a:lnTo>
                  <a:lnTo>
                    <a:pt x="3756" y="1845"/>
                  </a:lnTo>
                  <a:lnTo>
                    <a:pt x="3750" y="1832"/>
                  </a:lnTo>
                  <a:lnTo>
                    <a:pt x="3743" y="1819"/>
                  </a:lnTo>
                  <a:lnTo>
                    <a:pt x="3738" y="1805"/>
                  </a:lnTo>
                  <a:lnTo>
                    <a:pt x="3733" y="1790"/>
                  </a:lnTo>
                  <a:lnTo>
                    <a:pt x="3729" y="1775"/>
                  </a:lnTo>
                  <a:lnTo>
                    <a:pt x="3726" y="1760"/>
                  </a:lnTo>
                  <a:lnTo>
                    <a:pt x="3723" y="1743"/>
                  </a:lnTo>
                  <a:lnTo>
                    <a:pt x="3721" y="1727"/>
                  </a:lnTo>
                  <a:lnTo>
                    <a:pt x="3720" y="1711"/>
                  </a:lnTo>
                  <a:lnTo>
                    <a:pt x="3719" y="1693"/>
                  </a:lnTo>
                  <a:lnTo>
                    <a:pt x="3719" y="1677"/>
                  </a:lnTo>
                  <a:lnTo>
                    <a:pt x="3720" y="1659"/>
                  </a:lnTo>
                  <a:lnTo>
                    <a:pt x="3721" y="1641"/>
                  </a:lnTo>
                  <a:lnTo>
                    <a:pt x="3724" y="1624"/>
                  </a:lnTo>
                  <a:lnTo>
                    <a:pt x="3726" y="1606"/>
                  </a:lnTo>
                  <a:lnTo>
                    <a:pt x="3730" y="1589"/>
                  </a:lnTo>
                  <a:lnTo>
                    <a:pt x="3734" y="1571"/>
                  </a:lnTo>
                  <a:lnTo>
                    <a:pt x="3740" y="1554"/>
                  </a:lnTo>
                  <a:lnTo>
                    <a:pt x="3745" y="1537"/>
                  </a:lnTo>
                  <a:lnTo>
                    <a:pt x="3753" y="1519"/>
                  </a:lnTo>
                  <a:lnTo>
                    <a:pt x="3761" y="1503"/>
                  </a:lnTo>
                  <a:lnTo>
                    <a:pt x="3769" y="1487"/>
                  </a:lnTo>
                  <a:lnTo>
                    <a:pt x="3778" y="1470"/>
                  </a:lnTo>
                  <a:lnTo>
                    <a:pt x="3788" y="1454"/>
                  </a:lnTo>
                  <a:lnTo>
                    <a:pt x="3800" y="1439"/>
                  </a:lnTo>
                  <a:lnTo>
                    <a:pt x="3812" y="1424"/>
                  </a:lnTo>
                  <a:lnTo>
                    <a:pt x="3824" y="1410"/>
                  </a:lnTo>
                  <a:lnTo>
                    <a:pt x="3839" y="1396"/>
                  </a:lnTo>
                  <a:lnTo>
                    <a:pt x="3853" y="1382"/>
                  </a:lnTo>
                  <a:lnTo>
                    <a:pt x="3868" y="1370"/>
                  </a:lnTo>
                  <a:lnTo>
                    <a:pt x="3885" y="1358"/>
                  </a:lnTo>
                  <a:lnTo>
                    <a:pt x="3902" y="1347"/>
                  </a:lnTo>
                  <a:lnTo>
                    <a:pt x="3902" y="1347"/>
                  </a:lnTo>
                  <a:lnTo>
                    <a:pt x="3910" y="1355"/>
                  </a:lnTo>
                  <a:lnTo>
                    <a:pt x="3917" y="1363"/>
                  </a:lnTo>
                  <a:lnTo>
                    <a:pt x="3922" y="1370"/>
                  </a:lnTo>
                  <a:lnTo>
                    <a:pt x="3927" y="1378"/>
                  </a:lnTo>
                  <a:lnTo>
                    <a:pt x="3936" y="1394"/>
                  </a:lnTo>
                  <a:lnTo>
                    <a:pt x="3941" y="1408"/>
                  </a:lnTo>
                  <a:lnTo>
                    <a:pt x="3944" y="1420"/>
                  </a:lnTo>
                  <a:lnTo>
                    <a:pt x="3946" y="1429"/>
                  </a:lnTo>
                  <a:lnTo>
                    <a:pt x="3946" y="1438"/>
                  </a:lnTo>
                  <a:lnTo>
                    <a:pt x="3946" y="1438"/>
                  </a:lnTo>
                  <a:lnTo>
                    <a:pt x="3966" y="1438"/>
                  </a:lnTo>
                  <a:lnTo>
                    <a:pt x="3991" y="1438"/>
                  </a:lnTo>
                  <a:lnTo>
                    <a:pt x="4044" y="1434"/>
                  </a:lnTo>
                  <a:lnTo>
                    <a:pt x="4098" y="1432"/>
                  </a:lnTo>
                  <a:lnTo>
                    <a:pt x="4123" y="1431"/>
                  </a:lnTo>
                  <a:lnTo>
                    <a:pt x="4143" y="1431"/>
                  </a:lnTo>
                  <a:lnTo>
                    <a:pt x="4143" y="1431"/>
                  </a:lnTo>
                  <a:lnTo>
                    <a:pt x="4144" y="1417"/>
                  </a:lnTo>
                  <a:lnTo>
                    <a:pt x="4144" y="1400"/>
                  </a:lnTo>
                  <a:lnTo>
                    <a:pt x="4143" y="1382"/>
                  </a:lnTo>
                  <a:lnTo>
                    <a:pt x="4141" y="1364"/>
                  </a:lnTo>
                  <a:lnTo>
                    <a:pt x="4138" y="1344"/>
                  </a:lnTo>
                  <a:lnTo>
                    <a:pt x="4133" y="1325"/>
                  </a:lnTo>
                  <a:lnTo>
                    <a:pt x="4126" y="1307"/>
                  </a:lnTo>
                  <a:lnTo>
                    <a:pt x="4121" y="1297"/>
                  </a:lnTo>
                  <a:lnTo>
                    <a:pt x="4116" y="1288"/>
                  </a:lnTo>
                  <a:lnTo>
                    <a:pt x="4116" y="1288"/>
                  </a:lnTo>
                  <a:lnTo>
                    <a:pt x="4134" y="1302"/>
                  </a:lnTo>
                  <a:lnTo>
                    <a:pt x="4150" y="1315"/>
                  </a:lnTo>
                  <a:lnTo>
                    <a:pt x="4165" y="1328"/>
                  </a:lnTo>
                  <a:lnTo>
                    <a:pt x="4172" y="1335"/>
                  </a:lnTo>
                  <a:lnTo>
                    <a:pt x="4178" y="1343"/>
                  </a:lnTo>
                  <a:lnTo>
                    <a:pt x="4184" y="1352"/>
                  </a:lnTo>
                  <a:lnTo>
                    <a:pt x="4189" y="1361"/>
                  </a:lnTo>
                  <a:lnTo>
                    <a:pt x="4194" y="1370"/>
                  </a:lnTo>
                  <a:lnTo>
                    <a:pt x="4198" y="1380"/>
                  </a:lnTo>
                  <a:lnTo>
                    <a:pt x="4203" y="1392"/>
                  </a:lnTo>
                  <a:lnTo>
                    <a:pt x="4206" y="1404"/>
                  </a:lnTo>
                  <a:lnTo>
                    <a:pt x="4209" y="1417"/>
                  </a:lnTo>
                  <a:lnTo>
                    <a:pt x="4212" y="1431"/>
                  </a:lnTo>
                  <a:lnTo>
                    <a:pt x="4212" y="1431"/>
                  </a:lnTo>
                  <a:lnTo>
                    <a:pt x="4390" y="1438"/>
                  </a:lnTo>
                  <a:lnTo>
                    <a:pt x="4390" y="1438"/>
                  </a:lnTo>
                  <a:lnTo>
                    <a:pt x="4390" y="1421"/>
                  </a:lnTo>
                  <a:lnTo>
                    <a:pt x="4389" y="1406"/>
                  </a:lnTo>
                  <a:lnTo>
                    <a:pt x="4386" y="1391"/>
                  </a:lnTo>
                  <a:lnTo>
                    <a:pt x="4381" y="1376"/>
                  </a:lnTo>
                  <a:lnTo>
                    <a:pt x="4376" y="1363"/>
                  </a:lnTo>
                  <a:lnTo>
                    <a:pt x="4370" y="1350"/>
                  </a:lnTo>
                  <a:lnTo>
                    <a:pt x="4362" y="1338"/>
                  </a:lnTo>
                  <a:lnTo>
                    <a:pt x="4353" y="1326"/>
                  </a:lnTo>
                  <a:lnTo>
                    <a:pt x="4353" y="1326"/>
                  </a:lnTo>
                  <a:lnTo>
                    <a:pt x="4370" y="1334"/>
                  </a:lnTo>
                  <a:lnTo>
                    <a:pt x="4388" y="1342"/>
                  </a:lnTo>
                  <a:lnTo>
                    <a:pt x="4403" y="1352"/>
                  </a:lnTo>
                  <a:lnTo>
                    <a:pt x="4418" y="1361"/>
                  </a:lnTo>
                  <a:lnTo>
                    <a:pt x="4433" y="1371"/>
                  </a:lnTo>
                  <a:lnTo>
                    <a:pt x="4447" y="1381"/>
                  </a:lnTo>
                  <a:lnTo>
                    <a:pt x="4459" y="1392"/>
                  </a:lnTo>
                  <a:lnTo>
                    <a:pt x="4471" y="1403"/>
                  </a:lnTo>
                  <a:lnTo>
                    <a:pt x="4483" y="1414"/>
                  </a:lnTo>
                  <a:lnTo>
                    <a:pt x="4494" y="1426"/>
                  </a:lnTo>
                  <a:lnTo>
                    <a:pt x="4504" y="1439"/>
                  </a:lnTo>
                  <a:lnTo>
                    <a:pt x="4513" y="1451"/>
                  </a:lnTo>
                  <a:lnTo>
                    <a:pt x="4522" y="1463"/>
                  </a:lnTo>
                  <a:lnTo>
                    <a:pt x="4530" y="1475"/>
                  </a:lnTo>
                  <a:lnTo>
                    <a:pt x="4544" y="1501"/>
                  </a:lnTo>
                  <a:lnTo>
                    <a:pt x="4556" y="1526"/>
                  </a:lnTo>
                  <a:lnTo>
                    <a:pt x="4567" y="1551"/>
                  </a:lnTo>
                  <a:lnTo>
                    <a:pt x="4574" y="1577"/>
                  </a:lnTo>
                  <a:lnTo>
                    <a:pt x="4580" y="1600"/>
                  </a:lnTo>
                  <a:lnTo>
                    <a:pt x="4584" y="1624"/>
                  </a:lnTo>
                  <a:lnTo>
                    <a:pt x="4587" y="1646"/>
                  </a:lnTo>
                  <a:lnTo>
                    <a:pt x="4588" y="1667"/>
                  </a:lnTo>
                  <a:lnTo>
                    <a:pt x="4588" y="1685"/>
                  </a:lnTo>
                  <a:lnTo>
                    <a:pt x="4588" y="1685"/>
                  </a:lnTo>
                  <a:lnTo>
                    <a:pt x="4588" y="1711"/>
                  </a:lnTo>
                  <a:lnTo>
                    <a:pt x="4587" y="1737"/>
                  </a:lnTo>
                  <a:lnTo>
                    <a:pt x="4583" y="1762"/>
                  </a:lnTo>
                  <a:lnTo>
                    <a:pt x="4578" y="1787"/>
                  </a:lnTo>
                  <a:lnTo>
                    <a:pt x="4571" y="1811"/>
                  </a:lnTo>
                  <a:lnTo>
                    <a:pt x="4562" y="1834"/>
                  </a:lnTo>
                  <a:lnTo>
                    <a:pt x="4553" y="1857"/>
                  </a:lnTo>
                  <a:lnTo>
                    <a:pt x="4542" y="1878"/>
                  </a:lnTo>
                  <a:lnTo>
                    <a:pt x="4530" y="1900"/>
                  </a:lnTo>
                  <a:lnTo>
                    <a:pt x="4515" y="1919"/>
                  </a:lnTo>
                  <a:lnTo>
                    <a:pt x="4501" y="1939"/>
                  </a:lnTo>
                  <a:lnTo>
                    <a:pt x="4485" y="1956"/>
                  </a:lnTo>
                  <a:lnTo>
                    <a:pt x="4468" y="1972"/>
                  </a:lnTo>
                  <a:lnTo>
                    <a:pt x="4450" y="1988"/>
                  </a:lnTo>
                  <a:lnTo>
                    <a:pt x="4432" y="2002"/>
                  </a:lnTo>
                  <a:lnTo>
                    <a:pt x="4412" y="2015"/>
                  </a:lnTo>
                  <a:lnTo>
                    <a:pt x="4412" y="2015"/>
                  </a:lnTo>
                  <a:lnTo>
                    <a:pt x="4377" y="2036"/>
                  </a:lnTo>
                  <a:lnTo>
                    <a:pt x="4345" y="2054"/>
                  </a:lnTo>
                  <a:lnTo>
                    <a:pt x="4313" y="2071"/>
                  </a:lnTo>
                  <a:lnTo>
                    <a:pt x="4282" y="2087"/>
                  </a:lnTo>
                  <a:lnTo>
                    <a:pt x="4225" y="2114"/>
                  </a:lnTo>
                  <a:lnTo>
                    <a:pt x="4171" y="2139"/>
                  </a:lnTo>
                  <a:close/>
                  <a:moveTo>
                    <a:pt x="3989" y="3389"/>
                  </a:moveTo>
                  <a:lnTo>
                    <a:pt x="3989" y="3389"/>
                  </a:lnTo>
                  <a:lnTo>
                    <a:pt x="3970" y="3382"/>
                  </a:lnTo>
                  <a:lnTo>
                    <a:pt x="3970" y="3382"/>
                  </a:lnTo>
                  <a:lnTo>
                    <a:pt x="3967" y="3380"/>
                  </a:lnTo>
                  <a:lnTo>
                    <a:pt x="3967" y="3380"/>
                  </a:lnTo>
                  <a:lnTo>
                    <a:pt x="3989" y="3389"/>
                  </a:lnTo>
                  <a:close/>
                  <a:moveTo>
                    <a:pt x="2262" y="1056"/>
                  </a:moveTo>
                  <a:lnTo>
                    <a:pt x="2262" y="1056"/>
                  </a:lnTo>
                  <a:lnTo>
                    <a:pt x="2262" y="1057"/>
                  </a:lnTo>
                  <a:lnTo>
                    <a:pt x="2261" y="1059"/>
                  </a:lnTo>
                  <a:lnTo>
                    <a:pt x="2257" y="1061"/>
                  </a:lnTo>
                  <a:lnTo>
                    <a:pt x="2251" y="1064"/>
                  </a:lnTo>
                  <a:lnTo>
                    <a:pt x="2241" y="1066"/>
                  </a:lnTo>
                  <a:lnTo>
                    <a:pt x="2219" y="1072"/>
                  </a:lnTo>
                  <a:lnTo>
                    <a:pt x="2191" y="1077"/>
                  </a:lnTo>
                  <a:lnTo>
                    <a:pt x="2164" y="1081"/>
                  </a:lnTo>
                  <a:lnTo>
                    <a:pt x="2138" y="1083"/>
                  </a:lnTo>
                  <a:lnTo>
                    <a:pt x="2120" y="1083"/>
                  </a:lnTo>
                  <a:lnTo>
                    <a:pt x="2113" y="1082"/>
                  </a:lnTo>
                  <a:lnTo>
                    <a:pt x="2109" y="1081"/>
                  </a:lnTo>
                  <a:lnTo>
                    <a:pt x="2109" y="1081"/>
                  </a:lnTo>
                  <a:lnTo>
                    <a:pt x="2106" y="1079"/>
                  </a:lnTo>
                  <a:lnTo>
                    <a:pt x="2104" y="1075"/>
                  </a:lnTo>
                  <a:lnTo>
                    <a:pt x="2101" y="1064"/>
                  </a:lnTo>
                  <a:lnTo>
                    <a:pt x="2098" y="1052"/>
                  </a:lnTo>
                  <a:lnTo>
                    <a:pt x="2096" y="1038"/>
                  </a:lnTo>
                  <a:lnTo>
                    <a:pt x="2096" y="1023"/>
                  </a:lnTo>
                  <a:lnTo>
                    <a:pt x="2096" y="1010"/>
                  </a:lnTo>
                  <a:lnTo>
                    <a:pt x="2097" y="1000"/>
                  </a:lnTo>
                  <a:lnTo>
                    <a:pt x="2098" y="995"/>
                  </a:lnTo>
                  <a:lnTo>
                    <a:pt x="2100" y="992"/>
                  </a:lnTo>
                  <a:lnTo>
                    <a:pt x="2100" y="992"/>
                  </a:lnTo>
                  <a:lnTo>
                    <a:pt x="2101" y="991"/>
                  </a:lnTo>
                  <a:lnTo>
                    <a:pt x="2103" y="989"/>
                  </a:lnTo>
                  <a:lnTo>
                    <a:pt x="2109" y="988"/>
                  </a:lnTo>
                  <a:lnTo>
                    <a:pt x="2118" y="987"/>
                  </a:lnTo>
                  <a:lnTo>
                    <a:pt x="2128" y="987"/>
                  </a:lnTo>
                  <a:lnTo>
                    <a:pt x="2139" y="988"/>
                  </a:lnTo>
                  <a:lnTo>
                    <a:pt x="2151" y="990"/>
                  </a:lnTo>
                  <a:lnTo>
                    <a:pt x="2165" y="993"/>
                  </a:lnTo>
                  <a:lnTo>
                    <a:pt x="2179" y="997"/>
                  </a:lnTo>
                  <a:lnTo>
                    <a:pt x="2192" y="1002"/>
                  </a:lnTo>
                  <a:lnTo>
                    <a:pt x="2206" y="1007"/>
                  </a:lnTo>
                  <a:lnTo>
                    <a:pt x="2219" y="1014"/>
                  </a:lnTo>
                  <a:lnTo>
                    <a:pt x="2231" y="1021"/>
                  </a:lnTo>
                  <a:lnTo>
                    <a:pt x="2241" y="1029"/>
                  </a:lnTo>
                  <a:lnTo>
                    <a:pt x="2251" y="1038"/>
                  </a:lnTo>
                  <a:lnTo>
                    <a:pt x="2258" y="1047"/>
                  </a:lnTo>
                  <a:lnTo>
                    <a:pt x="2260" y="1051"/>
                  </a:lnTo>
                  <a:lnTo>
                    <a:pt x="2262" y="1056"/>
                  </a:lnTo>
                  <a:close/>
                  <a:moveTo>
                    <a:pt x="4842" y="2915"/>
                  </a:moveTo>
                  <a:lnTo>
                    <a:pt x="4842" y="2915"/>
                  </a:lnTo>
                  <a:lnTo>
                    <a:pt x="4862" y="2919"/>
                  </a:lnTo>
                  <a:lnTo>
                    <a:pt x="4881" y="2921"/>
                  </a:lnTo>
                  <a:lnTo>
                    <a:pt x="4900" y="2922"/>
                  </a:lnTo>
                  <a:lnTo>
                    <a:pt x="4916" y="2921"/>
                  </a:lnTo>
                  <a:lnTo>
                    <a:pt x="4932" y="2919"/>
                  </a:lnTo>
                  <a:lnTo>
                    <a:pt x="4946" y="2916"/>
                  </a:lnTo>
                  <a:lnTo>
                    <a:pt x="4958" y="2911"/>
                  </a:lnTo>
                  <a:lnTo>
                    <a:pt x="4969" y="2905"/>
                  </a:lnTo>
                  <a:lnTo>
                    <a:pt x="4969" y="2905"/>
                  </a:lnTo>
                  <a:lnTo>
                    <a:pt x="4967" y="2879"/>
                  </a:lnTo>
                  <a:lnTo>
                    <a:pt x="4960" y="2819"/>
                  </a:lnTo>
                  <a:lnTo>
                    <a:pt x="4951" y="2746"/>
                  </a:lnTo>
                  <a:lnTo>
                    <a:pt x="4946" y="2714"/>
                  </a:lnTo>
                  <a:lnTo>
                    <a:pt x="4940" y="2686"/>
                  </a:lnTo>
                  <a:lnTo>
                    <a:pt x="4940" y="2686"/>
                  </a:lnTo>
                  <a:lnTo>
                    <a:pt x="4922" y="2689"/>
                  </a:lnTo>
                  <a:lnTo>
                    <a:pt x="4902" y="2692"/>
                  </a:lnTo>
                  <a:lnTo>
                    <a:pt x="4891" y="2692"/>
                  </a:lnTo>
                  <a:lnTo>
                    <a:pt x="4879" y="2692"/>
                  </a:lnTo>
                  <a:lnTo>
                    <a:pt x="4867" y="2691"/>
                  </a:lnTo>
                  <a:lnTo>
                    <a:pt x="4855" y="2689"/>
                  </a:lnTo>
                  <a:lnTo>
                    <a:pt x="4843" y="2686"/>
                  </a:lnTo>
                  <a:lnTo>
                    <a:pt x="4830" y="2682"/>
                  </a:lnTo>
                  <a:lnTo>
                    <a:pt x="4818" y="2677"/>
                  </a:lnTo>
                  <a:lnTo>
                    <a:pt x="4806" y="2670"/>
                  </a:lnTo>
                  <a:lnTo>
                    <a:pt x="4794" y="2660"/>
                  </a:lnTo>
                  <a:lnTo>
                    <a:pt x="4782" y="2650"/>
                  </a:lnTo>
                  <a:lnTo>
                    <a:pt x="4771" y="2638"/>
                  </a:lnTo>
                  <a:lnTo>
                    <a:pt x="4761" y="2624"/>
                  </a:lnTo>
                  <a:lnTo>
                    <a:pt x="4761" y="2624"/>
                  </a:lnTo>
                  <a:lnTo>
                    <a:pt x="4743" y="2595"/>
                  </a:lnTo>
                  <a:lnTo>
                    <a:pt x="4724" y="2567"/>
                  </a:lnTo>
                  <a:lnTo>
                    <a:pt x="4724" y="2567"/>
                  </a:lnTo>
                  <a:lnTo>
                    <a:pt x="4703" y="2539"/>
                  </a:lnTo>
                  <a:lnTo>
                    <a:pt x="4680" y="2511"/>
                  </a:lnTo>
                  <a:lnTo>
                    <a:pt x="4658" y="2485"/>
                  </a:lnTo>
                  <a:lnTo>
                    <a:pt x="4634" y="2459"/>
                  </a:lnTo>
                  <a:lnTo>
                    <a:pt x="4611" y="2435"/>
                  </a:lnTo>
                  <a:lnTo>
                    <a:pt x="4586" y="2412"/>
                  </a:lnTo>
                  <a:lnTo>
                    <a:pt x="4562" y="2389"/>
                  </a:lnTo>
                  <a:lnTo>
                    <a:pt x="4538" y="2369"/>
                  </a:lnTo>
                  <a:lnTo>
                    <a:pt x="4513" y="2349"/>
                  </a:lnTo>
                  <a:lnTo>
                    <a:pt x="4489" y="2329"/>
                  </a:lnTo>
                  <a:lnTo>
                    <a:pt x="4463" y="2311"/>
                  </a:lnTo>
                  <a:lnTo>
                    <a:pt x="4439" y="2292"/>
                  </a:lnTo>
                  <a:lnTo>
                    <a:pt x="4413" y="2276"/>
                  </a:lnTo>
                  <a:lnTo>
                    <a:pt x="4389" y="2260"/>
                  </a:lnTo>
                  <a:lnTo>
                    <a:pt x="4337" y="2228"/>
                  </a:lnTo>
                  <a:lnTo>
                    <a:pt x="4337" y="2228"/>
                  </a:lnTo>
                  <a:lnTo>
                    <a:pt x="4381" y="2205"/>
                  </a:lnTo>
                  <a:lnTo>
                    <a:pt x="4422" y="2183"/>
                  </a:lnTo>
                  <a:lnTo>
                    <a:pt x="4459" y="2160"/>
                  </a:lnTo>
                  <a:lnTo>
                    <a:pt x="4492" y="2139"/>
                  </a:lnTo>
                  <a:lnTo>
                    <a:pt x="4523" y="2117"/>
                  </a:lnTo>
                  <a:lnTo>
                    <a:pt x="4549" y="2096"/>
                  </a:lnTo>
                  <a:lnTo>
                    <a:pt x="4574" y="2076"/>
                  </a:lnTo>
                  <a:lnTo>
                    <a:pt x="4595" y="2055"/>
                  </a:lnTo>
                  <a:lnTo>
                    <a:pt x="4615" y="2036"/>
                  </a:lnTo>
                  <a:lnTo>
                    <a:pt x="4632" y="2017"/>
                  </a:lnTo>
                  <a:lnTo>
                    <a:pt x="4647" y="1999"/>
                  </a:lnTo>
                  <a:lnTo>
                    <a:pt x="4661" y="1981"/>
                  </a:lnTo>
                  <a:lnTo>
                    <a:pt x="4673" y="1965"/>
                  </a:lnTo>
                  <a:lnTo>
                    <a:pt x="4683" y="1950"/>
                  </a:lnTo>
                  <a:lnTo>
                    <a:pt x="4700" y="1922"/>
                  </a:lnTo>
                  <a:lnTo>
                    <a:pt x="4700" y="1922"/>
                  </a:lnTo>
                  <a:lnTo>
                    <a:pt x="4708" y="1910"/>
                  </a:lnTo>
                  <a:lnTo>
                    <a:pt x="4714" y="1896"/>
                  </a:lnTo>
                  <a:lnTo>
                    <a:pt x="4721" y="1880"/>
                  </a:lnTo>
                  <a:lnTo>
                    <a:pt x="4727" y="1864"/>
                  </a:lnTo>
                  <a:lnTo>
                    <a:pt x="4733" y="1845"/>
                  </a:lnTo>
                  <a:lnTo>
                    <a:pt x="4739" y="1826"/>
                  </a:lnTo>
                  <a:lnTo>
                    <a:pt x="4743" y="1806"/>
                  </a:lnTo>
                  <a:lnTo>
                    <a:pt x="4749" y="1785"/>
                  </a:lnTo>
                  <a:lnTo>
                    <a:pt x="4753" y="1763"/>
                  </a:lnTo>
                  <a:lnTo>
                    <a:pt x="4756" y="1740"/>
                  </a:lnTo>
                  <a:lnTo>
                    <a:pt x="4758" y="1716"/>
                  </a:lnTo>
                  <a:lnTo>
                    <a:pt x="4759" y="1692"/>
                  </a:lnTo>
                  <a:lnTo>
                    <a:pt x="4760" y="1667"/>
                  </a:lnTo>
                  <a:lnTo>
                    <a:pt x="4759" y="1642"/>
                  </a:lnTo>
                  <a:lnTo>
                    <a:pt x="4758" y="1616"/>
                  </a:lnTo>
                  <a:lnTo>
                    <a:pt x="4755" y="1590"/>
                  </a:lnTo>
                  <a:lnTo>
                    <a:pt x="4751" y="1564"/>
                  </a:lnTo>
                  <a:lnTo>
                    <a:pt x="4745" y="1538"/>
                  </a:lnTo>
                  <a:lnTo>
                    <a:pt x="4738" y="1511"/>
                  </a:lnTo>
                  <a:lnTo>
                    <a:pt x="4730" y="1486"/>
                  </a:lnTo>
                  <a:lnTo>
                    <a:pt x="4720" y="1459"/>
                  </a:lnTo>
                  <a:lnTo>
                    <a:pt x="4709" y="1433"/>
                  </a:lnTo>
                  <a:lnTo>
                    <a:pt x="4695" y="1408"/>
                  </a:lnTo>
                  <a:lnTo>
                    <a:pt x="4681" y="1383"/>
                  </a:lnTo>
                  <a:lnTo>
                    <a:pt x="4665" y="1359"/>
                  </a:lnTo>
                  <a:lnTo>
                    <a:pt x="4646" y="1334"/>
                  </a:lnTo>
                  <a:lnTo>
                    <a:pt x="4625" y="1311"/>
                  </a:lnTo>
                  <a:lnTo>
                    <a:pt x="4602" y="1288"/>
                  </a:lnTo>
                  <a:lnTo>
                    <a:pt x="4578" y="1267"/>
                  </a:lnTo>
                  <a:lnTo>
                    <a:pt x="4551" y="1246"/>
                  </a:lnTo>
                  <a:lnTo>
                    <a:pt x="4522" y="1227"/>
                  </a:lnTo>
                  <a:lnTo>
                    <a:pt x="4490" y="1207"/>
                  </a:lnTo>
                  <a:lnTo>
                    <a:pt x="4490" y="1207"/>
                  </a:lnTo>
                  <a:lnTo>
                    <a:pt x="4466" y="1195"/>
                  </a:lnTo>
                  <a:lnTo>
                    <a:pt x="4443" y="1184"/>
                  </a:lnTo>
                  <a:lnTo>
                    <a:pt x="4419" y="1174"/>
                  </a:lnTo>
                  <a:lnTo>
                    <a:pt x="4396" y="1165"/>
                  </a:lnTo>
                  <a:lnTo>
                    <a:pt x="4372" y="1156"/>
                  </a:lnTo>
                  <a:lnTo>
                    <a:pt x="4348" y="1149"/>
                  </a:lnTo>
                  <a:lnTo>
                    <a:pt x="4325" y="1143"/>
                  </a:lnTo>
                  <a:lnTo>
                    <a:pt x="4302" y="1138"/>
                  </a:lnTo>
                  <a:lnTo>
                    <a:pt x="4278" y="1133"/>
                  </a:lnTo>
                  <a:lnTo>
                    <a:pt x="4256" y="1130"/>
                  </a:lnTo>
                  <a:lnTo>
                    <a:pt x="4233" y="1127"/>
                  </a:lnTo>
                  <a:lnTo>
                    <a:pt x="4211" y="1125"/>
                  </a:lnTo>
                  <a:lnTo>
                    <a:pt x="4188" y="1123"/>
                  </a:lnTo>
                  <a:lnTo>
                    <a:pt x="4167" y="1123"/>
                  </a:lnTo>
                  <a:lnTo>
                    <a:pt x="4145" y="1123"/>
                  </a:lnTo>
                  <a:lnTo>
                    <a:pt x="4124" y="1123"/>
                  </a:lnTo>
                  <a:lnTo>
                    <a:pt x="4083" y="1126"/>
                  </a:lnTo>
                  <a:lnTo>
                    <a:pt x="4044" y="1130"/>
                  </a:lnTo>
                  <a:lnTo>
                    <a:pt x="4007" y="1136"/>
                  </a:lnTo>
                  <a:lnTo>
                    <a:pt x="3973" y="1144"/>
                  </a:lnTo>
                  <a:lnTo>
                    <a:pt x="3941" y="1152"/>
                  </a:lnTo>
                  <a:lnTo>
                    <a:pt x="3912" y="1161"/>
                  </a:lnTo>
                  <a:lnTo>
                    <a:pt x="3887" y="1172"/>
                  </a:lnTo>
                  <a:lnTo>
                    <a:pt x="3864" y="1181"/>
                  </a:lnTo>
                  <a:lnTo>
                    <a:pt x="3864" y="1181"/>
                  </a:lnTo>
                  <a:lnTo>
                    <a:pt x="3844" y="1191"/>
                  </a:lnTo>
                  <a:lnTo>
                    <a:pt x="3824" y="1201"/>
                  </a:lnTo>
                  <a:lnTo>
                    <a:pt x="3806" y="1213"/>
                  </a:lnTo>
                  <a:lnTo>
                    <a:pt x="3787" y="1224"/>
                  </a:lnTo>
                  <a:lnTo>
                    <a:pt x="3769" y="1237"/>
                  </a:lnTo>
                  <a:lnTo>
                    <a:pt x="3752" y="1249"/>
                  </a:lnTo>
                  <a:lnTo>
                    <a:pt x="3735" y="1264"/>
                  </a:lnTo>
                  <a:lnTo>
                    <a:pt x="3719" y="1278"/>
                  </a:lnTo>
                  <a:lnTo>
                    <a:pt x="3703" y="1293"/>
                  </a:lnTo>
                  <a:lnTo>
                    <a:pt x="3687" y="1309"/>
                  </a:lnTo>
                  <a:lnTo>
                    <a:pt x="3673" y="1325"/>
                  </a:lnTo>
                  <a:lnTo>
                    <a:pt x="3659" y="1341"/>
                  </a:lnTo>
                  <a:lnTo>
                    <a:pt x="3645" y="1359"/>
                  </a:lnTo>
                  <a:lnTo>
                    <a:pt x="3633" y="1377"/>
                  </a:lnTo>
                  <a:lnTo>
                    <a:pt x="3621" y="1396"/>
                  </a:lnTo>
                  <a:lnTo>
                    <a:pt x="3609" y="1415"/>
                  </a:lnTo>
                  <a:lnTo>
                    <a:pt x="3599" y="1434"/>
                  </a:lnTo>
                  <a:lnTo>
                    <a:pt x="3589" y="1455"/>
                  </a:lnTo>
                  <a:lnTo>
                    <a:pt x="3581" y="1475"/>
                  </a:lnTo>
                  <a:lnTo>
                    <a:pt x="3573" y="1497"/>
                  </a:lnTo>
                  <a:lnTo>
                    <a:pt x="3565" y="1518"/>
                  </a:lnTo>
                  <a:lnTo>
                    <a:pt x="3559" y="1541"/>
                  </a:lnTo>
                  <a:lnTo>
                    <a:pt x="3554" y="1563"/>
                  </a:lnTo>
                  <a:lnTo>
                    <a:pt x="3550" y="1586"/>
                  </a:lnTo>
                  <a:lnTo>
                    <a:pt x="3547" y="1609"/>
                  </a:lnTo>
                  <a:lnTo>
                    <a:pt x="3545" y="1634"/>
                  </a:lnTo>
                  <a:lnTo>
                    <a:pt x="3544" y="1658"/>
                  </a:lnTo>
                  <a:lnTo>
                    <a:pt x="3543" y="1683"/>
                  </a:lnTo>
                  <a:lnTo>
                    <a:pt x="3544" y="1708"/>
                  </a:lnTo>
                  <a:lnTo>
                    <a:pt x="3546" y="1734"/>
                  </a:lnTo>
                  <a:lnTo>
                    <a:pt x="3550" y="1760"/>
                  </a:lnTo>
                  <a:lnTo>
                    <a:pt x="3554" y="1786"/>
                  </a:lnTo>
                  <a:lnTo>
                    <a:pt x="3554" y="1786"/>
                  </a:lnTo>
                  <a:lnTo>
                    <a:pt x="3559" y="1810"/>
                  </a:lnTo>
                  <a:lnTo>
                    <a:pt x="3564" y="1831"/>
                  </a:lnTo>
                  <a:lnTo>
                    <a:pt x="3571" y="1853"/>
                  </a:lnTo>
                  <a:lnTo>
                    <a:pt x="3577" y="1873"/>
                  </a:lnTo>
                  <a:lnTo>
                    <a:pt x="3585" y="1893"/>
                  </a:lnTo>
                  <a:lnTo>
                    <a:pt x="3592" y="1911"/>
                  </a:lnTo>
                  <a:lnTo>
                    <a:pt x="3601" y="1929"/>
                  </a:lnTo>
                  <a:lnTo>
                    <a:pt x="3610" y="1947"/>
                  </a:lnTo>
                  <a:lnTo>
                    <a:pt x="3620" y="1963"/>
                  </a:lnTo>
                  <a:lnTo>
                    <a:pt x="3631" y="1978"/>
                  </a:lnTo>
                  <a:lnTo>
                    <a:pt x="3641" y="1994"/>
                  </a:lnTo>
                  <a:lnTo>
                    <a:pt x="3652" y="2009"/>
                  </a:lnTo>
                  <a:lnTo>
                    <a:pt x="3665" y="2023"/>
                  </a:lnTo>
                  <a:lnTo>
                    <a:pt x="3677" y="2037"/>
                  </a:lnTo>
                  <a:lnTo>
                    <a:pt x="3690" y="2050"/>
                  </a:lnTo>
                  <a:lnTo>
                    <a:pt x="3704" y="2062"/>
                  </a:lnTo>
                  <a:lnTo>
                    <a:pt x="3732" y="2087"/>
                  </a:lnTo>
                  <a:lnTo>
                    <a:pt x="3763" y="2109"/>
                  </a:lnTo>
                  <a:lnTo>
                    <a:pt x="3795" y="2131"/>
                  </a:lnTo>
                  <a:lnTo>
                    <a:pt x="3828" y="2151"/>
                  </a:lnTo>
                  <a:lnTo>
                    <a:pt x="3863" y="2172"/>
                  </a:lnTo>
                  <a:lnTo>
                    <a:pt x="3899" y="2191"/>
                  </a:lnTo>
                  <a:lnTo>
                    <a:pt x="3976" y="2229"/>
                  </a:lnTo>
                  <a:lnTo>
                    <a:pt x="3976" y="2229"/>
                  </a:lnTo>
                  <a:lnTo>
                    <a:pt x="3945" y="2246"/>
                  </a:lnTo>
                  <a:lnTo>
                    <a:pt x="3916" y="2263"/>
                  </a:lnTo>
                  <a:lnTo>
                    <a:pt x="3890" y="2280"/>
                  </a:lnTo>
                  <a:lnTo>
                    <a:pt x="3864" y="2298"/>
                  </a:lnTo>
                  <a:lnTo>
                    <a:pt x="3840" y="2318"/>
                  </a:lnTo>
                  <a:lnTo>
                    <a:pt x="3817" y="2337"/>
                  </a:lnTo>
                  <a:lnTo>
                    <a:pt x="3797" y="2358"/>
                  </a:lnTo>
                  <a:lnTo>
                    <a:pt x="3778" y="2379"/>
                  </a:lnTo>
                  <a:lnTo>
                    <a:pt x="3761" y="2403"/>
                  </a:lnTo>
                  <a:lnTo>
                    <a:pt x="3754" y="2415"/>
                  </a:lnTo>
                  <a:lnTo>
                    <a:pt x="3746" y="2427"/>
                  </a:lnTo>
                  <a:lnTo>
                    <a:pt x="3739" y="2440"/>
                  </a:lnTo>
                  <a:lnTo>
                    <a:pt x="3733" y="2453"/>
                  </a:lnTo>
                  <a:lnTo>
                    <a:pt x="3728" y="2466"/>
                  </a:lnTo>
                  <a:lnTo>
                    <a:pt x="3723" y="2480"/>
                  </a:lnTo>
                  <a:lnTo>
                    <a:pt x="3718" y="2495"/>
                  </a:lnTo>
                  <a:lnTo>
                    <a:pt x="3714" y="2510"/>
                  </a:lnTo>
                  <a:lnTo>
                    <a:pt x="3711" y="2525"/>
                  </a:lnTo>
                  <a:lnTo>
                    <a:pt x="3708" y="2541"/>
                  </a:lnTo>
                  <a:lnTo>
                    <a:pt x="3706" y="2557"/>
                  </a:lnTo>
                  <a:lnTo>
                    <a:pt x="3705" y="2574"/>
                  </a:lnTo>
                  <a:lnTo>
                    <a:pt x="3704" y="2592"/>
                  </a:lnTo>
                  <a:lnTo>
                    <a:pt x="3703" y="2609"/>
                  </a:lnTo>
                  <a:lnTo>
                    <a:pt x="3703" y="2609"/>
                  </a:lnTo>
                  <a:lnTo>
                    <a:pt x="3704" y="2632"/>
                  </a:lnTo>
                  <a:lnTo>
                    <a:pt x="3707" y="2655"/>
                  </a:lnTo>
                  <a:lnTo>
                    <a:pt x="3711" y="2678"/>
                  </a:lnTo>
                  <a:lnTo>
                    <a:pt x="3716" y="2701"/>
                  </a:lnTo>
                  <a:lnTo>
                    <a:pt x="3729" y="2749"/>
                  </a:lnTo>
                  <a:lnTo>
                    <a:pt x="3736" y="2775"/>
                  </a:lnTo>
                  <a:lnTo>
                    <a:pt x="3742" y="2801"/>
                  </a:lnTo>
                  <a:lnTo>
                    <a:pt x="3749" y="2830"/>
                  </a:lnTo>
                  <a:lnTo>
                    <a:pt x="3753" y="2859"/>
                  </a:lnTo>
                  <a:lnTo>
                    <a:pt x="3757" y="2889"/>
                  </a:lnTo>
                  <a:lnTo>
                    <a:pt x="3758" y="2922"/>
                  </a:lnTo>
                  <a:lnTo>
                    <a:pt x="3758" y="2957"/>
                  </a:lnTo>
                  <a:lnTo>
                    <a:pt x="3757" y="2975"/>
                  </a:lnTo>
                  <a:lnTo>
                    <a:pt x="3755" y="2994"/>
                  </a:lnTo>
                  <a:lnTo>
                    <a:pt x="3753" y="3012"/>
                  </a:lnTo>
                  <a:lnTo>
                    <a:pt x="3750" y="3033"/>
                  </a:lnTo>
                  <a:lnTo>
                    <a:pt x="3745" y="3053"/>
                  </a:lnTo>
                  <a:lnTo>
                    <a:pt x="3741" y="3073"/>
                  </a:lnTo>
                  <a:lnTo>
                    <a:pt x="3741" y="3073"/>
                  </a:lnTo>
                  <a:lnTo>
                    <a:pt x="3741" y="3075"/>
                  </a:lnTo>
                  <a:lnTo>
                    <a:pt x="3741" y="3076"/>
                  </a:lnTo>
                  <a:lnTo>
                    <a:pt x="3743" y="3076"/>
                  </a:lnTo>
                  <a:lnTo>
                    <a:pt x="3745" y="3078"/>
                  </a:lnTo>
                  <a:lnTo>
                    <a:pt x="3753" y="3075"/>
                  </a:lnTo>
                  <a:lnTo>
                    <a:pt x="3762" y="3073"/>
                  </a:lnTo>
                  <a:lnTo>
                    <a:pt x="3785" y="3063"/>
                  </a:lnTo>
                  <a:lnTo>
                    <a:pt x="3814" y="3051"/>
                  </a:lnTo>
                  <a:lnTo>
                    <a:pt x="3842" y="3036"/>
                  </a:lnTo>
                  <a:lnTo>
                    <a:pt x="3867" y="3022"/>
                  </a:lnTo>
                  <a:lnTo>
                    <a:pt x="3886" y="3011"/>
                  </a:lnTo>
                  <a:lnTo>
                    <a:pt x="3891" y="3007"/>
                  </a:lnTo>
                  <a:lnTo>
                    <a:pt x="3894" y="3005"/>
                  </a:lnTo>
                  <a:lnTo>
                    <a:pt x="3894" y="3005"/>
                  </a:lnTo>
                  <a:lnTo>
                    <a:pt x="3903" y="2981"/>
                  </a:lnTo>
                  <a:lnTo>
                    <a:pt x="3910" y="2958"/>
                  </a:lnTo>
                  <a:lnTo>
                    <a:pt x="3916" y="2934"/>
                  </a:lnTo>
                  <a:lnTo>
                    <a:pt x="3921" y="2910"/>
                  </a:lnTo>
                  <a:lnTo>
                    <a:pt x="3925" y="2886"/>
                  </a:lnTo>
                  <a:lnTo>
                    <a:pt x="3928" y="2863"/>
                  </a:lnTo>
                  <a:lnTo>
                    <a:pt x="3930" y="2840"/>
                  </a:lnTo>
                  <a:lnTo>
                    <a:pt x="3932" y="2818"/>
                  </a:lnTo>
                  <a:lnTo>
                    <a:pt x="3932" y="2779"/>
                  </a:lnTo>
                  <a:lnTo>
                    <a:pt x="3931" y="2748"/>
                  </a:lnTo>
                  <a:lnTo>
                    <a:pt x="3928" y="2721"/>
                  </a:lnTo>
                  <a:lnTo>
                    <a:pt x="3928" y="2721"/>
                  </a:lnTo>
                  <a:lnTo>
                    <a:pt x="3939" y="2730"/>
                  </a:lnTo>
                  <a:lnTo>
                    <a:pt x="3947" y="2741"/>
                  </a:lnTo>
                  <a:lnTo>
                    <a:pt x="3954" y="2753"/>
                  </a:lnTo>
                  <a:lnTo>
                    <a:pt x="3960" y="2767"/>
                  </a:lnTo>
                  <a:lnTo>
                    <a:pt x="3964" y="2782"/>
                  </a:lnTo>
                  <a:lnTo>
                    <a:pt x="3968" y="2797"/>
                  </a:lnTo>
                  <a:lnTo>
                    <a:pt x="3971" y="2814"/>
                  </a:lnTo>
                  <a:lnTo>
                    <a:pt x="3973" y="2830"/>
                  </a:lnTo>
                  <a:lnTo>
                    <a:pt x="3975" y="2847"/>
                  </a:lnTo>
                  <a:lnTo>
                    <a:pt x="3976" y="2865"/>
                  </a:lnTo>
                  <a:lnTo>
                    <a:pt x="3976" y="2881"/>
                  </a:lnTo>
                  <a:lnTo>
                    <a:pt x="3975" y="2899"/>
                  </a:lnTo>
                  <a:lnTo>
                    <a:pt x="3971" y="2930"/>
                  </a:lnTo>
                  <a:lnTo>
                    <a:pt x="3965" y="2959"/>
                  </a:lnTo>
                  <a:lnTo>
                    <a:pt x="3965" y="2959"/>
                  </a:lnTo>
                  <a:lnTo>
                    <a:pt x="3982" y="2950"/>
                  </a:lnTo>
                  <a:lnTo>
                    <a:pt x="3998" y="2938"/>
                  </a:lnTo>
                  <a:lnTo>
                    <a:pt x="4016" y="2925"/>
                  </a:lnTo>
                  <a:lnTo>
                    <a:pt x="4036" y="2911"/>
                  </a:lnTo>
                  <a:lnTo>
                    <a:pt x="4053" y="2896"/>
                  </a:lnTo>
                  <a:lnTo>
                    <a:pt x="4061" y="2888"/>
                  </a:lnTo>
                  <a:lnTo>
                    <a:pt x="4068" y="2881"/>
                  </a:lnTo>
                  <a:lnTo>
                    <a:pt x="4072" y="2874"/>
                  </a:lnTo>
                  <a:lnTo>
                    <a:pt x="4075" y="2868"/>
                  </a:lnTo>
                  <a:lnTo>
                    <a:pt x="4075" y="2868"/>
                  </a:lnTo>
                  <a:lnTo>
                    <a:pt x="4083" y="2838"/>
                  </a:lnTo>
                  <a:lnTo>
                    <a:pt x="4090" y="2810"/>
                  </a:lnTo>
                  <a:lnTo>
                    <a:pt x="4094" y="2783"/>
                  </a:lnTo>
                  <a:lnTo>
                    <a:pt x="4096" y="2757"/>
                  </a:lnTo>
                  <a:lnTo>
                    <a:pt x="4096" y="2733"/>
                  </a:lnTo>
                  <a:lnTo>
                    <a:pt x="4095" y="2709"/>
                  </a:lnTo>
                  <a:lnTo>
                    <a:pt x="4093" y="2687"/>
                  </a:lnTo>
                  <a:lnTo>
                    <a:pt x="4090" y="2665"/>
                  </a:lnTo>
                  <a:lnTo>
                    <a:pt x="4085" y="2645"/>
                  </a:lnTo>
                  <a:lnTo>
                    <a:pt x="4080" y="2626"/>
                  </a:lnTo>
                  <a:lnTo>
                    <a:pt x="4075" y="2607"/>
                  </a:lnTo>
                  <a:lnTo>
                    <a:pt x="4069" y="2590"/>
                  </a:lnTo>
                  <a:lnTo>
                    <a:pt x="4055" y="2556"/>
                  </a:lnTo>
                  <a:lnTo>
                    <a:pt x="4043" y="2524"/>
                  </a:lnTo>
                  <a:lnTo>
                    <a:pt x="4043" y="2524"/>
                  </a:lnTo>
                  <a:lnTo>
                    <a:pt x="4038" y="2509"/>
                  </a:lnTo>
                  <a:lnTo>
                    <a:pt x="4035" y="2494"/>
                  </a:lnTo>
                  <a:lnTo>
                    <a:pt x="4034" y="2479"/>
                  </a:lnTo>
                  <a:lnTo>
                    <a:pt x="4035" y="2464"/>
                  </a:lnTo>
                  <a:lnTo>
                    <a:pt x="4037" y="2450"/>
                  </a:lnTo>
                  <a:lnTo>
                    <a:pt x="4041" y="2435"/>
                  </a:lnTo>
                  <a:lnTo>
                    <a:pt x="4046" y="2421"/>
                  </a:lnTo>
                  <a:lnTo>
                    <a:pt x="4053" y="2408"/>
                  </a:lnTo>
                  <a:lnTo>
                    <a:pt x="4061" y="2395"/>
                  </a:lnTo>
                  <a:lnTo>
                    <a:pt x="4071" y="2381"/>
                  </a:lnTo>
                  <a:lnTo>
                    <a:pt x="4081" y="2369"/>
                  </a:lnTo>
                  <a:lnTo>
                    <a:pt x="4092" y="2358"/>
                  </a:lnTo>
                  <a:lnTo>
                    <a:pt x="4103" y="2346"/>
                  </a:lnTo>
                  <a:lnTo>
                    <a:pt x="4117" y="2335"/>
                  </a:lnTo>
                  <a:lnTo>
                    <a:pt x="4130" y="2326"/>
                  </a:lnTo>
                  <a:lnTo>
                    <a:pt x="4145" y="2317"/>
                  </a:lnTo>
                  <a:lnTo>
                    <a:pt x="4145" y="2317"/>
                  </a:lnTo>
                  <a:lnTo>
                    <a:pt x="4180" y="2336"/>
                  </a:lnTo>
                  <a:lnTo>
                    <a:pt x="4215" y="2357"/>
                  </a:lnTo>
                  <a:lnTo>
                    <a:pt x="4251" y="2378"/>
                  </a:lnTo>
                  <a:lnTo>
                    <a:pt x="4286" y="2402"/>
                  </a:lnTo>
                  <a:lnTo>
                    <a:pt x="4286" y="2402"/>
                  </a:lnTo>
                  <a:lnTo>
                    <a:pt x="4307" y="2416"/>
                  </a:lnTo>
                  <a:lnTo>
                    <a:pt x="4341" y="2441"/>
                  </a:lnTo>
                  <a:lnTo>
                    <a:pt x="4361" y="2456"/>
                  </a:lnTo>
                  <a:lnTo>
                    <a:pt x="4382" y="2474"/>
                  </a:lnTo>
                  <a:lnTo>
                    <a:pt x="4405" y="2494"/>
                  </a:lnTo>
                  <a:lnTo>
                    <a:pt x="4430" y="2515"/>
                  </a:lnTo>
                  <a:lnTo>
                    <a:pt x="4453" y="2539"/>
                  </a:lnTo>
                  <a:lnTo>
                    <a:pt x="4478" y="2563"/>
                  </a:lnTo>
                  <a:lnTo>
                    <a:pt x="4501" y="2590"/>
                  </a:lnTo>
                  <a:lnTo>
                    <a:pt x="4524" y="2618"/>
                  </a:lnTo>
                  <a:lnTo>
                    <a:pt x="4545" y="2647"/>
                  </a:lnTo>
                  <a:lnTo>
                    <a:pt x="4564" y="2678"/>
                  </a:lnTo>
                  <a:lnTo>
                    <a:pt x="4574" y="2693"/>
                  </a:lnTo>
                  <a:lnTo>
                    <a:pt x="4582" y="2709"/>
                  </a:lnTo>
                  <a:lnTo>
                    <a:pt x="4590" y="2726"/>
                  </a:lnTo>
                  <a:lnTo>
                    <a:pt x="4596" y="2742"/>
                  </a:lnTo>
                  <a:lnTo>
                    <a:pt x="4596" y="2742"/>
                  </a:lnTo>
                  <a:lnTo>
                    <a:pt x="4606" y="2768"/>
                  </a:lnTo>
                  <a:lnTo>
                    <a:pt x="4616" y="2792"/>
                  </a:lnTo>
                  <a:lnTo>
                    <a:pt x="4624" y="2817"/>
                  </a:lnTo>
                  <a:lnTo>
                    <a:pt x="4630" y="2840"/>
                  </a:lnTo>
                  <a:lnTo>
                    <a:pt x="4636" y="2864"/>
                  </a:lnTo>
                  <a:lnTo>
                    <a:pt x="4641" y="2886"/>
                  </a:lnTo>
                  <a:lnTo>
                    <a:pt x="4645" y="2908"/>
                  </a:lnTo>
                  <a:lnTo>
                    <a:pt x="4649" y="2928"/>
                  </a:lnTo>
                  <a:lnTo>
                    <a:pt x="4651" y="2949"/>
                  </a:lnTo>
                  <a:lnTo>
                    <a:pt x="4653" y="2968"/>
                  </a:lnTo>
                  <a:lnTo>
                    <a:pt x="4654" y="2987"/>
                  </a:lnTo>
                  <a:lnTo>
                    <a:pt x="4655" y="3005"/>
                  </a:lnTo>
                  <a:lnTo>
                    <a:pt x="4654" y="3039"/>
                  </a:lnTo>
                  <a:lnTo>
                    <a:pt x="4652" y="3070"/>
                  </a:lnTo>
                  <a:lnTo>
                    <a:pt x="4648" y="3099"/>
                  </a:lnTo>
                  <a:lnTo>
                    <a:pt x="4642" y="3126"/>
                  </a:lnTo>
                  <a:lnTo>
                    <a:pt x="4635" y="3149"/>
                  </a:lnTo>
                  <a:lnTo>
                    <a:pt x="4628" y="3171"/>
                  </a:lnTo>
                  <a:lnTo>
                    <a:pt x="4620" y="3189"/>
                  </a:lnTo>
                  <a:lnTo>
                    <a:pt x="4612" y="3206"/>
                  </a:lnTo>
                  <a:lnTo>
                    <a:pt x="4603" y="3221"/>
                  </a:lnTo>
                  <a:lnTo>
                    <a:pt x="4596" y="3232"/>
                  </a:lnTo>
                  <a:lnTo>
                    <a:pt x="4596" y="3232"/>
                  </a:lnTo>
                  <a:lnTo>
                    <a:pt x="4582" y="3252"/>
                  </a:lnTo>
                  <a:lnTo>
                    <a:pt x="4568" y="3273"/>
                  </a:lnTo>
                  <a:lnTo>
                    <a:pt x="4553" y="3291"/>
                  </a:lnTo>
                  <a:lnTo>
                    <a:pt x="4538" y="3310"/>
                  </a:lnTo>
                  <a:lnTo>
                    <a:pt x="4522" y="3327"/>
                  </a:lnTo>
                  <a:lnTo>
                    <a:pt x="4505" y="3343"/>
                  </a:lnTo>
                  <a:lnTo>
                    <a:pt x="4487" y="3359"/>
                  </a:lnTo>
                  <a:lnTo>
                    <a:pt x="4469" y="3373"/>
                  </a:lnTo>
                  <a:lnTo>
                    <a:pt x="4450" y="3386"/>
                  </a:lnTo>
                  <a:lnTo>
                    <a:pt x="4430" y="3398"/>
                  </a:lnTo>
                  <a:lnTo>
                    <a:pt x="4409" y="3409"/>
                  </a:lnTo>
                  <a:lnTo>
                    <a:pt x="4388" y="3418"/>
                  </a:lnTo>
                  <a:lnTo>
                    <a:pt x="4364" y="3426"/>
                  </a:lnTo>
                  <a:lnTo>
                    <a:pt x="4341" y="3433"/>
                  </a:lnTo>
                  <a:lnTo>
                    <a:pt x="4316" y="3438"/>
                  </a:lnTo>
                  <a:lnTo>
                    <a:pt x="4290" y="3441"/>
                  </a:lnTo>
                  <a:lnTo>
                    <a:pt x="4290" y="3441"/>
                  </a:lnTo>
                  <a:lnTo>
                    <a:pt x="4283" y="3440"/>
                  </a:lnTo>
                  <a:lnTo>
                    <a:pt x="4275" y="3440"/>
                  </a:lnTo>
                  <a:lnTo>
                    <a:pt x="4275" y="3440"/>
                  </a:lnTo>
                  <a:lnTo>
                    <a:pt x="4242" y="3441"/>
                  </a:lnTo>
                  <a:lnTo>
                    <a:pt x="4213" y="3441"/>
                  </a:lnTo>
                  <a:lnTo>
                    <a:pt x="4185" y="3440"/>
                  </a:lnTo>
                  <a:lnTo>
                    <a:pt x="4159" y="3437"/>
                  </a:lnTo>
                  <a:lnTo>
                    <a:pt x="4159" y="3437"/>
                  </a:lnTo>
                  <a:lnTo>
                    <a:pt x="4131" y="3432"/>
                  </a:lnTo>
                  <a:lnTo>
                    <a:pt x="4103" y="3427"/>
                  </a:lnTo>
                  <a:lnTo>
                    <a:pt x="4077" y="3420"/>
                  </a:lnTo>
                  <a:lnTo>
                    <a:pt x="4052" y="3413"/>
                  </a:lnTo>
                  <a:lnTo>
                    <a:pt x="4052" y="3413"/>
                  </a:lnTo>
                  <a:lnTo>
                    <a:pt x="4009" y="3398"/>
                  </a:lnTo>
                  <a:lnTo>
                    <a:pt x="3965" y="3379"/>
                  </a:lnTo>
                  <a:lnTo>
                    <a:pt x="3965" y="3379"/>
                  </a:lnTo>
                  <a:lnTo>
                    <a:pt x="3925" y="3359"/>
                  </a:lnTo>
                  <a:lnTo>
                    <a:pt x="3874" y="3331"/>
                  </a:lnTo>
                  <a:lnTo>
                    <a:pt x="3846" y="3314"/>
                  </a:lnTo>
                  <a:lnTo>
                    <a:pt x="3815" y="3294"/>
                  </a:lnTo>
                  <a:lnTo>
                    <a:pt x="3782" y="3274"/>
                  </a:lnTo>
                  <a:lnTo>
                    <a:pt x="3748" y="3250"/>
                  </a:lnTo>
                  <a:lnTo>
                    <a:pt x="3712" y="3226"/>
                  </a:lnTo>
                  <a:lnTo>
                    <a:pt x="3676" y="3198"/>
                  </a:lnTo>
                  <a:lnTo>
                    <a:pt x="3638" y="3170"/>
                  </a:lnTo>
                  <a:lnTo>
                    <a:pt x="3601" y="3139"/>
                  </a:lnTo>
                  <a:lnTo>
                    <a:pt x="3563" y="3106"/>
                  </a:lnTo>
                  <a:lnTo>
                    <a:pt x="3526" y="3071"/>
                  </a:lnTo>
                  <a:lnTo>
                    <a:pt x="3488" y="3035"/>
                  </a:lnTo>
                  <a:lnTo>
                    <a:pt x="3451" y="2997"/>
                  </a:lnTo>
                  <a:lnTo>
                    <a:pt x="3451" y="2997"/>
                  </a:lnTo>
                  <a:lnTo>
                    <a:pt x="3394" y="2933"/>
                  </a:lnTo>
                  <a:lnTo>
                    <a:pt x="3342" y="2874"/>
                  </a:lnTo>
                  <a:lnTo>
                    <a:pt x="3295" y="2819"/>
                  </a:lnTo>
                  <a:lnTo>
                    <a:pt x="3253" y="2769"/>
                  </a:lnTo>
                  <a:lnTo>
                    <a:pt x="3215" y="2722"/>
                  </a:lnTo>
                  <a:lnTo>
                    <a:pt x="3180" y="2679"/>
                  </a:lnTo>
                  <a:lnTo>
                    <a:pt x="3120" y="2602"/>
                  </a:lnTo>
                  <a:lnTo>
                    <a:pt x="3120" y="2602"/>
                  </a:lnTo>
                  <a:lnTo>
                    <a:pt x="3138" y="2609"/>
                  </a:lnTo>
                  <a:lnTo>
                    <a:pt x="3156" y="2615"/>
                  </a:lnTo>
                  <a:lnTo>
                    <a:pt x="3175" y="2620"/>
                  </a:lnTo>
                  <a:lnTo>
                    <a:pt x="3193" y="2625"/>
                  </a:lnTo>
                  <a:lnTo>
                    <a:pt x="3211" y="2628"/>
                  </a:lnTo>
                  <a:lnTo>
                    <a:pt x="3229" y="2630"/>
                  </a:lnTo>
                  <a:lnTo>
                    <a:pt x="3262" y="2633"/>
                  </a:lnTo>
                  <a:lnTo>
                    <a:pt x="3289" y="2633"/>
                  </a:lnTo>
                  <a:lnTo>
                    <a:pt x="3312" y="2632"/>
                  </a:lnTo>
                  <a:lnTo>
                    <a:pt x="3332" y="2630"/>
                  </a:lnTo>
                  <a:lnTo>
                    <a:pt x="3332" y="2630"/>
                  </a:lnTo>
                  <a:lnTo>
                    <a:pt x="3336" y="2580"/>
                  </a:lnTo>
                  <a:lnTo>
                    <a:pt x="3338" y="2535"/>
                  </a:lnTo>
                  <a:lnTo>
                    <a:pt x="3340" y="2495"/>
                  </a:lnTo>
                  <a:lnTo>
                    <a:pt x="3346" y="2360"/>
                  </a:lnTo>
                  <a:lnTo>
                    <a:pt x="3346" y="2360"/>
                  </a:lnTo>
                  <a:lnTo>
                    <a:pt x="3349" y="2323"/>
                  </a:lnTo>
                  <a:lnTo>
                    <a:pt x="3351" y="2288"/>
                  </a:lnTo>
                  <a:lnTo>
                    <a:pt x="3352" y="2251"/>
                  </a:lnTo>
                  <a:lnTo>
                    <a:pt x="3352" y="2251"/>
                  </a:lnTo>
                  <a:lnTo>
                    <a:pt x="3340" y="2250"/>
                  </a:lnTo>
                  <a:lnTo>
                    <a:pt x="3307" y="2246"/>
                  </a:lnTo>
                  <a:lnTo>
                    <a:pt x="3285" y="2243"/>
                  </a:lnTo>
                  <a:lnTo>
                    <a:pt x="3260" y="2238"/>
                  </a:lnTo>
                  <a:lnTo>
                    <a:pt x="3233" y="2233"/>
                  </a:lnTo>
                  <a:lnTo>
                    <a:pt x="3206" y="2226"/>
                  </a:lnTo>
                  <a:lnTo>
                    <a:pt x="3176" y="2217"/>
                  </a:lnTo>
                  <a:lnTo>
                    <a:pt x="3147" y="2206"/>
                  </a:lnTo>
                  <a:lnTo>
                    <a:pt x="3120" y="2194"/>
                  </a:lnTo>
                  <a:lnTo>
                    <a:pt x="3106" y="2188"/>
                  </a:lnTo>
                  <a:lnTo>
                    <a:pt x="3093" y="2181"/>
                  </a:lnTo>
                  <a:lnTo>
                    <a:pt x="3081" y="2173"/>
                  </a:lnTo>
                  <a:lnTo>
                    <a:pt x="3070" y="2164"/>
                  </a:lnTo>
                  <a:lnTo>
                    <a:pt x="3058" y="2155"/>
                  </a:lnTo>
                  <a:lnTo>
                    <a:pt x="3049" y="2146"/>
                  </a:lnTo>
                  <a:lnTo>
                    <a:pt x="3040" y="2136"/>
                  </a:lnTo>
                  <a:lnTo>
                    <a:pt x="3032" y="2125"/>
                  </a:lnTo>
                  <a:lnTo>
                    <a:pt x="3025" y="2113"/>
                  </a:lnTo>
                  <a:lnTo>
                    <a:pt x="3019" y="2101"/>
                  </a:lnTo>
                  <a:lnTo>
                    <a:pt x="3019" y="2101"/>
                  </a:lnTo>
                  <a:lnTo>
                    <a:pt x="3030" y="2107"/>
                  </a:lnTo>
                  <a:lnTo>
                    <a:pt x="3042" y="2112"/>
                  </a:lnTo>
                  <a:lnTo>
                    <a:pt x="3059" y="2119"/>
                  </a:lnTo>
                  <a:lnTo>
                    <a:pt x="3081" y="2127"/>
                  </a:lnTo>
                  <a:lnTo>
                    <a:pt x="3106" y="2134"/>
                  </a:lnTo>
                  <a:lnTo>
                    <a:pt x="3136" y="2139"/>
                  </a:lnTo>
                  <a:lnTo>
                    <a:pt x="3152" y="2141"/>
                  </a:lnTo>
                  <a:lnTo>
                    <a:pt x="3169" y="2142"/>
                  </a:lnTo>
                  <a:lnTo>
                    <a:pt x="3169" y="2142"/>
                  </a:lnTo>
                  <a:lnTo>
                    <a:pt x="3201" y="2143"/>
                  </a:lnTo>
                  <a:lnTo>
                    <a:pt x="3234" y="2143"/>
                  </a:lnTo>
                  <a:lnTo>
                    <a:pt x="3266" y="2141"/>
                  </a:lnTo>
                  <a:lnTo>
                    <a:pt x="3295" y="2139"/>
                  </a:lnTo>
                  <a:lnTo>
                    <a:pt x="3340" y="2133"/>
                  </a:lnTo>
                  <a:lnTo>
                    <a:pt x="3357" y="2131"/>
                  </a:lnTo>
                  <a:lnTo>
                    <a:pt x="3357" y="2131"/>
                  </a:lnTo>
                  <a:lnTo>
                    <a:pt x="3359" y="2125"/>
                  </a:lnTo>
                  <a:lnTo>
                    <a:pt x="3361" y="2113"/>
                  </a:lnTo>
                  <a:lnTo>
                    <a:pt x="3364" y="2083"/>
                  </a:lnTo>
                  <a:lnTo>
                    <a:pt x="3367" y="2043"/>
                  </a:lnTo>
                  <a:lnTo>
                    <a:pt x="3369" y="1999"/>
                  </a:lnTo>
                  <a:lnTo>
                    <a:pt x="3373" y="1919"/>
                  </a:lnTo>
                  <a:lnTo>
                    <a:pt x="3375" y="1884"/>
                  </a:lnTo>
                  <a:lnTo>
                    <a:pt x="3375" y="1884"/>
                  </a:lnTo>
                  <a:lnTo>
                    <a:pt x="3376" y="1856"/>
                  </a:lnTo>
                  <a:lnTo>
                    <a:pt x="3377" y="1816"/>
                  </a:lnTo>
                  <a:lnTo>
                    <a:pt x="3377" y="1767"/>
                  </a:lnTo>
                  <a:lnTo>
                    <a:pt x="3377" y="1767"/>
                  </a:lnTo>
                  <a:lnTo>
                    <a:pt x="3369" y="1769"/>
                  </a:lnTo>
                  <a:lnTo>
                    <a:pt x="3359" y="1770"/>
                  </a:lnTo>
                  <a:lnTo>
                    <a:pt x="3338" y="1772"/>
                  </a:lnTo>
                  <a:lnTo>
                    <a:pt x="3315" y="1771"/>
                  </a:lnTo>
                  <a:lnTo>
                    <a:pt x="3290" y="1769"/>
                  </a:lnTo>
                  <a:lnTo>
                    <a:pt x="3264" y="1766"/>
                  </a:lnTo>
                  <a:lnTo>
                    <a:pt x="3236" y="1762"/>
                  </a:lnTo>
                  <a:lnTo>
                    <a:pt x="3208" y="1756"/>
                  </a:lnTo>
                  <a:lnTo>
                    <a:pt x="3178" y="1748"/>
                  </a:lnTo>
                  <a:lnTo>
                    <a:pt x="3178" y="1748"/>
                  </a:lnTo>
                  <a:lnTo>
                    <a:pt x="3158" y="1742"/>
                  </a:lnTo>
                  <a:lnTo>
                    <a:pt x="3135" y="1733"/>
                  </a:lnTo>
                  <a:lnTo>
                    <a:pt x="3112" y="1721"/>
                  </a:lnTo>
                  <a:lnTo>
                    <a:pt x="3088" y="1706"/>
                  </a:lnTo>
                  <a:lnTo>
                    <a:pt x="3064" y="1690"/>
                  </a:lnTo>
                  <a:lnTo>
                    <a:pt x="3053" y="1681"/>
                  </a:lnTo>
                  <a:lnTo>
                    <a:pt x="3043" y="1672"/>
                  </a:lnTo>
                  <a:lnTo>
                    <a:pt x="3034" y="1661"/>
                  </a:lnTo>
                  <a:lnTo>
                    <a:pt x="3025" y="1652"/>
                  </a:lnTo>
                  <a:lnTo>
                    <a:pt x="3017" y="1642"/>
                  </a:lnTo>
                  <a:lnTo>
                    <a:pt x="3010" y="1631"/>
                  </a:lnTo>
                  <a:lnTo>
                    <a:pt x="3010" y="1631"/>
                  </a:lnTo>
                  <a:lnTo>
                    <a:pt x="3022" y="1636"/>
                  </a:lnTo>
                  <a:lnTo>
                    <a:pt x="3035" y="1640"/>
                  </a:lnTo>
                  <a:lnTo>
                    <a:pt x="3052" y="1646"/>
                  </a:lnTo>
                  <a:lnTo>
                    <a:pt x="3075" y="1652"/>
                  </a:lnTo>
                  <a:lnTo>
                    <a:pt x="3101" y="1658"/>
                  </a:lnTo>
                  <a:lnTo>
                    <a:pt x="3132" y="1665"/>
                  </a:lnTo>
                  <a:lnTo>
                    <a:pt x="3167" y="1670"/>
                  </a:lnTo>
                  <a:lnTo>
                    <a:pt x="3167" y="1670"/>
                  </a:lnTo>
                  <a:lnTo>
                    <a:pt x="3187" y="1672"/>
                  </a:lnTo>
                  <a:lnTo>
                    <a:pt x="3207" y="1673"/>
                  </a:lnTo>
                  <a:lnTo>
                    <a:pt x="3226" y="1674"/>
                  </a:lnTo>
                  <a:lnTo>
                    <a:pt x="3245" y="1674"/>
                  </a:lnTo>
                  <a:lnTo>
                    <a:pt x="3283" y="1672"/>
                  </a:lnTo>
                  <a:lnTo>
                    <a:pt x="3317" y="1669"/>
                  </a:lnTo>
                  <a:lnTo>
                    <a:pt x="3346" y="1663"/>
                  </a:lnTo>
                  <a:lnTo>
                    <a:pt x="3369" y="1658"/>
                  </a:lnTo>
                  <a:lnTo>
                    <a:pt x="3377" y="1655"/>
                  </a:lnTo>
                  <a:lnTo>
                    <a:pt x="3383" y="1653"/>
                  </a:lnTo>
                  <a:lnTo>
                    <a:pt x="3388" y="1650"/>
                  </a:lnTo>
                  <a:lnTo>
                    <a:pt x="3390" y="1647"/>
                  </a:lnTo>
                  <a:lnTo>
                    <a:pt x="3390" y="1647"/>
                  </a:lnTo>
                  <a:lnTo>
                    <a:pt x="3392" y="1621"/>
                  </a:lnTo>
                  <a:lnTo>
                    <a:pt x="3393" y="1587"/>
                  </a:lnTo>
                  <a:lnTo>
                    <a:pt x="3394" y="1510"/>
                  </a:lnTo>
                  <a:lnTo>
                    <a:pt x="3394" y="1412"/>
                  </a:lnTo>
                  <a:lnTo>
                    <a:pt x="3394" y="1412"/>
                  </a:lnTo>
                  <a:lnTo>
                    <a:pt x="3399" y="1348"/>
                  </a:lnTo>
                  <a:lnTo>
                    <a:pt x="3400" y="1304"/>
                  </a:lnTo>
                  <a:lnTo>
                    <a:pt x="3400" y="1289"/>
                  </a:lnTo>
                  <a:lnTo>
                    <a:pt x="3399" y="1285"/>
                  </a:lnTo>
                  <a:lnTo>
                    <a:pt x="3398" y="1284"/>
                  </a:lnTo>
                  <a:lnTo>
                    <a:pt x="3398" y="1284"/>
                  </a:lnTo>
                  <a:lnTo>
                    <a:pt x="3392" y="1284"/>
                  </a:lnTo>
                  <a:lnTo>
                    <a:pt x="3381" y="1285"/>
                  </a:lnTo>
                  <a:lnTo>
                    <a:pt x="3368" y="1285"/>
                  </a:lnTo>
                  <a:lnTo>
                    <a:pt x="3354" y="1284"/>
                  </a:lnTo>
                  <a:lnTo>
                    <a:pt x="3336" y="1282"/>
                  </a:lnTo>
                  <a:lnTo>
                    <a:pt x="3317" y="1279"/>
                  </a:lnTo>
                  <a:lnTo>
                    <a:pt x="3297" y="1274"/>
                  </a:lnTo>
                  <a:lnTo>
                    <a:pt x="3274" y="1269"/>
                  </a:lnTo>
                  <a:lnTo>
                    <a:pt x="3251" y="1261"/>
                  </a:lnTo>
                  <a:lnTo>
                    <a:pt x="3226" y="1251"/>
                  </a:lnTo>
                  <a:lnTo>
                    <a:pt x="3200" y="1240"/>
                  </a:lnTo>
                  <a:lnTo>
                    <a:pt x="3175" y="1226"/>
                  </a:lnTo>
                  <a:lnTo>
                    <a:pt x="3149" y="1210"/>
                  </a:lnTo>
                  <a:lnTo>
                    <a:pt x="3123" y="1191"/>
                  </a:lnTo>
                  <a:lnTo>
                    <a:pt x="3110" y="1181"/>
                  </a:lnTo>
                  <a:lnTo>
                    <a:pt x="3097" y="1170"/>
                  </a:lnTo>
                  <a:lnTo>
                    <a:pt x="3085" y="1157"/>
                  </a:lnTo>
                  <a:lnTo>
                    <a:pt x="3073" y="1145"/>
                  </a:lnTo>
                  <a:lnTo>
                    <a:pt x="3073" y="1145"/>
                  </a:lnTo>
                  <a:lnTo>
                    <a:pt x="3071" y="1143"/>
                  </a:lnTo>
                  <a:lnTo>
                    <a:pt x="3065" y="1138"/>
                  </a:lnTo>
                  <a:lnTo>
                    <a:pt x="3059" y="1129"/>
                  </a:lnTo>
                  <a:lnTo>
                    <a:pt x="3056" y="1123"/>
                  </a:lnTo>
                  <a:lnTo>
                    <a:pt x="3053" y="1116"/>
                  </a:lnTo>
                  <a:lnTo>
                    <a:pt x="3051" y="1109"/>
                  </a:lnTo>
                  <a:lnTo>
                    <a:pt x="3050" y="1101"/>
                  </a:lnTo>
                  <a:lnTo>
                    <a:pt x="3049" y="1092"/>
                  </a:lnTo>
                  <a:lnTo>
                    <a:pt x="3050" y="1082"/>
                  </a:lnTo>
                  <a:lnTo>
                    <a:pt x="3053" y="1072"/>
                  </a:lnTo>
                  <a:lnTo>
                    <a:pt x="3056" y="1060"/>
                  </a:lnTo>
                  <a:lnTo>
                    <a:pt x="3062" y="1048"/>
                  </a:lnTo>
                  <a:lnTo>
                    <a:pt x="3071" y="1035"/>
                  </a:lnTo>
                  <a:lnTo>
                    <a:pt x="3071" y="1035"/>
                  </a:lnTo>
                  <a:lnTo>
                    <a:pt x="2806" y="916"/>
                  </a:lnTo>
                  <a:lnTo>
                    <a:pt x="2806" y="916"/>
                  </a:lnTo>
                  <a:lnTo>
                    <a:pt x="2815" y="907"/>
                  </a:lnTo>
                  <a:lnTo>
                    <a:pt x="2824" y="896"/>
                  </a:lnTo>
                  <a:lnTo>
                    <a:pt x="2834" y="881"/>
                  </a:lnTo>
                  <a:lnTo>
                    <a:pt x="2845" y="865"/>
                  </a:lnTo>
                  <a:lnTo>
                    <a:pt x="2850" y="856"/>
                  </a:lnTo>
                  <a:lnTo>
                    <a:pt x="2854" y="847"/>
                  </a:lnTo>
                  <a:lnTo>
                    <a:pt x="2858" y="836"/>
                  </a:lnTo>
                  <a:lnTo>
                    <a:pt x="2861" y="826"/>
                  </a:lnTo>
                  <a:lnTo>
                    <a:pt x="2863" y="816"/>
                  </a:lnTo>
                  <a:lnTo>
                    <a:pt x="2863" y="806"/>
                  </a:lnTo>
                  <a:lnTo>
                    <a:pt x="2863" y="806"/>
                  </a:lnTo>
                  <a:lnTo>
                    <a:pt x="2863" y="794"/>
                  </a:lnTo>
                  <a:lnTo>
                    <a:pt x="2860" y="784"/>
                  </a:lnTo>
                  <a:lnTo>
                    <a:pt x="2855" y="774"/>
                  </a:lnTo>
                  <a:lnTo>
                    <a:pt x="2849" y="765"/>
                  </a:lnTo>
                  <a:lnTo>
                    <a:pt x="2841" y="756"/>
                  </a:lnTo>
                  <a:lnTo>
                    <a:pt x="2830" y="748"/>
                  </a:lnTo>
                  <a:lnTo>
                    <a:pt x="2820" y="741"/>
                  </a:lnTo>
                  <a:lnTo>
                    <a:pt x="2808" y="735"/>
                  </a:lnTo>
                  <a:lnTo>
                    <a:pt x="2795" y="730"/>
                  </a:lnTo>
                  <a:lnTo>
                    <a:pt x="2781" y="726"/>
                  </a:lnTo>
                  <a:lnTo>
                    <a:pt x="2767" y="722"/>
                  </a:lnTo>
                  <a:lnTo>
                    <a:pt x="2753" y="720"/>
                  </a:lnTo>
                  <a:lnTo>
                    <a:pt x="2738" y="718"/>
                  </a:lnTo>
                  <a:lnTo>
                    <a:pt x="2723" y="718"/>
                  </a:lnTo>
                  <a:lnTo>
                    <a:pt x="2709" y="719"/>
                  </a:lnTo>
                  <a:lnTo>
                    <a:pt x="2694" y="721"/>
                  </a:lnTo>
                  <a:lnTo>
                    <a:pt x="2694" y="721"/>
                  </a:lnTo>
                  <a:lnTo>
                    <a:pt x="2681" y="724"/>
                  </a:lnTo>
                  <a:lnTo>
                    <a:pt x="2669" y="728"/>
                  </a:lnTo>
                  <a:lnTo>
                    <a:pt x="2656" y="733"/>
                  </a:lnTo>
                  <a:lnTo>
                    <a:pt x="2644" y="739"/>
                  </a:lnTo>
                  <a:lnTo>
                    <a:pt x="2634" y="746"/>
                  </a:lnTo>
                  <a:lnTo>
                    <a:pt x="2623" y="754"/>
                  </a:lnTo>
                  <a:lnTo>
                    <a:pt x="2604" y="769"/>
                  </a:lnTo>
                  <a:lnTo>
                    <a:pt x="2589" y="784"/>
                  </a:lnTo>
                  <a:lnTo>
                    <a:pt x="2578" y="796"/>
                  </a:lnTo>
                  <a:lnTo>
                    <a:pt x="2569" y="809"/>
                  </a:lnTo>
                  <a:lnTo>
                    <a:pt x="2238" y="662"/>
                  </a:lnTo>
                  <a:lnTo>
                    <a:pt x="1977" y="925"/>
                  </a:lnTo>
                  <a:lnTo>
                    <a:pt x="1977" y="925"/>
                  </a:lnTo>
                  <a:lnTo>
                    <a:pt x="1972" y="930"/>
                  </a:lnTo>
                  <a:lnTo>
                    <a:pt x="1966" y="942"/>
                  </a:lnTo>
                  <a:lnTo>
                    <a:pt x="1963" y="949"/>
                  </a:lnTo>
                  <a:lnTo>
                    <a:pt x="1961" y="957"/>
                  </a:lnTo>
                  <a:lnTo>
                    <a:pt x="1960" y="966"/>
                  </a:lnTo>
                  <a:lnTo>
                    <a:pt x="1960" y="975"/>
                  </a:lnTo>
                  <a:lnTo>
                    <a:pt x="1964" y="999"/>
                  </a:lnTo>
                  <a:lnTo>
                    <a:pt x="1964" y="999"/>
                  </a:lnTo>
                  <a:lnTo>
                    <a:pt x="1964" y="1005"/>
                  </a:lnTo>
                  <a:lnTo>
                    <a:pt x="1963" y="1011"/>
                  </a:lnTo>
                  <a:lnTo>
                    <a:pt x="1962" y="1016"/>
                  </a:lnTo>
                  <a:lnTo>
                    <a:pt x="1961" y="1020"/>
                  </a:lnTo>
                  <a:lnTo>
                    <a:pt x="1957" y="1028"/>
                  </a:lnTo>
                  <a:lnTo>
                    <a:pt x="1955" y="1032"/>
                  </a:lnTo>
                  <a:lnTo>
                    <a:pt x="1955" y="1032"/>
                  </a:lnTo>
                  <a:lnTo>
                    <a:pt x="1936" y="1054"/>
                  </a:lnTo>
                  <a:lnTo>
                    <a:pt x="1916" y="1078"/>
                  </a:lnTo>
                  <a:lnTo>
                    <a:pt x="1896" y="1100"/>
                  </a:lnTo>
                  <a:lnTo>
                    <a:pt x="1876" y="1123"/>
                  </a:lnTo>
                  <a:lnTo>
                    <a:pt x="1876" y="1123"/>
                  </a:lnTo>
                  <a:lnTo>
                    <a:pt x="1847" y="1161"/>
                  </a:lnTo>
                  <a:lnTo>
                    <a:pt x="1836" y="1177"/>
                  </a:lnTo>
                  <a:lnTo>
                    <a:pt x="1828" y="1189"/>
                  </a:lnTo>
                  <a:lnTo>
                    <a:pt x="1828" y="1189"/>
                  </a:lnTo>
                  <a:lnTo>
                    <a:pt x="1819" y="1204"/>
                  </a:lnTo>
                  <a:lnTo>
                    <a:pt x="1811" y="1220"/>
                  </a:lnTo>
                  <a:lnTo>
                    <a:pt x="1799" y="1245"/>
                  </a:lnTo>
                  <a:lnTo>
                    <a:pt x="1789" y="1269"/>
                  </a:lnTo>
                  <a:lnTo>
                    <a:pt x="1781" y="1290"/>
                  </a:lnTo>
                  <a:lnTo>
                    <a:pt x="1781" y="1290"/>
                  </a:lnTo>
                  <a:lnTo>
                    <a:pt x="1780" y="1293"/>
                  </a:lnTo>
                  <a:lnTo>
                    <a:pt x="1778" y="1304"/>
                  </a:lnTo>
                  <a:lnTo>
                    <a:pt x="1778" y="1311"/>
                  </a:lnTo>
                  <a:lnTo>
                    <a:pt x="1777" y="1319"/>
                  </a:lnTo>
                  <a:lnTo>
                    <a:pt x="1778" y="1328"/>
                  </a:lnTo>
                  <a:lnTo>
                    <a:pt x="1780" y="1339"/>
                  </a:lnTo>
                  <a:lnTo>
                    <a:pt x="1784" y="1352"/>
                  </a:lnTo>
                  <a:lnTo>
                    <a:pt x="1789" y="1365"/>
                  </a:lnTo>
                  <a:lnTo>
                    <a:pt x="1797" y="1378"/>
                  </a:lnTo>
                  <a:lnTo>
                    <a:pt x="1807" y="1394"/>
                  </a:lnTo>
                  <a:lnTo>
                    <a:pt x="1819" y="1410"/>
                  </a:lnTo>
                  <a:lnTo>
                    <a:pt x="1833" y="1426"/>
                  </a:lnTo>
                  <a:lnTo>
                    <a:pt x="1852" y="1444"/>
                  </a:lnTo>
                  <a:lnTo>
                    <a:pt x="1874" y="1462"/>
                  </a:lnTo>
                  <a:lnTo>
                    <a:pt x="1881" y="1468"/>
                  </a:lnTo>
                  <a:lnTo>
                    <a:pt x="1881" y="1468"/>
                  </a:lnTo>
                  <a:lnTo>
                    <a:pt x="1894" y="1451"/>
                  </a:lnTo>
                  <a:lnTo>
                    <a:pt x="1905" y="1462"/>
                  </a:lnTo>
                  <a:lnTo>
                    <a:pt x="1905" y="1462"/>
                  </a:lnTo>
                  <a:lnTo>
                    <a:pt x="1914" y="1471"/>
                  </a:lnTo>
                  <a:lnTo>
                    <a:pt x="1926" y="1482"/>
                  </a:lnTo>
                  <a:lnTo>
                    <a:pt x="1941" y="1494"/>
                  </a:lnTo>
                  <a:lnTo>
                    <a:pt x="1957" y="1504"/>
                  </a:lnTo>
                  <a:lnTo>
                    <a:pt x="1957" y="1504"/>
                  </a:lnTo>
                  <a:lnTo>
                    <a:pt x="1959" y="1497"/>
                  </a:lnTo>
                  <a:lnTo>
                    <a:pt x="1964" y="1477"/>
                  </a:lnTo>
                  <a:lnTo>
                    <a:pt x="1969" y="1464"/>
                  </a:lnTo>
                  <a:lnTo>
                    <a:pt x="1975" y="1451"/>
                  </a:lnTo>
                  <a:lnTo>
                    <a:pt x="1983" y="1437"/>
                  </a:lnTo>
                  <a:lnTo>
                    <a:pt x="1991" y="1422"/>
                  </a:lnTo>
                  <a:lnTo>
                    <a:pt x="1991" y="1422"/>
                  </a:lnTo>
                  <a:lnTo>
                    <a:pt x="2000" y="1410"/>
                  </a:lnTo>
                  <a:lnTo>
                    <a:pt x="2011" y="1398"/>
                  </a:lnTo>
                  <a:lnTo>
                    <a:pt x="2025" y="1384"/>
                  </a:lnTo>
                  <a:lnTo>
                    <a:pt x="2038" y="1371"/>
                  </a:lnTo>
                  <a:lnTo>
                    <a:pt x="2052" y="1359"/>
                  </a:lnTo>
                  <a:lnTo>
                    <a:pt x="2065" y="1348"/>
                  </a:lnTo>
                  <a:lnTo>
                    <a:pt x="2080" y="1337"/>
                  </a:lnTo>
                  <a:lnTo>
                    <a:pt x="2092" y="1329"/>
                  </a:lnTo>
                  <a:lnTo>
                    <a:pt x="2092" y="1329"/>
                  </a:lnTo>
                  <a:lnTo>
                    <a:pt x="2107" y="1320"/>
                  </a:lnTo>
                  <a:lnTo>
                    <a:pt x="2123" y="1312"/>
                  </a:lnTo>
                  <a:lnTo>
                    <a:pt x="2138" y="1305"/>
                  </a:lnTo>
                  <a:lnTo>
                    <a:pt x="2154" y="1298"/>
                  </a:lnTo>
                  <a:lnTo>
                    <a:pt x="2170" y="1294"/>
                  </a:lnTo>
                  <a:lnTo>
                    <a:pt x="2186" y="1291"/>
                  </a:lnTo>
                  <a:lnTo>
                    <a:pt x="2202" y="1288"/>
                  </a:lnTo>
                  <a:lnTo>
                    <a:pt x="2220" y="1287"/>
                  </a:lnTo>
                  <a:lnTo>
                    <a:pt x="2220" y="1287"/>
                  </a:lnTo>
                  <a:lnTo>
                    <a:pt x="2234" y="1288"/>
                  </a:lnTo>
                  <a:lnTo>
                    <a:pt x="2247" y="1289"/>
                  </a:lnTo>
                  <a:lnTo>
                    <a:pt x="2261" y="1292"/>
                  </a:lnTo>
                  <a:lnTo>
                    <a:pt x="2272" y="1297"/>
                  </a:lnTo>
                  <a:lnTo>
                    <a:pt x="2283" y="1304"/>
                  </a:lnTo>
                  <a:lnTo>
                    <a:pt x="2295" y="1311"/>
                  </a:lnTo>
                  <a:lnTo>
                    <a:pt x="2305" y="1320"/>
                  </a:lnTo>
                  <a:lnTo>
                    <a:pt x="2316" y="1330"/>
                  </a:lnTo>
                  <a:lnTo>
                    <a:pt x="2316" y="1330"/>
                  </a:lnTo>
                  <a:lnTo>
                    <a:pt x="2323" y="1338"/>
                  </a:lnTo>
                  <a:lnTo>
                    <a:pt x="2330" y="1349"/>
                  </a:lnTo>
                  <a:lnTo>
                    <a:pt x="2336" y="1360"/>
                  </a:lnTo>
                  <a:lnTo>
                    <a:pt x="2342" y="1372"/>
                  </a:lnTo>
                  <a:lnTo>
                    <a:pt x="2347" y="1384"/>
                  </a:lnTo>
                  <a:lnTo>
                    <a:pt x="2351" y="1398"/>
                  </a:lnTo>
                  <a:lnTo>
                    <a:pt x="2355" y="1412"/>
                  </a:lnTo>
                  <a:lnTo>
                    <a:pt x="2358" y="1426"/>
                  </a:lnTo>
                  <a:lnTo>
                    <a:pt x="2360" y="1440"/>
                  </a:lnTo>
                  <a:lnTo>
                    <a:pt x="2362" y="1454"/>
                  </a:lnTo>
                  <a:lnTo>
                    <a:pt x="2363" y="1467"/>
                  </a:lnTo>
                  <a:lnTo>
                    <a:pt x="2364" y="1480"/>
                  </a:lnTo>
                  <a:lnTo>
                    <a:pt x="2364" y="1493"/>
                  </a:lnTo>
                  <a:lnTo>
                    <a:pt x="2363" y="1504"/>
                  </a:lnTo>
                  <a:lnTo>
                    <a:pt x="2361" y="1514"/>
                  </a:lnTo>
                  <a:lnTo>
                    <a:pt x="2359" y="1523"/>
                  </a:lnTo>
                  <a:lnTo>
                    <a:pt x="2359" y="1523"/>
                  </a:lnTo>
                  <a:lnTo>
                    <a:pt x="2330" y="1505"/>
                  </a:lnTo>
                  <a:lnTo>
                    <a:pt x="2330" y="1505"/>
                  </a:lnTo>
                  <a:lnTo>
                    <a:pt x="2309" y="1494"/>
                  </a:lnTo>
                  <a:lnTo>
                    <a:pt x="2281" y="1484"/>
                  </a:lnTo>
                  <a:lnTo>
                    <a:pt x="2266" y="1477"/>
                  </a:lnTo>
                  <a:lnTo>
                    <a:pt x="2251" y="1473"/>
                  </a:lnTo>
                  <a:lnTo>
                    <a:pt x="2233" y="1469"/>
                  </a:lnTo>
                  <a:lnTo>
                    <a:pt x="2215" y="1465"/>
                  </a:lnTo>
                  <a:lnTo>
                    <a:pt x="2195" y="1463"/>
                  </a:lnTo>
                  <a:lnTo>
                    <a:pt x="2175" y="1462"/>
                  </a:lnTo>
                  <a:lnTo>
                    <a:pt x="2154" y="1462"/>
                  </a:lnTo>
                  <a:lnTo>
                    <a:pt x="2132" y="1464"/>
                  </a:lnTo>
                  <a:lnTo>
                    <a:pt x="2109" y="1467"/>
                  </a:lnTo>
                  <a:lnTo>
                    <a:pt x="2086" y="1472"/>
                  </a:lnTo>
                  <a:lnTo>
                    <a:pt x="2062" y="1480"/>
                  </a:lnTo>
                  <a:lnTo>
                    <a:pt x="2037" y="1491"/>
                  </a:lnTo>
                  <a:lnTo>
                    <a:pt x="2037" y="1491"/>
                  </a:lnTo>
                  <a:lnTo>
                    <a:pt x="1995" y="1509"/>
                  </a:lnTo>
                  <a:lnTo>
                    <a:pt x="1967" y="1521"/>
                  </a:lnTo>
                  <a:lnTo>
                    <a:pt x="1936" y="1534"/>
                  </a:lnTo>
                  <a:lnTo>
                    <a:pt x="1900" y="1548"/>
                  </a:lnTo>
                  <a:lnTo>
                    <a:pt x="1860" y="1562"/>
                  </a:lnTo>
                  <a:lnTo>
                    <a:pt x="1814" y="1578"/>
                  </a:lnTo>
                  <a:lnTo>
                    <a:pt x="1764" y="1593"/>
                  </a:lnTo>
                  <a:lnTo>
                    <a:pt x="1764" y="1593"/>
                  </a:lnTo>
                  <a:lnTo>
                    <a:pt x="1737" y="1600"/>
                  </a:lnTo>
                  <a:lnTo>
                    <a:pt x="1725" y="1602"/>
                  </a:lnTo>
                  <a:lnTo>
                    <a:pt x="1713" y="1603"/>
                  </a:lnTo>
                  <a:lnTo>
                    <a:pt x="1701" y="1603"/>
                  </a:lnTo>
                  <a:lnTo>
                    <a:pt x="1691" y="1603"/>
                  </a:lnTo>
                  <a:lnTo>
                    <a:pt x="1681" y="1602"/>
                  </a:lnTo>
                  <a:lnTo>
                    <a:pt x="1672" y="1600"/>
                  </a:lnTo>
                  <a:lnTo>
                    <a:pt x="1664" y="1597"/>
                  </a:lnTo>
                  <a:lnTo>
                    <a:pt x="1655" y="1592"/>
                  </a:lnTo>
                  <a:lnTo>
                    <a:pt x="1649" y="1587"/>
                  </a:lnTo>
                  <a:lnTo>
                    <a:pt x="1642" y="1581"/>
                  </a:lnTo>
                  <a:lnTo>
                    <a:pt x="1637" y="1574"/>
                  </a:lnTo>
                  <a:lnTo>
                    <a:pt x="1633" y="1564"/>
                  </a:lnTo>
                  <a:lnTo>
                    <a:pt x="1629" y="1554"/>
                  </a:lnTo>
                  <a:lnTo>
                    <a:pt x="1626" y="1543"/>
                  </a:lnTo>
                  <a:lnTo>
                    <a:pt x="1626" y="1543"/>
                  </a:lnTo>
                  <a:lnTo>
                    <a:pt x="1624" y="1533"/>
                  </a:lnTo>
                  <a:lnTo>
                    <a:pt x="1623" y="1522"/>
                  </a:lnTo>
                  <a:lnTo>
                    <a:pt x="1623" y="1513"/>
                  </a:lnTo>
                  <a:lnTo>
                    <a:pt x="1623" y="1504"/>
                  </a:lnTo>
                  <a:lnTo>
                    <a:pt x="1625" y="1488"/>
                  </a:lnTo>
                  <a:lnTo>
                    <a:pt x="1629" y="1473"/>
                  </a:lnTo>
                  <a:lnTo>
                    <a:pt x="1633" y="1462"/>
                  </a:lnTo>
                  <a:lnTo>
                    <a:pt x="1636" y="1454"/>
                  </a:lnTo>
                  <a:lnTo>
                    <a:pt x="1640" y="1446"/>
                  </a:lnTo>
                  <a:lnTo>
                    <a:pt x="1640" y="1446"/>
                  </a:lnTo>
                  <a:lnTo>
                    <a:pt x="1636" y="1447"/>
                  </a:lnTo>
                  <a:lnTo>
                    <a:pt x="1626" y="1450"/>
                  </a:lnTo>
                  <a:lnTo>
                    <a:pt x="1610" y="1456"/>
                  </a:lnTo>
                  <a:lnTo>
                    <a:pt x="1601" y="1459"/>
                  </a:lnTo>
                  <a:lnTo>
                    <a:pt x="1592" y="1464"/>
                  </a:lnTo>
                  <a:lnTo>
                    <a:pt x="1582" y="1470"/>
                  </a:lnTo>
                  <a:lnTo>
                    <a:pt x="1573" y="1476"/>
                  </a:lnTo>
                  <a:lnTo>
                    <a:pt x="1563" y="1485"/>
                  </a:lnTo>
                  <a:lnTo>
                    <a:pt x="1554" y="1494"/>
                  </a:lnTo>
                  <a:lnTo>
                    <a:pt x="1546" y="1504"/>
                  </a:lnTo>
                  <a:lnTo>
                    <a:pt x="1539" y="1515"/>
                  </a:lnTo>
                  <a:lnTo>
                    <a:pt x="1533" y="1529"/>
                  </a:lnTo>
                  <a:lnTo>
                    <a:pt x="1528" y="1543"/>
                  </a:lnTo>
                  <a:lnTo>
                    <a:pt x="1528" y="1543"/>
                  </a:lnTo>
                  <a:lnTo>
                    <a:pt x="1525" y="1558"/>
                  </a:lnTo>
                  <a:lnTo>
                    <a:pt x="1523" y="1574"/>
                  </a:lnTo>
                  <a:lnTo>
                    <a:pt x="1523" y="1589"/>
                  </a:lnTo>
                  <a:lnTo>
                    <a:pt x="1523" y="1603"/>
                  </a:lnTo>
                  <a:lnTo>
                    <a:pt x="1524" y="1616"/>
                  </a:lnTo>
                  <a:lnTo>
                    <a:pt x="1527" y="1631"/>
                  </a:lnTo>
                  <a:lnTo>
                    <a:pt x="1531" y="1643"/>
                  </a:lnTo>
                  <a:lnTo>
                    <a:pt x="1536" y="1655"/>
                  </a:lnTo>
                  <a:lnTo>
                    <a:pt x="1542" y="1668"/>
                  </a:lnTo>
                  <a:lnTo>
                    <a:pt x="1549" y="1678"/>
                  </a:lnTo>
                  <a:lnTo>
                    <a:pt x="1557" y="1688"/>
                  </a:lnTo>
                  <a:lnTo>
                    <a:pt x="1568" y="1696"/>
                  </a:lnTo>
                  <a:lnTo>
                    <a:pt x="1578" y="1704"/>
                  </a:lnTo>
                  <a:lnTo>
                    <a:pt x="1590" y="1711"/>
                  </a:lnTo>
                  <a:lnTo>
                    <a:pt x="1602" y="1717"/>
                  </a:lnTo>
                  <a:lnTo>
                    <a:pt x="1617" y="1721"/>
                  </a:lnTo>
                  <a:lnTo>
                    <a:pt x="1617" y="1721"/>
                  </a:lnTo>
                  <a:lnTo>
                    <a:pt x="1630" y="1724"/>
                  </a:lnTo>
                  <a:lnTo>
                    <a:pt x="1644" y="1725"/>
                  </a:lnTo>
                  <a:lnTo>
                    <a:pt x="1660" y="1724"/>
                  </a:lnTo>
                  <a:lnTo>
                    <a:pt x="1676" y="1722"/>
                  </a:lnTo>
                  <a:lnTo>
                    <a:pt x="1692" y="1720"/>
                  </a:lnTo>
                  <a:lnTo>
                    <a:pt x="1710" y="1716"/>
                  </a:lnTo>
                  <a:lnTo>
                    <a:pt x="1727" y="1711"/>
                  </a:lnTo>
                  <a:lnTo>
                    <a:pt x="1744" y="1705"/>
                  </a:lnTo>
                  <a:lnTo>
                    <a:pt x="1779" y="1691"/>
                  </a:lnTo>
                  <a:lnTo>
                    <a:pt x="1815" y="1676"/>
                  </a:lnTo>
                  <a:lnTo>
                    <a:pt x="1849" y="1659"/>
                  </a:lnTo>
                  <a:lnTo>
                    <a:pt x="1880" y="1643"/>
                  </a:lnTo>
                  <a:lnTo>
                    <a:pt x="1880" y="1643"/>
                  </a:lnTo>
                  <a:lnTo>
                    <a:pt x="1942" y="1611"/>
                  </a:lnTo>
                  <a:lnTo>
                    <a:pt x="1979" y="1593"/>
                  </a:lnTo>
                  <a:lnTo>
                    <a:pt x="2013" y="1577"/>
                  </a:lnTo>
                  <a:lnTo>
                    <a:pt x="2013" y="1577"/>
                  </a:lnTo>
                  <a:lnTo>
                    <a:pt x="2041" y="1565"/>
                  </a:lnTo>
                  <a:lnTo>
                    <a:pt x="2054" y="1561"/>
                  </a:lnTo>
                  <a:lnTo>
                    <a:pt x="2068" y="1557"/>
                  </a:lnTo>
                  <a:lnTo>
                    <a:pt x="2081" y="1554"/>
                  </a:lnTo>
                  <a:lnTo>
                    <a:pt x="2093" y="1552"/>
                  </a:lnTo>
                  <a:lnTo>
                    <a:pt x="2105" y="1550"/>
                  </a:lnTo>
                  <a:lnTo>
                    <a:pt x="2119" y="1550"/>
                  </a:lnTo>
                  <a:lnTo>
                    <a:pt x="2131" y="1550"/>
                  </a:lnTo>
                  <a:lnTo>
                    <a:pt x="2143" y="1551"/>
                  </a:lnTo>
                  <a:lnTo>
                    <a:pt x="2156" y="1553"/>
                  </a:lnTo>
                  <a:lnTo>
                    <a:pt x="2170" y="1555"/>
                  </a:lnTo>
                  <a:lnTo>
                    <a:pt x="2183" y="1559"/>
                  </a:lnTo>
                  <a:lnTo>
                    <a:pt x="2196" y="1563"/>
                  </a:lnTo>
                  <a:lnTo>
                    <a:pt x="2211" y="1569"/>
                  </a:lnTo>
                  <a:lnTo>
                    <a:pt x="2226" y="1576"/>
                  </a:lnTo>
                  <a:lnTo>
                    <a:pt x="2226" y="1576"/>
                  </a:lnTo>
                  <a:lnTo>
                    <a:pt x="2246" y="1586"/>
                  </a:lnTo>
                  <a:lnTo>
                    <a:pt x="2265" y="1596"/>
                  </a:lnTo>
                  <a:lnTo>
                    <a:pt x="2281" y="1607"/>
                  </a:lnTo>
                  <a:lnTo>
                    <a:pt x="2295" y="1616"/>
                  </a:lnTo>
                  <a:lnTo>
                    <a:pt x="2305" y="1626"/>
                  </a:lnTo>
                  <a:lnTo>
                    <a:pt x="2312" y="1633"/>
                  </a:lnTo>
                  <a:lnTo>
                    <a:pt x="2319" y="1639"/>
                  </a:lnTo>
                  <a:lnTo>
                    <a:pt x="2319" y="1639"/>
                  </a:lnTo>
                  <a:lnTo>
                    <a:pt x="2317" y="1642"/>
                  </a:lnTo>
                  <a:lnTo>
                    <a:pt x="2313" y="1649"/>
                  </a:lnTo>
                  <a:lnTo>
                    <a:pt x="2305" y="1660"/>
                  </a:lnTo>
                  <a:lnTo>
                    <a:pt x="2300" y="1667"/>
                  </a:lnTo>
                  <a:lnTo>
                    <a:pt x="2293" y="1674"/>
                  </a:lnTo>
                  <a:lnTo>
                    <a:pt x="2285" y="1680"/>
                  </a:lnTo>
                  <a:lnTo>
                    <a:pt x="2276" y="1687"/>
                  </a:lnTo>
                  <a:lnTo>
                    <a:pt x="2267" y="1693"/>
                  </a:lnTo>
                  <a:lnTo>
                    <a:pt x="2255" y="1698"/>
                  </a:lnTo>
                  <a:lnTo>
                    <a:pt x="2242" y="1703"/>
                  </a:lnTo>
                  <a:lnTo>
                    <a:pt x="2228" y="1707"/>
                  </a:lnTo>
                  <a:lnTo>
                    <a:pt x="2212" y="1711"/>
                  </a:lnTo>
                  <a:lnTo>
                    <a:pt x="2194" y="1712"/>
                  </a:lnTo>
                  <a:lnTo>
                    <a:pt x="2194" y="1712"/>
                  </a:lnTo>
                  <a:lnTo>
                    <a:pt x="2180" y="1713"/>
                  </a:lnTo>
                  <a:lnTo>
                    <a:pt x="2166" y="1712"/>
                  </a:lnTo>
                  <a:lnTo>
                    <a:pt x="2152" y="1710"/>
                  </a:lnTo>
                  <a:lnTo>
                    <a:pt x="2139" y="1706"/>
                  </a:lnTo>
                  <a:lnTo>
                    <a:pt x="2127" y="1703"/>
                  </a:lnTo>
                  <a:lnTo>
                    <a:pt x="2115" y="1699"/>
                  </a:lnTo>
                  <a:lnTo>
                    <a:pt x="2103" y="1695"/>
                  </a:lnTo>
                  <a:lnTo>
                    <a:pt x="2092" y="1689"/>
                  </a:lnTo>
                  <a:lnTo>
                    <a:pt x="2082" y="1684"/>
                  </a:lnTo>
                  <a:lnTo>
                    <a:pt x="2073" y="1678"/>
                  </a:lnTo>
                  <a:lnTo>
                    <a:pt x="2064" y="1672"/>
                  </a:lnTo>
                  <a:lnTo>
                    <a:pt x="2056" y="1665"/>
                  </a:lnTo>
                  <a:lnTo>
                    <a:pt x="2048" y="1657"/>
                  </a:lnTo>
                  <a:lnTo>
                    <a:pt x="2042" y="1650"/>
                  </a:lnTo>
                  <a:lnTo>
                    <a:pt x="2036" y="1643"/>
                  </a:lnTo>
                  <a:lnTo>
                    <a:pt x="2031" y="1636"/>
                  </a:lnTo>
                  <a:lnTo>
                    <a:pt x="2031" y="1636"/>
                  </a:lnTo>
                  <a:lnTo>
                    <a:pt x="2022" y="1658"/>
                  </a:lnTo>
                  <a:lnTo>
                    <a:pt x="2013" y="1676"/>
                  </a:lnTo>
                  <a:lnTo>
                    <a:pt x="2007" y="1689"/>
                  </a:lnTo>
                  <a:lnTo>
                    <a:pt x="2007" y="1689"/>
                  </a:lnTo>
                  <a:lnTo>
                    <a:pt x="2003" y="1697"/>
                  </a:lnTo>
                  <a:lnTo>
                    <a:pt x="2000" y="1704"/>
                  </a:lnTo>
                  <a:lnTo>
                    <a:pt x="1998" y="1713"/>
                  </a:lnTo>
                  <a:lnTo>
                    <a:pt x="1997" y="1719"/>
                  </a:lnTo>
                  <a:lnTo>
                    <a:pt x="1997" y="1726"/>
                  </a:lnTo>
                  <a:lnTo>
                    <a:pt x="1997" y="1732"/>
                  </a:lnTo>
                  <a:lnTo>
                    <a:pt x="1999" y="1744"/>
                  </a:lnTo>
                  <a:lnTo>
                    <a:pt x="2001" y="1756"/>
                  </a:lnTo>
                  <a:lnTo>
                    <a:pt x="2003" y="1766"/>
                  </a:lnTo>
                  <a:lnTo>
                    <a:pt x="2004" y="1777"/>
                  </a:lnTo>
                  <a:lnTo>
                    <a:pt x="2003" y="1783"/>
                  </a:lnTo>
                  <a:lnTo>
                    <a:pt x="2001" y="1788"/>
                  </a:lnTo>
                  <a:lnTo>
                    <a:pt x="2001" y="1788"/>
                  </a:lnTo>
                  <a:lnTo>
                    <a:pt x="1999" y="1794"/>
                  </a:lnTo>
                  <a:lnTo>
                    <a:pt x="1995" y="1800"/>
                  </a:lnTo>
                  <a:lnTo>
                    <a:pt x="1986" y="1813"/>
                  </a:lnTo>
                  <a:lnTo>
                    <a:pt x="1973" y="1825"/>
                  </a:lnTo>
                  <a:lnTo>
                    <a:pt x="1960" y="1837"/>
                  </a:lnTo>
                  <a:lnTo>
                    <a:pt x="1945" y="1849"/>
                  </a:lnTo>
                  <a:lnTo>
                    <a:pt x="1931" y="1860"/>
                  </a:lnTo>
                  <a:lnTo>
                    <a:pt x="1904" y="1878"/>
                  </a:lnTo>
                  <a:lnTo>
                    <a:pt x="1904" y="1878"/>
                  </a:lnTo>
                  <a:lnTo>
                    <a:pt x="1886" y="1889"/>
                  </a:lnTo>
                  <a:lnTo>
                    <a:pt x="1864" y="1901"/>
                  </a:lnTo>
                  <a:lnTo>
                    <a:pt x="1842" y="1911"/>
                  </a:lnTo>
                  <a:lnTo>
                    <a:pt x="1819" y="1919"/>
                  </a:lnTo>
                  <a:lnTo>
                    <a:pt x="1798" y="1926"/>
                  </a:lnTo>
                  <a:lnTo>
                    <a:pt x="1779" y="1932"/>
                  </a:lnTo>
                  <a:lnTo>
                    <a:pt x="1754" y="1940"/>
                  </a:lnTo>
                  <a:lnTo>
                    <a:pt x="1754" y="1940"/>
                  </a:lnTo>
                  <a:lnTo>
                    <a:pt x="1779" y="1998"/>
                  </a:lnTo>
                  <a:lnTo>
                    <a:pt x="1811" y="2066"/>
                  </a:lnTo>
                  <a:lnTo>
                    <a:pt x="1811" y="2066"/>
                  </a:lnTo>
                  <a:lnTo>
                    <a:pt x="1833" y="2111"/>
                  </a:lnTo>
                  <a:lnTo>
                    <a:pt x="1862" y="2166"/>
                  </a:lnTo>
                  <a:lnTo>
                    <a:pt x="1877" y="2193"/>
                  </a:lnTo>
                  <a:lnTo>
                    <a:pt x="1893" y="2219"/>
                  </a:lnTo>
                  <a:lnTo>
                    <a:pt x="1909" y="2240"/>
                  </a:lnTo>
                  <a:lnTo>
                    <a:pt x="1916" y="2250"/>
                  </a:lnTo>
                  <a:lnTo>
                    <a:pt x="1924" y="2259"/>
                  </a:lnTo>
                  <a:lnTo>
                    <a:pt x="1924" y="2259"/>
                  </a:lnTo>
                  <a:lnTo>
                    <a:pt x="1940" y="2254"/>
                  </a:lnTo>
                  <a:lnTo>
                    <a:pt x="1957" y="2249"/>
                  </a:lnTo>
                  <a:lnTo>
                    <a:pt x="1980" y="2243"/>
                  </a:lnTo>
                  <a:lnTo>
                    <a:pt x="2004" y="2235"/>
                  </a:lnTo>
                  <a:lnTo>
                    <a:pt x="2031" y="2225"/>
                  </a:lnTo>
                  <a:lnTo>
                    <a:pt x="2057" y="2213"/>
                  </a:lnTo>
                  <a:lnTo>
                    <a:pt x="2071" y="2206"/>
                  </a:lnTo>
                  <a:lnTo>
                    <a:pt x="2083" y="2199"/>
                  </a:lnTo>
                  <a:lnTo>
                    <a:pt x="2083" y="2199"/>
                  </a:lnTo>
                  <a:lnTo>
                    <a:pt x="2105" y="2186"/>
                  </a:lnTo>
                  <a:lnTo>
                    <a:pt x="2126" y="2172"/>
                  </a:lnTo>
                  <a:lnTo>
                    <a:pt x="2145" y="2157"/>
                  </a:lnTo>
                  <a:lnTo>
                    <a:pt x="2162" y="2142"/>
                  </a:lnTo>
                  <a:lnTo>
                    <a:pt x="2177" y="2128"/>
                  </a:lnTo>
                  <a:lnTo>
                    <a:pt x="2189" y="2113"/>
                  </a:lnTo>
                  <a:lnTo>
                    <a:pt x="2199" y="2099"/>
                  </a:lnTo>
                  <a:lnTo>
                    <a:pt x="2207" y="2086"/>
                  </a:lnTo>
                  <a:lnTo>
                    <a:pt x="2207" y="2086"/>
                  </a:lnTo>
                  <a:lnTo>
                    <a:pt x="2190" y="2122"/>
                  </a:lnTo>
                  <a:lnTo>
                    <a:pt x="2175" y="2155"/>
                  </a:lnTo>
                  <a:lnTo>
                    <a:pt x="2161" y="2185"/>
                  </a:lnTo>
                  <a:lnTo>
                    <a:pt x="2146" y="2213"/>
                  </a:lnTo>
                  <a:lnTo>
                    <a:pt x="2132" y="2238"/>
                  </a:lnTo>
                  <a:lnTo>
                    <a:pt x="2119" y="2261"/>
                  </a:lnTo>
                  <a:lnTo>
                    <a:pt x="2105" y="2281"/>
                  </a:lnTo>
                  <a:lnTo>
                    <a:pt x="2092" y="2299"/>
                  </a:lnTo>
                  <a:lnTo>
                    <a:pt x="2080" y="2317"/>
                  </a:lnTo>
                  <a:lnTo>
                    <a:pt x="2068" y="2331"/>
                  </a:lnTo>
                  <a:lnTo>
                    <a:pt x="2055" y="2344"/>
                  </a:lnTo>
                  <a:lnTo>
                    <a:pt x="2044" y="2356"/>
                  </a:lnTo>
                  <a:lnTo>
                    <a:pt x="2033" y="2367"/>
                  </a:lnTo>
                  <a:lnTo>
                    <a:pt x="2022" y="2376"/>
                  </a:lnTo>
                  <a:lnTo>
                    <a:pt x="2011" y="2383"/>
                  </a:lnTo>
                  <a:lnTo>
                    <a:pt x="2000" y="2391"/>
                  </a:lnTo>
                  <a:lnTo>
                    <a:pt x="2000" y="2391"/>
                  </a:lnTo>
                  <a:lnTo>
                    <a:pt x="1907" y="2452"/>
                  </a:lnTo>
                  <a:lnTo>
                    <a:pt x="1797" y="2524"/>
                  </a:lnTo>
                  <a:lnTo>
                    <a:pt x="1735" y="2563"/>
                  </a:lnTo>
                  <a:lnTo>
                    <a:pt x="1671" y="2602"/>
                  </a:lnTo>
                  <a:lnTo>
                    <a:pt x="1602" y="2642"/>
                  </a:lnTo>
                  <a:lnTo>
                    <a:pt x="1532" y="2682"/>
                  </a:lnTo>
                  <a:lnTo>
                    <a:pt x="1459" y="2720"/>
                  </a:lnTo>
                  <a:lnTo>
                    <a:pt x="1422" y="2739"/>
                  </a:lnTo>
                  <a:lnTo>
                    <a:pt x="1384" y="2756"/>
                  </a:lnTo>
                  <a:lnTo>
                    <a:pt x="1347" y="2774"/>
                  </a:lnTo>
                  <a:lnTo>
                    <a:pt x="1308" y="2791"/>
                  </a:lnTo>
                  <a:lnTo>
                    <a:pt x="1269" y="2808"/>
                  </a:lnTo>
                  <a:lnTo>
                    <a:pt x="1230" y="2823"/>
                  </a:lnTo>
                  <a:lnTo>
                    <a:pt x="1190" y="2837"/>
                  </a:lnTo>
                  <a:lnTo>
                    <a:pt x="1151" y="2851"/>
                  </a:lnTo>
                  <a:lnTo>
                    <a:pt x="1111" y="2864"/>
                  </a:lnTo>
                  <a:lnTo>
                    <a:pt x="1072" y="2875"/>
                  </a:lnTo>
                  <a:lnTo>
                    <a:pt x="1032" y="2885"/>
                  </a:lnTo>
                  <a:lnTo>
                    <a:pt x="992" y="2893"/>
                  </a:lnTo>
                  <a:lnTo>
                    <a:pt x="952" y="2902"/>
                  </a:lnTo>
                  <a:lnTo>
                    <a:pt x="913" y="2908"/>
                  </a:lnTo>
                  <a:lnTo>
                    <a:pt x="913" y="2908"/>
                  </a:lnTo>
                  <a:lnTo>
                    <a:pt x="901" y="2908"/>
                  </a:lnTo>
                  <a:lnTo>
                    <a:pt x="889" y="2907"/>
                  </a:lnTo>
                  <a:lnTo>
                    <a:pt x="876" y="2904"/>
                  </a:lnTo>
                  <a:lnTo>
                    <a:pt x="863" y="2901"/>
                  </a:lnTo>
                  <a:lnTo>
                    <a:pt x="850" y="2898"/>
                  </a:lnTo>
                  <a:lnTo>
                    <a:pt x="836" y="2892"/>
                  </a:lnTo>
                  <a:lnTo>
                    <a:pt x="809" y="2880"/>
                  </a:lnTo>
                  <a:lnTo>
                    <a:pt x="781" y="2866"/>
                  </a:lnTo>
                  <a:lnTo>
                    <a:pt x="754" y="2850"/>
                  </a:lnTo>
                  <a:lnTo>
                    <a:pt x="726" y="2832"/>
                  </a:lnTo>
                  <a:lnTo>
                    <a:pt x="698" y="2813"/>
                  </a:lnTo>
                  <a:lnTo>
                    <a:pt x="672" y="2792"/>
                  </a:lnTo>
                  <a:lnTo>
                    <a:pt x="646" y="2772"/>
                  </a:lnTo>
                  <a:lnTo>
                    <a:pt x="623" y="2751"/>
                  </a:lnTo>
                  <a:lnTo>
                    <a:pt x="600" y="2731"/>
                  </a:lnTo>
                  <a:lnTo>
                    <a:pt x="581" y="2711"/>
                  </a:lnTo>
                  <a:lnTo>
                    <a:pt x="563" y="2694"/>
                  </a:lnTo>
                  <a:lnTo>
                    <a:pt x="548" y="2679"/>
                  </a:lnTo>
                  <a:lnTo>
                    <a:pt x="537" y="2665"/>
                  </a:lnTo>
                  <a:lnTo>
                    <a:pt x="537" y="2665"/>
                  </a:lnTo>
                  <a:lnTo>
                    <a:pt x="533" y="2661"/>
                  </a:lnTo>
                  <a:lnTo>
                    <a:pt x="530" y="2657"/>
                  </a:lnTo>
                  <a:lnTo>
                    <a:pt x="520" y="2652"/>
                  </a:lnTo>
                  <a:lnTo>
                    <a:pt x="512" y="2650"/>
                  </a:lnTo>
                  <a:lnTo>
                    <a:pt x="502" y="2649"/>
                  </a:lnTo>
                  <a:lnTo>
                    <a:pt x="493" y="2649"/>
                  </a:lnTo>
                  <a:lnTo>
                    <a:pt x="483" y="2651"/>
                  </a:lnTo>
                  <a:lnTo>
                    <a:pt x="473" y="2654"/>
                  </a:lnTo>
                  <a:lnTo>
                    <a:pt x="464" y="2658"/>
                  </a:lnTo>
                  <a:lnTo>
                    <a:pt x="447" y="2666"/>
                  </a:lnTo>
                  <a:lnTo>
                    <a:pt x="433" y="2676"/>
                  </a:lnTo>
                  <a:lnTo>
                    <a:pt x="419" y="2686"/>
                  </a:lnTo>
                  <a:lnTo>
                    <a:pt x="419" y="2686"/>
                  </a:lnTo>
                  <a:lnTo>
                    <a:pt x="412" y="2685"/>
                  </a:lnTo>
                  <a:lnTo>
                    <a:pt x="393" y="2683"/>
                  </a:lnTo>
                  <a:lnTo>
                    <a:pt x="379" y="2683"/>
                  </a:lnTo>
                  <a:lnTo>
                    <a:pt x="364" y="2683"/>
                  </a:lnTo>
                  <a:lnTo>
                    <a:pt x="348" y="2684"/>
                  </a:lnTo>
                  <a:lnTo>
                    <a:pt x="329" y="2686"/>
                  </a:lnTo>
                  <a:lnTo>
                    <a:pt x="310" y="2689"/>
                  </a:lnTo>
                  <a:lnTo>
                    <a:pt x="290" y="2694"/>
                  </a:lnTo>
                  <a:lnTo>
                    <a:pt x="271" y="2700"/>
                  </a:lnTo>
                  <a:lnTo>
                    <a:pt x="252" y="2709"/>
                  </a:lnTo>
                  <a:lnTo>
                    <a:pt x="242" y="2715"/>
                  </a:lnTo>
                  <a:lnTo>
                    <a:pt x="233" y="2720"/>
                  </a:lnTo>
                  <a:lnTo>
                    <a:pt x="224" y="2726"/>
                  </a:lnTo>
                  <a:lnTo>
                    <a:pt x="216" y="2733"/>
                  </a:lnTo>
                  <a:lnTo>
                    <a:pt x="207" y="2741"/>
                  </a:lnTo>
                  <a:lnTo>
                    <a:pt x="199" y="2749"/>
                  </a:lnTo>
                  <a:lnTo>
                    <a:pt x="191" y="2759"/>
                  </a:lnTo>
                  <a:lnTo>
                    <a:pt x="184" y="2768"/>
                  </a:lnTo>
                  <a:lnTo>
                    <a:pt x="184" y="2768"/>
                  </a:lnTo>
                  <a:lnTo>
                    <a:pt x="183" y="2771"/>
                  </a:lnTo>
                  <a:lnTo>
                    <a:pt x="185" y="2773"/>
                  </a:lnTo>
                  <a:lnTo>
                    <a:pt x="188" y="2774"/>
                  </a:lnTo>
                  <a:lnTo>
                    <a:pt x="193" y="2774"/>
                  </a:lnTo>
                  <a:lnTo>
                    <a:pt x="210" y="2772"/>
                  </a:lnTo>
                  <a:lnTo>
                    <a:pt x="230" y="2770"/>
                  </a:lnTo>
                  <a:lnTo>
                    <a:pt x="255" y="2768"/>
                  </a:lnTo>
                  <a:lnTo>
                    <a:pt x="280" y="2767"/>
                  </a:lnTo>
                  <a:lnTo>
                    <a:pt x="293" y="2768"/>
                  </a:lnTo>
                  <a:lnTo>
                    <a:pt x="307" y="2769"/>
                  </a:lnTo>
                  <a:lnTo>
                    <a:pt x="319" y="2771"/>
                  </a:lnTo>
                  <a:lnTo>
                    <a:pt x="331" y="2774"/>
                  </a:lnTo>
                  <a:lnTo>
                    <a:pt x="331" y="2774"/>
                  </a:lnTo>
                  <a:lnTo>
                    <a:pt x="338" y="2777"/>
                  </a:lnTo>
                  <a:lnTo>
                    <a:pt x="343" y="2780"/>
                  </a:lnTo>
                  <a:lnTo>
                    <a:pt x="346" y="2783"/>
                  </a:lnTo>
                  <a:lnTo>
                    <a:pt x="347" y="2786"/>
                  </a:lnTo>
                  <a:lnTo>
                    <a:pt x="347" y="2789"/>
                  </a:lnTo>
                  <a:lnTo>
                    <a:pt x="345" y="2793"/>
                  </a:lnTo>
                  <a:lnTo>
                    <a:pt x="339" y="2801"/>
                  </a:lnTo>
                  <a:lnTo>
                    <a:pt x="332" y="2811"/>
                  </a:lnTo>
                  <a:lnTo>
                    <a:pt x="325" y="2822"/>
                  </a:lnTo>
                  <a:lnTo>
                    <a:pt x="321" y="2828"/>
                  </a:lnTo>
                  <a:lnTo>
                    <a:pt x="319" y="2834"/>
                  </a:lnTo>
                  <a:lnTo>
                    <a:pt x="317" y="2840"/>
                  </a:lnTo>
                  <a:lnTo>
                    <a:pt x="317" y="2847"/>
                  </a:lnTo>
                  <a:lnTo>
                    <a:pt x="317" y="2847"/>
                  </a:lnTo>
                  <a:lnTo>
                    <a:pt x="317" y="2853"/>
                  </a:lnTo>
                  <a:lnTo>
                    <a:pt x="319" y="2859"/>
                  </a:lnTo>
                  <a:lnTo>
                    <a:pt x="321" y="2864"/>
                  </a:lnTo>
                  <a:lnTo>
                    <a:pt x="324" y="2869"/>
                  </a:lnTo>
                  <a:lnTo>
                    <a:pt x="328" y="2874"/>
                  </a:lnTo>
                  <a:lnTo>
                    <a:pt x="333" y="2879"/>
                  </a:lnTo>
                  <a:lnTo>
                    <a:pt x="346" y="2889"/>
                  </a:lnTo>
                  <a:lnTo>
                    <a:pt x="361" y="2899"/>
                  </a:lnTo>
                  <a:lnTo>
                    <a:pt x="377" y="2908"/>
                  </a:lnTo>
                  <a:lnTo>
                    <a:pt x="397" y="2917"/>
                  </a:lnTo>
                  <a:lnTo>
                    <a:pt x="416" y="2925"/>
                  </a:lnTo>
                  <a:lnTo>
                    <a:pt x="458" y="2941"/>
                  </a:lnTo>
                  <a:lnTo>
                    <a:pt x="500" y="2955"/>
                  </a:lnTo>
                  <a:lnTo>
                    <a:pt x="571" y="2976"/>
                  </a:lnTo>
                  <a:lnTo>
                    <a:pt x="571" y="2976"/>
                  </a:lnTo>
                  <a:lnTo>
                    <a:pt x="579" y="2980"/>
                  </a:lnTo>
                  <a:lnTo>
                    <a:pt x="585" y="2984"/>
                  </a:lnTo>
                  <a:lnTo>
                    <a:pt x="588" y="2990"/>
                  </a:lnTo>
                  <a:lnTo>
                    <a:pt x="590" y="2995"/>
                  </a:lnTo>
                  <a:lnTo>
                    <a:pt x="590" y="2999"/>
                  </a:lnTo>
                  <a:lnTo>
                    <a:pt x="588" y="3003"/>
                  </a:lnTo>
                  <a:lnTo>
                    <a:pt x="585" y="3005"/>
                  </a:lnTo>
                  <a:lnTo>
                    <a:pt x="581" y="3006"/>
                  </a:lnTo>
                  <a:lnTo>
                    <a:pt x="581" y="3006"/>
                  </a:lnTo>
                  <a:lnTo>
                    <a:pt x="556" y="3005"/>
                  </a:lnTo>
                  <a:lnTo>
                    <a:pt x="532" y="3002"/>
                  </a:lnTo>
                  <a:lnTo>
                    <a:pt x="509" y="2999"/>
                  </a:lnTo>
                  <a:lnTo>
                    <a:pt x="488" y="2994"/>
                  </a:lnTo>
                  <a:lnTo>
                    <a:pt x="467" y="2989"/>
                  </a:lnTo>
                  <a:lnTo>
                    <a:pt x="448" y="2982"/>
                  </a:lnTo>
                  <a:lnTo>
                    <a:pt x="429" y="2976"/>
                  </a:lnTo>
                  <a:lnTo>
                    <a:pt x="412" y="2970"/>
                  </a:lnTo>
                  <a:lnTo>
                    <a:pt x="380" y="2957"/>
                  </a:lnTo>
                  <a:lnTo>
                    <a:pt x="352" y="2945"/>
                  </a:lnTo>
                  <a:lnTo>
                    <a:pt x="327" y="2933"/>
                  </a:lnTo>
                  <a:lnTo>
                    <a:pt x="316" y="2929"/>
                  </a:lnTo>
                  <a:lnTo>
                    <a:pt x="305" y="2925"/>
                  </a:lnTo>
                  <a:lnTo>
                    <a:pt x="305" y="2925"/>
                  </a:lnTo>
                  <a:lnTo>
                    <a:pt x="286" y="2920"/>
                  </a:lnTo>
                  <a:lnTo>
                    <a:pt x="268" y="2916"/>
                  </a:lnTo>
                  <a:lnTo>
                    <a:pt x="253" y="2913"/>
                  </a:lnTo>
                  <a:lnTo>
                    <a:pt x="237" y="2911"/>
                  </a:lnTo>
                  <a:lnTo>
                    <a:pt x="224" y="2910"/>
                  </a:lnTo>
                  <a:lnTo>
                    <a:pt x="213" y="2911"/>
                  </a:lnTo>
                  <a:lnTo>
                    <a:pt x="202" y="2912"/>
                  </a:lnTo>
                  <a:lnTo>
                    <a:pt x="192" y="2914"/>
                  </a:lnTo>
                  <a:lnTo>
                    <a:pt x="185" y="2918"/>
                  </a:lnTo>
                  <a:lnTo>
                    <a:pt x="178" y="2922"/>
                  </a:lnTo>
                  <a:lnTo>
                    <a:pt x="172" y="2927"/>
                  </a:lnTo>
                  <a:lnTo>
                    <a:pt x="167" y="2933"/>
                  </a:lnTo>
                  <a:lnTo>
                    <a:pt x="163" y="2939"/>
                  </a:lnTo>
                  <a:lnTo>
                    <a:pt x="160" y="2948"/>
                  </a:lnTo>
                  <a:lnTo>
                    <a:pt x="156" y="2956"/>
                  </a:lnTo>
                  <a:lnTo>
                    <a:pt x="155" y="2965"/>
                  </a:lnTo>
                  <a:lnTo>
                    <a:pt x="155" y="2965"/>
                  </a:lnTo>
                  <a:lnTo>
                    <a:pt x="154" y="2968"/>
                  </a:lnTo>
                  <a:lnTo>
                    <a:pt x="152" y="2971"/>
                  </a:lnTo>
                  <a:lnTo>
                    <a:pt x="150" y="2974"/>
                  </a:lnTo>
                  <a:lnTo>
                    <a:pt x="147" y="2976"/>
                  </a:lnTo>
                  <a:lnTo>
                    <a:pt x="140" y="2980"/>
                  </a:lnTo>
                  <a:lnTo>
                    <a:pt x="132" y="2985"/>
                  </a:lnTo>
                  <a:lnTo>
                    <a:pt x="109" y="2995"/>
                  </a:lnTo>
                  <a:lnTo>
                    <a:pt x="97" y="3001"/>
                  </a:lnTo>
                  <a:lnTo>
                    <a:pt x="84" y="3009"/>
                  </a:lnTo>
                  <a:lnTo>
                    <a:pt x="71" y="3019"/>
                  </a:lnTo>
                  <a:lnTo>
                    <a:pt x="57" y="3033"/>
                  </a:lnTo>
                  <a:lnTo>
                    <a:pt x="51" y="3040"/>
                  </a:lnTo>
                  <a:lnTo>
                    <a:pt x="45" y="3048"/>
                  </a:lnTo>
                  <a:lnTo>
                    <a:pt x="39" y="3058"/>
                  </a:lnTo>
                  <a:lnTo>
                    <a:pt x="33" y="3068"/>
                  </a:lnTo>
                  <a:lnTo>
                    <a:pt x="28" y="3080"/>
                  </a:lnTo>
                  <a:lnTo>
                    <a:pt x="22" y="3092"/>
                  </a:lnTo>
                  <a:lnTo>
                    <a:pt x="17" y="3106"/>
                  </a:lnTo>
                  <a:lnTo>
                    <a:pt x="13" y="3120"/>
                  </a:lnTo>
                  <a:lnTo>
                    <a:pt x="9" y="3137"/>
                  </a:lnTo>
                  <a:lnTo>
                    <a:pt x="6" y="3154"/>
                  </a:lnTo>
                  <a:lnTo>
                    <a:pt x="3" y="3174"/>
                  </a:lnTo>
                  <a:lnTo>
                    <a:pt x="0" y="3194"/>
                  </a:lnTo>
                  <a:lnTo>
                    <a:pt x="0" y="3194"/>
                  </a:lnTo>
                  <a:lnTo>
                    <a:pt x="1" y="3195"/>
                  </a:lnTo>
                  <a:lnTo>
                    <a:pt x="2" y="3196"/>
                  </a:lnTo>
                  <a:lnTo>
                    <a:pt x="6" y="3194"/>
                  </a:lnTo>
                  <a:lnTo>
                    <a:pt x="12" y="3189"/>
                  </a:lnTo>
                  <a:lnTo>
                    <a:pt x="20" y="3181"/>
                  </a:lnTo>
                  <a:lnTo>
                    <a:pt x="43" y="3158"/>
                  </a:lnTo>
                  <a:lnTo>
                    <a:pt x="69" y="3134"/>
                  </a:lnTo>
                  <a:lnTo>
                    <a:pt x="82" y="3121"/>
                  </a:lnTo>
                  <a:lnTo>
                    <a:pt x="95" y="3110"/>
                  </a:lnTo>
                  <a:lnTo>
                    <a:pt x="107" y="3101"/>
                  </a:lnTo>
                  <a:lnTo>
                    <a:pt x="119" y="3094"/>
                  </a:lnTo>
                  <a:lnTo>
                    <a:pt x="124" y="3091"/>
                  </a:lnTo>
                  <a:lnTo>
                    <a:pt x="129" y="3090"/>
                  </a:lnTo>
                  <a:lnTo>
                    <a:pt x="133" y="3089"/>
                  </a:lnTo>
                  <a:lnTo>
                    <a:pt x="137" y="3089"/>
                  </a:lnTo>
                  <a:lnTo>
                    <a:pt x="140" y="3091"/>
                  </a:lnTo>
                  <a:lnTo>
                    <a:pt x="143" y="3093"/>
                  </a:lnTo>
                  <a:lnTo>
                    <a:pt x="144" y="3097"/>
                  </a:lnTo>
                  <a:lnTo>
                    <a:pt x="146" y="3101"/>
                  </a:lnTo>
                  <a:lnTo>
                    <a:pt x="146" y="3101"/>
                  </a:lnTo>
                  <a:lnTo>
                    <a:pt x="149" y="3117"/>
                  </a:lnTo>
                  <a:lnTo>
                    <a:pt x="154" y="3132"/>
                  </a:lnTo>
                  <a:lnTo>
                    <a:pt x="162" y="3145"/>
                  </a:lnTo>
                  <a:lnTo>
                    <a:pt x="170" y="3155"/>
                  </a:lnTo>
                  <a:lnTo>
                    <a:pt x="179" y="3165"/>
                  </a:lnTo>
                  <a:lnTo>
                    <a:pt x="189" y="3173"/>
                  </a:lnTo>
                  <a:lnTo>
                    <a:pt x="200" y="3180"/>
                  </a:lnTo>
                  <a:lnTo>
                    <a:pt x="214" y="3185"/>
                  </a:lnTo>
                  <a:lnTo>
                    <a:pt x="227" y="3189"/>
                  </a:lnTo>
                  <a:lnTo>
                    <a:pt x="241" y="3191"/>
                  </a:lnTo>
                  <a:lnTo>
                    <a:pt x="256" y="3193"/>
                  </a:lnTo>
                  <a:lnTo>
                    <a:pt x="271" y="3194"/>
                  </a:lnTo>
                  <a:lnTo>
                    <a:pt x="287" y="3195"/>
                  </a:lnTo>
                  <a:lnTo>
                    <a:pt x="304" y="3194"/>
                  </a:lnTo>
                  <a:lnTo>
                    <a:pt x="337" y="3192"/>
                  </a:lnTo>
                  <a:lnTo>
                    <a:pt x="371" y="3188"/>
                  </a:lnTo>
                  <a:lnTo>
                    <a:pt x="405" y="3183"/>
                  </a:lnTo>
                  <a:lnTo>
                    <a:pt x="438" y="3178"/>
                  </a:lnTo>
                  <a:lnTo>
                    <a:pt x="468" y="3174"/>
                  </a:lnTo>
                  <a:lnTo>
                    <a:pt x="496" y="3172"/>
                  </a:lnTo>
                  <a:lnTo>
                    <a:pt x="509" y="3171"/>
                  </a:lnTo>
                  <a:lnTo>
                    <a:pt x="520" y="3171"/>
                  </a:lnTo>
                  <a:lnTo>
                    <a:pt x="531" y="3172"/>
                  </a:lnTo>
                  <a:lnTo>
                    <a:pt x="541" y="3174"/>
                  </a:lnTo>
                  <a:lnTo>
                    <a:pt x="549" y="3177"/>
                  </a:lnTo>
                  <a:lnTo>
                    <a:pt x="555" y="3181"/>
                  </a:lnTo>
                  <a:lnTo>
                    <a:pt x="555" y="3181"/>
                  </a:lnTo>
                  <a:lnTo>
                    <a:pt x="558" y="3184"/>
                  </a:lnTo>
                  <a:lnTo>
                    <a:pt x="559" y="3186"/>
                  </a:lnTo>
                  <a:lnTo>
                    <a:pt x="557" y="3189"/>
                  </a:lnTo>
                  <a:lnTo>
                    <a:pt x="554" y="3191"/>
                  </a:lnTo>
                  <a:lnTo>
                    <a:pt x="549" y="3194"/>
                  </a:lnTo>
                  <a:lnTo>
                    <a:pt x="542" y="3196"/>
                  </a:lnTo>
                  <a:lnTo>
                    <a:pt x="525" y="3200"/>
                  </a:lnTo>
                  <a:lnTo>
                    <a:pt x="475" y="3209"/>
                  </a:lnTo>
                  <a:lnTo>
                    <a:pt x="447" y="3215"/>
                  </a:lnTo>
                  <a:lnTo>
                    <a:pt x="417" y="3221"/>
                  </a:lnTo>
                  <a:lnTo>
                    <a:pt x="388" y="3228"/>
                  </a:lnTo>
                  <a:lnTo>
                    <a:pt x="359" y="3236"/>
                  </a:lnTo>
                  <a:lnTo>
                    <a:pt x="346" y="3240"/>
                  </a:lnTo>
                  <a:lnTo>
                    <a:pt x="333" y="3245"/>
                  </a:lnTo>
                  <a:lnTo>
                    <a:pt x="322" y="3250"/>
                  </a:lnTo>
                  <a:lnTo>
                    <a:pt x="312" y="3256"/>
                  </a:lnTo>
                  <a:lnTo>
                    <a:pt x="303" y="3263"/>
                  </a:lnTo>
                  <a:lnTo>
                    <a:pt x="294" y="3269"/>
                  </a:lnTo>
                  <a:lnTo>
                    <a:pt x="288" y="3276"/>
                  </a:lnTo>
                  <a:lnTo>
                    <a:pt x="284" y="3284"/>
                  </a:lnTo>
                  <a:lnTo>
                    <a:pt x="282" y="3292"/>
                  </a:lnTo>
                  <a:lnTo>
                    <a:pt x="281" y="3300"/>
                  </a:lnTo>
                  <a:lnTo>
                    <a:pt x="283" y="3311"/>
                  </a:lnTo>
                  <a:lnTo>
                    <a:pt x="287" y="3321"/>
                  </a:lnTo>
                  <a:lnTo>
                    <a:pt x="287" y="3321"/>
                  </a:lnTo>
                  <a:lnTo>
                    <a:pt x="287" y="3322"/>
                  </a:lnTo>
                  <a:lnTo>
                    <a:pt x="286" y="3325"/>
                  </a:lnTo>
                  <a:lnTo>
                    <a:pt x="283" y="3331"/>
                  </a:lnTo>
                  <a:lnTo>
                    <a:pt x="268" y="3348"/>
                  </a:lnTo>
                  <a:lnTo>
                    <a:pt x="258" y="3361"/>
                  </a:lnTo>
                  <a:lnTo>
                    <a:pt x="247" y="3374"/>
                  </a:lnTo>
                  <a:lnTo>
                    <a:pt x="237" y="3389"/>
                  </a:lnTo>
                  <a:lnTo>
                    <a:pt x="228" y="3406"/>
                  </a:lnTo>
                  <a:lnTo>
                    <a:pt x="220" y="3423"/>
                  </a:lnTo>
                  <a:lnTo>
                    <a:pt x="217" y="3432"/>
                  </a:lnTo>
                  <a:lnTo>
                    <a:pt x="214" y="3443"/>
                  </a:lnTo>
                  <a:lnTo>
                    <a:pt x="213" y="3452"/>
                  </a:lnTo>
                  <a:lnTo>
                    <a:pt x="212" y="3463"/>
                  </a:lnTo>
                  <a:lnTo>
                    <a:pt x="212" y="3473"/>
                  </a:lnTo>
                  <a:lnTo>
                    <a:pt x="213" y="3483"/>
                  </a:lnTo>
                  <a:lnTo>
                    <a:pt x="215" y="3495"/>
                  </a:lnTo>
                  <a:lnTo>
                    <a:pt x="219" y="3506"/>
                  </a:lnTo>
                  <a:lnTo>
                    <a:pt x="223" y="3518"/>
                  </a:lnTo>
                  <a:lnTo>
                    <a:pt x="229" y="3529"/>
                  </a:lnTo>
                  <a:lnTo>
                    <a:pt x="237" y="3542"/>
                  </a:lnTo>
                  <a:lnTo>
                    <a:pt x="246" y="3554"/>
                  </a:lnTo>
                  <a:lnTo>
                    <a:pt x="257" y="3566"/>
                  </a:lnTo>
                  <a:lnTo>
                    <a:pt x="270" y="3579"/>
                  </a:lnTo>
                  <a:lnTo>
                    <a:pt x="270" y="3579"/>
                  </a:lnTo>
                  <a:lnTo>
                    <a:pt x="270" y="3572"/>
                  </a:lnTo>
                  <a:lnTo>
                    <a:pt x="272" y="3555"/>
                  </a:lnTo>
                  <a:lnTo>
                    <a:pt x="277" y="3530"/>
                  </a:lnTo>
                  <a:lnTo>
                    <a:pt x="281" y="3517"/>
                  </a:lnTo>
                  <a:lnTo>
                    <a:pt x="285" y="3503"/>
                  </a:lnTo>
                  <a:lnTo>
                    <a:pt x="291" y="3490"/>
                  </a:lnTo>
                  <a:lnTo>
                    <a:pt x="298" y="3476"/>
                  </a:lnTo>
                  <a:lnTo>
                    <a:pt x="306" y="3463"/>
                  </a:lnTo>
                  <a:lnTo>
                    <a:pt x="315" y="3453"/>
                  </a:lnTo>
                  <a:lnTo>
                    <a:pt x="321" y="3448"/>
                  </a:lnTo>
                  <a:lnTo>
                    <a:pt x="326" y="3444"/>
                  </a:lnTo>
                  <a:lnTo>
                    <a:pt x="332" y="3439"/>
                  </a:lnTo>
                  <a:lnTo>
                    <a:pt x="339" y="3436"/>
                  </a:lnTo>
                  <a:lnTo>
                    <a:pt x="346" y="3434"/>
                  </a:lnTo>
                  <a:lnTo>
                    <a:pt x="354" y="3432"/>
                  </a:lnTo>
                  <a:lnTo>
                    <a:pt x="361" y="3432"/>
                  </a:lnTo>
                  <a:lnTo>
                    <a:pt x="369" y="3432"/>
                  </a:lnTo>
                  <a:lnTo>
                    <a:pt x="369" y="3432"/>
                  </a:lnTo>
                  <a:lnTo>
                    <a:pt x="383" y="3433"/>
                  </a:lnTo>
                  <a:lnTo>
                    <a:pt x="396" y="3436"/>
                  </a:lnTo>
                  <a:lnTo>
                    <a:pt x="408" y="3440"/>
                  </a:lnTo>
                  <a:lnTo>
                    <a:pt x="420" y="3445"/>
                  </a:lnTo>
                  <a:lnTo>
                    <a:pt x="443" y="3455"/>
                  </a:lnTo>
                  <a:lnTo>
                    <a:pt x="454" y="3459"/>
                  </a:lnTo>
                  <a:lnTo>
                    <a:pt x="465" y="3463"/>
                  </a:lnTo>
                  <a:lnTo>
                    <a:pt x="476" y="3466"/>
                  </a:lnTo>
                  <a:lnTo>
                    <a:pt x="489" y="3468"/>
                  </a:lnTo>
                  <a:lnTo>
                    <a:pt x="501" y="3469"/>
                  </a:lnTo>
                  <a:lnTo>
                    <a:pt x="514" y="3467"/>
                  </a:lnTo>
                  <a:lnTo>
                    <a:pt x="528" y="3464"/>
                  </a:lnTo>
                  <a:lnTo>
                    <a:pt x="542" y="3458"/>
                  </a:lnTo>
                  <a:lnTo>
                    <a:pt x="558" y="3450"/>
                  </a:lnTo>
                  <a:lnTo>
                    <a:pt x="575" y="3437"/>
                  </a:lnTo>
                  <a:lnTo>
                    <a:pt x="575" y="3437"/>
                  </a:lnTo>
                  <a:lnTo>
                    <a:pt x="588" y="3428"/>
                  </a:lnTo>
                  <a:lnTo>
                    <a:pt x="600" y="3417"/>
                  </a:lnTo>
                  <a:lnTo>
                    <a:pt x="614" y="3405"/>
                  </a:lnTo>
                  <a:lnTo>
                    <a:pt x="630" y="3392"/>
                  </a:lnTo>
                  <a:lnTo>
                    <a:pt x="651" y="3380"/>
                  </a:lnTo>
                  <a:lnTo>
                    <a:pt x="664" y="3373"/>
                  </a:lnTo>
                  <a:lnTo>
                    <a:pt x="678" y="3367"/>
                  </a:lnTo>
                  <a:lnTo>
                    <a:pt x="693" y="3360"/>
                  </a:lnTo>
                  <a:lnTo>
                    <a:pt x="712" y="3354"/>
                  </a:lnTo>
                  <a:lnTo>
                    <a:pt x="732" y="3346"/>
                  </a:lnTo>
                  <a:lnTo>
                    <a:pt x="754" y="3339"/>
                  </a:lnTo>
                  <a:lnTo>
                    <a:pt x="754" y="3339"/>
                  </a:lnTo>
                  <a:lnTo>
                    <a:pt x="756" y="3339"/>
                  </a:lnTo>
                  <a:lnTo>
                    <a:pt x="757" y="3340"/>
                  </a:lnTo>
                  <a:lnTo>
                    <a:pt x="760" y="3345"/>
                  </a:lnTo>
                  <a:lnTo>
                    <a:pt x="762" y="3354"/>
                  </a:lnTo>
                  <a:lnTo>
                    <a:pt x="765" y="3363"/>
                  </a:lnTo>
                  <a:lnTo>
                    <a:pt x="768" y="3375"/>
                  </a:lnTo>
                  <a:lnTo>
                    <a:pt x="772" y="3387"/>
                  </a:lnTo>
                  <a:lnTo>
                    <a:pt x="777" y="3400"/>
                  </a:lnTo>
                  <a:lnTo>
                    <a:pt x="783" y="3412"/>
                  </a:lnTo>
                  <a:lnTo>
                    <a:pt x="783" y="3412"/>
                  </a:lnTo>
                  <a:lnTo>
                    <a:pt x="786" y="3415"/>
                  </a:lnTo>
                  <a:lnTo>
                    <a:pt x="789" y="3417"/>
                  </a:lnTo>
                  <a:lnTo>
                    <a:pt x="797" y="3422"/>
                  </a:lnTo>
                  <a:lnTo>
                    <a:pt x="805" y="3425"/>
                  </a:lnTo>
                  <a:lnTo>
                    <a:pt x="813" y="3429"/>
                  </a:lnTo>
                  <a:lnTo>
                    <a:pt x="821" y="3432"/>
                  </a:lnTo>
                  <a:lnTo>
                    <a:pt x="827" y="3435"/>
                  </a:lnTo>
                  <a:lnTo>
                    <a:pt x="830" y="3437"/>
                  </a:lnTo>
                  <a:lnTo>
                    <a:pt x="831" y="3439"/>
                  </a:lnTo>
                  <a:lnTo>
                    <a:pt x="833" y="3443"/>
                  </a:lnTo>
                  <a:lnTo>
                    <a:pt x="833" y="3446"/>
                  </a:lnTo>
                  <a:lnTo>
                    <a:pt x="833" y="3446"/>
                  </a:lnTo>
                  <a:lnTo>
                    <a:pt x="832" y="3456"/>
                  </a:lnTo>
                  <a:lnTo>
                    <a:pt x="830" y="3467"/>
                  </a:lnTo>
                  <a:lnTo>
                    <a:pt x="826" y="3477"/>
                  </a:lnTo>
                  <a:lnTo>
                    <a:pt x="822" y="3486"/>
                  </a:lnTo>
                  <a:lnTo>
                    <a:pt x="817" y="3496"/>
                  </a:lnTo>
                  <a:lnTo>
                    <a:pt x="811" y="3505"/>
                  </a:lnTo>
                  <a:lnTo>
                    <a:pt x="798" y="3521"/>
                  </a:lnTo>
                  <a:lnTo>
                    <a:pt x="784" y="3535"/>
                  </a:lnTo>
                  <a:lnTo>
                    <a:pt x="773" y="3546"/>
                  </a:lnTo>
                  <a:lnTo>
                    <a:pt x="765" y="3552"/>
                  </a:lnTo>
                  <a:lnTo>
                    <a:pt x="763" y="3555"/>
                  </a:lnTo>
                  <a:lnTo>
                    <a:pt x="763" y="3555"/>
                  </a:lnTo>
                  <a:lnTo>
                    <a:pt x="767" y="3558"/>
                  </a:lnTo>
                  <a:lnTo>
                    <a:pt x="778" y="3561"/>
                  </a:lnTo>
                  <a:lnTo>
                    <a:pt x="785" y="3562"/>
                  </a:lnTo>
                  <a:lnTo>
                    <a:pt x="794" y="3563"/>
                  </a:lnTo>
                  <a:lnTo>
                    <a:pt x="804" y="3563"/>
                  </a:lnTo>
                  <a:lnTo>
                    <a:pt x="815" y="3561"/>
                  </a:lnTo>
                  <a:lnTo>
                    <a:pt x="826" y="3558"/>
                  </a:lnTo>
                  <a:lnTo>
                    <a:pt x="839" y="3553"/>
                  </a:lnTo>
                  <a:lnTo>
                    <a:pt x="852" y="3546"/>
                  </a:lnTo>
                  <a:lnTo>
                    <a:pt x="865" y="3536"/>
                  </a:lnTo>
                  <a:lnTo>
                    <a:pt x="879" y="3522"/>
                  </a:lnTo>
                  <a:lnTo>
                    <a:pt x="894" y="3506"/>
                  </a:lnTo>
                  <a:lnTo>
                    <a:pt x="907" y="3486"/>
                  </a:lnTo>
                  <a:lnTo>
                    <a:pt x="921" y="3463"/>
                  </a:lnTo>
                  <a:lnTo>
                    <a:pt x="921" y="3463"/>
                  </a:lnTo>
                  <a:lnTo>
                    <a:pt x="924" y="3459"/>
                  </a:lnTo>
                  <a:lnTo>
                    <a:pt x="927" y="3455"/>
                  </a:lnTo>
                  <a:lnTo>
                    <a:pt x="930" y="3453"/>
                  </a:lnTo>
                  <a:lnTo>
                    <a:pt x="935" y="3451"/>
                  </a:lnTo>
                  <a:lnTo>
                    <a:pt x="939" y="3450"/>
                  </a:lnTo>
                  <a:lnTo>
                    <a:pt x="943" y="3450"/>
                  </a:lnTo>
                  <a:lnTo>
                    <a:pt x="951" y="3450"/>
                  </a:lnTo>
                  <a:lnTo>
                    <a:pt x="970" y="3452"/>
                  </a:lnTo>
                  <a:lnTo>
                    <a:pt x="982" y="3452"/>
                  </a:lnTo>
                  <a:lnTo>
                    <a:pt x="987" y="3451"/>
                  </a:lnTo>
                  <a:lnTo>
                    <a:pt x="992" y="3450"/>
                  </a:lnTo>
                  <a:lnTo>
                    <a:pt x="992" y="3450"/>
                  </a:lnTo>
                  <a:lnTo>
                    <a:pt x="1010" y="3444"/>
                  </a:lnTo>
                  <a:lnTo>
                    <a:pt x="1017" y="3439"/>
                  </a:lnTo>
                  <a:lnTo>
                    <a:pt x="1024" y="3435"/>
                  </a:lnTo>
                  <a:lnTo>
                    <a:pt x="1029" y="3432"/>
                  </a:lnTo>
                  <a:lnTo>
                    <a:pt x="1033" y="3428"/>
                  </a:lnTo>
                  <a:lnTo>
                    <a:pt x="1036" y="3424"/>
                  </a:lnTo>
                  <a:lnTo>
                    <a:pt x="1039" y="3419"/>
                  </a:lnTo>
                  <a:lnTo>
                    <a:pt x="1041" y="3415"/>
                  </a:lnTo>
                  <a:lnTo>
                    <a:pt x="1042" y="3410"/>
                  </a:lnTo>
                  <a:lnTo>
                    <a:pt x="1043" y="3401"/>
                  </a:lnTo>
                  <a:lnTo>
                    <a:pt x="1042" y="3390"/>
                  </a:lnTo>
                  <a:lnTo>
                    <a:pt x="1040" y="3380"/>
                  </a:lnTo>
                  <a:lnTo>
                    <a:pt x="1035" y="3358"/>
                  </a:lnTo>
                  <a:lnTo>
                    <a:pt x="1034" y="3347"/>
                  </a:lnTo>
                  <a:lnTo>
                    <a:pt x="1033" y="3335"/>
                  </a:lnTo>
                  <a:lnTo>
                    <a:pt x="1034" y="3324"/>
                  </a:lnTo>
                  <a:lnTo>
                    <a:pt x="1036" y="3319"/>
                  </a:lnTo>
                  <a:lnTo>
                    <a:pt x="1038" y="3313"/>
                  </a:lnTo>
                  <a:lnTo>
                    <a:pt x="1040" y="3308"/>
                  </a:lnTo>
                  <a:lnTo>
                    <a:pt x="1044" y="3302"/>
                  </a:lnTo>
                  <a:lnTo>
                    <a:pt x="1048" y="3296"/>
                  </a:lnTo>
                  <a:lnTo>
                    <a:pt x="1054" y="3291"/>
                  </a:lnTo>
                  <a:lnTo>
                    <a:pt x="1054" y="3291"/>
                  </a:lnTo>
                  <a:lnTo>
                    <a:pt x="1069" y="3278"/>
                  </a:lnTo>
                  <a:lnTo>
                    <a:pt x="1084" y="3265"/>
                  </a:lnTo>
                  <a:lnTo>
                    <a:pt x="1099" y="3253"/>
                  </a:lnTo>
                  <a:lnTo>
                    <a:pt x="1115" y="3241"/>
                  </a:lnTo>
                  <a:lnTo>
                    <a:pt x="1146" y="3221"/>
                  </a:lnTo>
                  <a:lnTo>
                    <a:pt x="1178" y="3202"/>
                  </a:lnTo>
                  <a:lnTo>
                    <a:pt x="1210" y="3186"/>
                  </a:lnTo>
                  <a:lnTo>
                    <a:pt x="1241" y="3171"/>
                  </a:lnTo>
                  <a:lnTo>
                    <a:pt x="1273" y="3156"/>
                  </a:lnTo>
                  <a:lnTo>
                    <a:pt x="1304" y="3144"/>
                  </a:lnTo>
                  <a:lnTo>
                    <a:pt x="1304" y="3144"/>
                  </a:lnTo>
                  <a:lnTo>
                    <a:pt x="1303" y="3148"/>
                  </a:lnTo>
                  <a:lnTo>
                    <a:pt x="1299" y="3160"/>
                  </a:lnTo>
                  <a:lnTo>
                    <a:pt x="1294" y="3180"/>
                  </a:lnTo>
                  <a:lnTo>
                    <a:pt x="1291" y="3203"/>
                  </a:lnTo>
                  <a:lnTo>
                    <a:pt x="1290" y="3218"/>
                  </a:lnTo>
                  <a:lnTo>
                    <a:pt x="1290" y="3232"/>
                  </a:lnTo>
                  <a:lnTo>
                    <a:pt x="1291" y="3247"/>
                  </a:lnTo>
                  <a:lnTo>
                    <a:pt x="1292" y="3264"/>
                  </a:lnTo>
                  <a:lnTo>
                    <a:pt x="1296" y="3280"/>
                  </a:lnTo>
                  <a:lnTo>
                    <a:pt x="1301" y="3296"/>
                  </a:lnTo>
                  <a:lnTo>
                    <a:pt x="1306" y="3314"/>
                  </a:lnTo>
                  <a:lnTo>
                    <a:pt x="1314" y="3331"/>
                  </a:lnTo>
                  <a:lnTo>
                    <a:pt x="1640" y="3247"/>
                  </a:lnTo>
                  <a:lnTo>
                    <a:pt x="1640" y="3247"/>
                  </a:lnTo>
                  <a:lnTo>
                    <a:pt x="1634" y="3231"/>
                  </a:lnTo>
                  <a:lnTo>
                    <a:pt x="1631" y="3215"/>
                  </a:lnTo>
                  <a:lnTo>
                    <a:pt x="1629" y="3197"/>
                  </a:lnTo>
                  <a:lnTo>
                    <a:pt x="1629" y="3180"/>
                  </a:lnTo>
                  <a:lnTo>
                    <a:pt x="1631" y="3162"/>
                  </a:lnTo>
                  <a:lnTo>
                    <a:pt x="1634" y="3145"/>
                  </a:lnTo>
                  <a:lnTo>
                    <a:pt x="1638" y="3128"/>
                  </a:lnTo>
                  <a:lnTo>
                    <a:pt x="1644" y="3109"/>
                  </a:lnTo>
                  <a:lnTo>
                    <a:pt x="1651" y="3092"/>
                  </a:lnTo>
                  <a:lnTo>
                    <a:pt x="1660" y="3073"/>
                  </a:lnTo>
                  <a:lnTo>
                    <a:pt x="1669" y="3056"/>
                  </a:lnTo>
                  <a:lnTo>
                    <a:pt x="1679" y="3039"/>
                  </a:lnTo>
                  <a:lnTo>
                    <a:pt x="1689" y="3021"/>
                  </a:lnTo>
                  <a:lnTo>
                    <a:pt x="1701" y="3004"/>
                  </a:lnTo>
                  <a:lnTo>
                    <a:pt x="1725" y="2972"/>
                  </a:lnTo>
                  <a:lnTo>
                    <a:pt x="1725" y="2972"/>
                  </a:lnTo>
                  <a:lnTo>
                    <a:pt x="1726" y="2971"/>
                  </a:lnTo>
                  <a:lnTo>
                    <a:pt x="1727" y="2971"/>
                  </a:lnTo>
                  <a:lnTo>
                    <a:pt x="1728" y="2975"/>
                  </a:lnTo>
                  <a:lnTo>
                    <a:pt x="1725" y="2997"/>
                  </a:lnTo>
                  <a:lnTo>
                    <a:pt x="1721" y="3030"/>
                  </a:lnTo>
                  <a:lnTo>
                    <a:pt x="1715" y="3072"/>
                  </a:lnTo>
                  <a:lnTo>
                    <a:pt x="1713" y="3095"/>
                  </a:lnTo>
                  <a:lnTo>
                    <a:pt x="1711" y="3118"/>
                  </a:lnTo>
                  <a:lnTo>
                    <a:pt x="1711" y="3140"/>
                  </a:lnTo>
                  <a:lnTo>
                    <a:pt x="1711" y="3161"/>
                  </a:lnTo>
                  <a:lnTo>
                    <a:pt x="1713" y="3181"/>
                  </a:lnTo>
                  <a:lnTo>
                    <a:pt x="1716" y="3198"/>
                  </a:lnTo>
                  <a:lnTo>
                    <a:pt x="1719" y="3206"/>
                  </a:lnTo>
                  <a:lnTo>
                    <a:pt x="1722" y="3213"/>
                  </a:lnTo>
                  <a:lnTo>
                    <a:pt x="1726" y="3219"/>
                  </a:lnTo>
                  <a:lnTo>
                    <a:pt x="1730" y="3224"/>
                  </a:lnTo>
                  <a:lnTo>
                    <a:pt x="2050" y="3141"/>
                  </a:lnTo>
                  <a:lnTo>
                    <a:pt x="2050" y="3141"/>
                  </a:lnTo>
                  <a:lnTo>
                    <a:pt x="2046" y="3131"/>
                  </a:lnTo>
                  <a:lnTo>
                    <a:pt x="2043" y="3119"/>
                  </a:lnTo>
                  <a:lnTo>
                    <a:pt x="2041" y="3108"/>
                  </a:lnTo>
                  <a:lnTo>
                    <a:pt x="2039" y="3096"/>
                  </a:lnTo>
                  <a:lnTo>
                    <a:pt x="2038" y="3084"/>
                  </a:lnTo>
                  <a:lnTo>
                    <a:pt x="2038" y="3071"/>
                  </a:lnTo>
                  <a:lnTo>
                    <a:pt x="2039" y="3045"/>
                  </a:lnTo>
                  <a:lnTo>
                    <a:pt x="2043" y="3018"/>
                  </a:lnTo>
                  <a:lnTo>
                    <a:pt x="2048" y="2992"/>
                  </a:lnTo>
                  <a:lnTo>
                    <a:pt x="2055" y="2965"/>
                  </a:lnTo>
                  <a:lnTo>
                    <a:pt x="2064" y="2941"/>
                  </a:lnTo>
                  <a:lnTo>
                    <a:pt x="2064" y="2941"/>
                  </a:lnTo>
                  <a:lnTo>
                    <a:pt x="2072" y="2968"/>
                  </a:lnTo>
                  <a:lnTo>
                    <a:pt x="2079" y="2997"/>
                  </a:lnTo>
                  <a:lnTo>
                    <a:pt x="2088" y="3024"/>
                  </a:lnTo>
                  <a:lnTo>
                    <a:pt x="2098" y="3052"/>
                  </a:lnTo>
                  <a:lnTo>
                    <a:pt x="2108" y="3079"/>
                  </a:lnTo>
                  <a:lnTo>
                    <a:pt x="2121" y="3105"/>
                  </a:lnTo>
                  <a:lnTo>
                    <a:pt x="2135" y="3131"/>
                  </a:lnTo>
                  <a:lnTo>
                    <a:pt x="2149" y="3156"/>
                  </a:lnTo>
                  <a:lnTo>
                    <a:pt x="2166" y="3181"/>
                  </a:lnTo>
                  <a:lnTo>
                    <a:pt x="2183" y="3203"/>
                  </a:lnTo>
                  <a:lnTo>
                    <a:pt x="2201" y="3225"/>
                  </a:lnTo>
                  <a:lnTo>
                    <a:pt x="2222" y="3245"/>
                  </a:lnTo>
                  <a:lnTo>
                    <a:pt x="2244" y="3265"/>
                  </a:lnTo>
                  <a:lnTo>
                    <a:pt x="2268" y="3281"/>
                  </a:lnTo>
                  <a:lnTo>
                    <a:pt x="2280" y="3289"/>
                  </a:lnTo>
                  <a:lnTo>
                    <a:pt x="2292" y="3296"/>
                  </a:lnTo>
                  <a:lnTo>
                    <a:pt x="2306" y="3303"/>
                  </a:lnTo>
                  <a:lnTo>
                    <a:pt x="2320" y="3310"/>
                  </a:lnTo>
                  <a:lnTo>
                    <a:pt x="2320" y="3310"/>
                  </a:lnTo>
                  <a:lnTo>
                    <a:pt x="2365" y="3329"/>
                  </a:lnTo>
                  <a:lnTo>
                    <a:pt x="2410" y="3347"/>
                  </a:lnTo>
                  <a:lnTo>
                    <a:pt x="2454" y="3364"/>
                  </a:lnTo>
                  <a:lnTo>
                    <a:pt x="2499" y="3380"/>
                  </a:lnTo>
                  <a:lnTo>
                    <a:pt x="2544" y="3395"/>
                  </a:lnTo>
                  <a:lnTo>
                    <a:pt x="2589" y="3411"/>
                  </a:lnTo>
                  <a:lnTo>
                    <a:pt x="2683" y="3440"/>
                  </a:lnTo>
                  <a:lnTo>
                    <a:pt x="2782" y="3469"/>
                  </a:lnTo>
                  <a:lnTo>
                    <a:pt x="2889" y="3500"/>
                  </a:lnTo>
                  <a:lnTo>
                    <a:pt x="3005" y="3534"/>
                  </a:lnTo>
                  <a:lnTo>
                    <a:pt x="3133" y="3570"/>
                  </a:lnTo>
                  <a:lnTo>
                    <a:pt x="3133" y="3570"/>
                  </a:lnTo>
                  <a:lnTo>
                    <a:pt x="3205" y="3593"/>
                  </a:lnTo>
                  <a:lnTo>
                    <a:pt x="3273" y="3616"/>
                  </a:lnTo>
                  <a:lnTo>
                    <a:pt x="3305" y="3628"/>
                  </a:lnTo>
                  <a:lnTo>
                    <a:pt x="3333" y="3639"/>
                  </a:lnTo>
                  <a:lnTo>
                    <a:pt x="3358" y="3649"/>
                  </a:lnTo>
                  <a:lnTo>
                    <a:pt x="3377" y="3658"/>
                  </a:lnTo>
                  <a:lnTo>
                    <a:pt x="3377" y="3658"/>
                  </a:lnTo>
                  <a:lnTo>
                    <a:pt x="3383" y="3661"/>
                  </a:lnTo>
                  <a:lnTo>
                    <a:pt x="3389" y="3665"/>
                  </a:lnTo>
                  <a:lnTo>
                    <a:pt x="3393" y="3668"/>
                  </a:lnTo>
                  <a:lnTo>
                    <a:pt x="3397" y="3673"/>
                  </a:lnTo>
                  <a:lnTo>
                    <a:pt x="3399" y="3677"/>
                  </a:lnTo>
                  <a:lnTo>
                    <a:pt x="3401" y="3682"/>
                  </a:lnTo>
                  <a:lnTo>
                    <a:pt x="3402" y="3686"/>
                  </a:lnTo>
                  <a:lnTo>
                    <a:pt x="3402" y="3690"/>
                  </a:lnTo>
                  <a:lnTo>
                    <a:pt x="3401" y="3699"/>
                  </a:lnTo>
                  <a:lnTo>
                    <a:pt x="3397" y="3708"/>
                  </a:lnTo>
                  <a:lnTo>
                    <a:pt x="3392" y="3717"/>
                  </a:lnTo>
                  <a:lnTo>
                    <a:pt x="3386" y="3726"/>
                  </a:lnTo>
                  <a:lnTo>
                    <a:pt x="3378" y="3734"/>
                  </a:lnTo>
                  <a:lnTo>
                    <a:pt x="3371" y="3742"/>
                  </a:lnTo>
                  <a:lnTo>
                    <a:pt x="3357" y="3754"/>
                  </a:lnTo>
                  <a:lnTo>
                    <a:pt x="3346" y="3764"/>
                  </a:lnTo>
                  <a:lnTo>
                    <a:pt x="3341" y="3767"/>
                  </a:lnTo>
                  <a:lnTo>
                    <a:pt x="3341" y="3767"/>
                  </a:lnTo>
                  <a:lnTo>
                    <a:pt x="3355" y="3775"/>
                  </a:lnTo>
                  <a:lnTo>
                    <a:pt x="3371" y="3783"/>
                  </a:lnTo>
                  <a:lnTo>
                    <a:pt x="3411" y="3801"/>
                  </a:lnTo>
                  <a:lnTo>
                    <a:pt x="3435" y="3814"/>
                  </a:lnTo>
                  <a:lnTo>
                    <a:pt x="3461" y="3829"/>
                  </a:lnTo>
                  <a:lnTo>
                    <a:pt x="3492" y="3848"/>
                  </a:lnTo>
                  <a:lnTo>
                    <a:pt x="3527" y="3873"/>
                  </a:lnTo>
                  <a:lnTo>
                    <a:pt x="3527" y="3873"/>
                  </a:lnTo>
                  <a:lnTo>
                    <a:pt x="3545" y="3888"/>
                  </a:lnTo>
                  <a:lnTo>
                    <a:pt x="3563" y="3906"/>
                  </a:lnTo>
                  <a:lnTo>
                    <a:pt x="3580" y="3925"/>
                  </a:lnTo>
                  <a:lnTo>
                    <a:pt x="3595" y="3946"/>
                  </a:lnTo>
                  <a:lnTo>
                    <a:pt x="3608" y="3967"/>
                  </a:lnTo>
                  <a:lnTo>
                    <a:pt x="3622" y="3991"/>
                  </a:lnTo>
                  <a:lnTo>
                    <a:pt x="3634" y="4014"/>
                  </a:lnTo>
                  <a:lnTo>
                    <a:pt x="3645" y="4040"/>
                  </a:lnTo>
                  <a:lnTo>
                    <a:pt x="3655" y="4066"/>
                  </a:lnTo>
                  <a:lnTo>
                    <a:pt x="3665" y="4094"/>
                  </a:lnTo>
                  <a:lnTo>
                    <a:pt x="3674" y="4122"/>
                  </a:lnTo>
                  <a:lnTo>
                    <a:pt x="3682" y="4151"/>
                  </a:lnTo>
                  <a:lnTo>
                    <a:pt x="3698" y="4211"/>
                  </a:lnTo>
                  <a:lnTo>
                    <a:pt x="3714" y="4274"/>
                  </a:lnTo>
                  <a:lnTo>
                    <a:pt x="3714" y="4274"/>
                  </a:lnTo>
                  <a:lnTo>
                    <a:pt x="3725" y="4324"/>
                  </a:lnTo>
                  <a:lnTo>
                    <a:pt x="3734" y="4377"/>
                  </a:lnTo>
                  <a:lnTo>
                    <a:pt x="3742" y="4430"/>
                  </a:lnTo>
                  <a:lnTo>
                    <a:pt x="3744" y="4457"/>
                  </a:lnTo>
                  <a:lnTo>
                    <a:pt x="3746" y="4481"/>
                  </a:lnTo>
                  <a:lnTo>
                    <a:pt x="3748" y="4506"/>
                  </a:lnTo>
                  <a:lnTo>
                    <a:pt x="3749" y="4529"/>
                  </a:lnTo>
                  <a:lnTo>
                    <a:pt x="3748" y="4551"/>
                  </a:lnTo>
                  <a:lnTo>
                    <a:pt x="3745" y="4571"/>
                  </a:lnTo>
                  <a:lnTo>
                    <a:pt x="3742" y="4590"/>
                  </a:lnTo>
                  <a:lnTo>
                    <a:pt x="3737" y="4606"/>
                  </a:lnTo>
                  <a:lnTo>
                    <a:pt x="3731" y="4619"/>
                  </a:lnTo>
                  <a:lnTo>
                    <a:pt x="3728" y="4625"/>
                  </a:lnTo>
                  <a:lnTo>
                    <a:pt x="3724" y="4631"/>
                  </a:lnTo>
                  <a:lnTo>
                    <a:pt x="3724" y="4631"/>
                  </a:lnTo>
                  <a:lnTo>
                    <a:pt x="3715" y="4641"/>
                  </a:lnTo>
                  <a:lnTo>
                    <a:pt x="3705" y="4651"/>
                  </a:lnTo>
                  <a:lnTo>
                    <a:pt x="3691" y="4660"/>
                  </a:lnTo>
                  <a:lnTo>
                    <a:pt x="3683" y="4665"/>
                  </a:lnTo>
                  <a:lnTo>
                    <a:pt x="3673" y="4670"/>
                  </a:lnTo>
                  <a:lnTo>
                    <a:pt x="3663" y="4676"/>
                  </a:lnTo>
                  <a:lnTo>
                    <a:pt x="3650" y="4681"/>
                  </a:lnTo>
                  <a:lnTo>
                    <a:pt x="3621" y="4690"/>
                  </a:lnTo>
                  <a:lnTo>
                    <a:pt x="3582" y="4700"/>
                  </a:lnTo>
                  <a:lnTo>
                    <a:pt x="3535" y="4710"/>
                  </a:lnTo>
                  <a:lnTo>
                    <a:pt x="3560" y="4833"/>
                  </a:lnTo>
                  <a:lnTo>
                    <a:pt x="3560" y="4833"/>
                  </a:lnTo>
                  <a:lnTo>
                    <a:pt x="3579" y="4834"/>
                  </a:lnTo>
                  <a:lnTo>
                    <a:pt x="3597" y="4834"/>
                  </a:lnTo>
                  <a:lnTo>
                    <a:pt x="3615" y="4833"/>
                  </a:lnTo>
                  <a:lnTo>
                    <a:pt x="3631" y="4831"/>
                  </a:lnTo>
                  <a:lnTo>
                    <a:pt x="3646" y="4829"/>
                  </a:lnTo>
                  <a:lnTo>
                    <a:pt x="3662" y="4826"/>
                  </a:lnTo>
                  <a:lnTo>
                    <a:pt x="3688" y="4819"/>
                  </a:lnTo>
                  <a:lnTo>
                    <a:pt x="3711" y="4812"/>
                  </a:lnTo>
                  <a:lnTo>
                    <a:pt x="3728" y="4805"/>
                  </a:lnTo>
                  <a:lnTo>
                    <a:pt x="3742" y="4799"/>
                  </a:lnTo>
                  <a:lnTo>
                    <a:pt x="3742" y="4799"/>
                  </a:lnTo>
                  <a:lnTo>
                    <a:pt x="3736" y="4805"/>
                  </a:lnTo>
                  <a:lnTo>
                    <a:pt x="3730" y="4813"/>
                  </a:lnTo>
                  <a:lnTo>
                    <a:pt x="3722" y="4823"/>
                  </a:lnTo>
                  <a:lnTo>
                    <a:pt x="3722" y="4823"/>
                  </a:lnTo>
                  <a:lnTo>
                    <a:pt x="3711" y="4839"/>
                  </a:lnTo>
                  <a:lnTo>
                    <a:pt x="3700" y="4856"/>
                  </a:lnTo>
                  <a:lnTo>
                    <a:pt x="3692" y="4871"/>
                  </a:lnTo>
                  <a:lnTo>
                    <a:pt x="3685" y="4886"/>
                  </a:lnTo>
                  <a:lnTo>
                    <a:pt x="3680" y="4902"/>
                  </a:lnTo>
                  <a:lnTo>
                    <a:pt x="3675" y="4919"/>
                  </a:lnTo>
                  <a:lnTo>
                    <a:pt x="3672" y="4936"/>
                  </a:lnTo>
                  <a:lnTo>
                    <a:pt x="3669" y="4957"/>
                  </a:lnTo>
                  <a:lnTo>
                    <a:pt x="3799" y="5041"/>
                  </a:lnTo>
                  <a:lnTo>
                    <a:pt x="3799" y="5041"/>
                  </a:lnTo>
                  <a:lnTo>
                    <a:pt x="3812" y="5000"/>
                  </a:lnTo>
                  <a:lnTo>
                    <a:pt x="3826" y="4960"/>
                  </a:lnTo>
                  <a:lnTo>
                    <a:pt x="3841" y="4924"/>
                  </a:lnTo>
                  <a:lnTo>
                    <a:pt x="3855" y="4891"/>
                  </a:lnTo>
                  <a:lnTo>
                    <a:pt x="3870" y="4864"/>
                  </a:lnTo>
                  <a:lnTo>
                    <a:pt x="3877" y="4851"/>
                  </a:lnTo>
                  <a:lnTo>
                    <a:pt x="3885" y="4841"/>
                  </a:lnTo>
                  <a:lnTo>
                    <a:pt x="3892" y="4832"/>
                  </a:lnTo>
                  <a:lnTo>
                    <a:pt x="3899" y="4825"/>
                  </a:lnTo>
                  <a:lnTo>
                    <a:pt x="3906" y="4820"/>
                  </a:lnTo>
                  <a:lnTo>
                    <a:pt x="3913" y="4816"/>
                  </a:lnTo>
                  <a:lnTo>
                    <a:pt x="3913" y="4816"/>
                  </a:lnTo>
                  <a:lnTo>
                    <a:pt x="3919" y="4814"/>
                  </a:lnTo>
                  <a:lnTo>
                    <a:pt x="3926" y="4814"/>
                  </a:lnTo>
                  <a:lnTo>
                    <a:pt x="3935" y="4814"/>
                  </a:lnTo>
                  <a:lnTo>
                    <a:pt x="3944" y="4815"/>
                  </a:lnTo>
                  <a:lnTo>
                    <a:pt x="3954" y="4817"/>
                  </a:lnTo>
                  <a:lnTo>
                    <a:pt x="3965" y="4819"/>
                  </a:lnTo>
                  <a:lnTo>
                    <a:pt x="3990" y="4828"/>
                  </a:lnTo>
                  <a:lnTo>
                    <a:pt x="4017" y="4839"/>
                  </a:lnTo>
                  <a:lnTo>
                    <a:pt x="4047" y="4854"/>
                  </a:lnTo>
                  <a:lnTo>
                    <a:pt x="4078" y="4874"/>
                  </a:lnTo>
                  <a:lnTo>
                    <a:pt x="4110" y="4895"/>
                  </a:lnTo>
                  <a:lnTo>
                    <a:pt x="4127" y="4908"/>
                  </a:lnTo>
                  <a:lnTo>
                    <a:pt x="4143" y="4921"/>
                  </a:lnTo>
                  <a:lnTo>
                    <a:pt x="4160" y="4935"/>
                  </a:lnTo>
                  <a:lnTo>
                    <a:pt x="4176" y="4950"/>
                  </a:lnTo>
                  <a:lnTo>
                    <a:pt x="4192" y="4965"/>
                  </a:lnTo>
                  <a:lnTo>
                    <a:pt x="4208" y="4981"/>
                  </a:lnTo>
                  <a:lnTo>
                    <a:pt x="4224" y="4999"/>
                  </a:lnTo>
                  <a:lnTo>
                    <a:pt x="4239" y="5017"/>
                  </a:lnTo>
                  <a:lnTo>
                    <a:pt x="4254" y="5035"/>
                  </a:lnTo>
                  <a:lnTo>
                    <a:pt x="4268" y="5055"/>
                  </a:lnTo>
                  <a:lnTo>
                    <a:pt x="4282" y="5075"/>
                  </a:lnTo>
                  <a:lnTo>
                    <a:pt x="4296" y="5097"/>
                  </a:lnTo>
                  <a:lnTo>
                    <a:pt x="4308" y="5118"/>
                  </a:lnTo>
                  <a:lnTo>
                    <a:pt x="4320" y="5141"/>
                  </a:lnTo>
                  <a:lnTo>
                    <a:pt x="4331" y="5164"/>
                  </a:lnTo>
                  <a:lnTo>
                    <a:pt x="4342" y="5189"/>
                  </a:lnTo>
                  <a:lnTo>
                    <a:pt x="4342" y="5189"/>
                  </a:lnTo>
                  <a:lnTo>
                    <a:pt x="4347" y="5203"/>
                  </a:lnTo>
                  <a:lnTo>
                    <a:pt x="4352" y="5220"/>
                  </a:lnTo>
                  <a:lnTo>
                    <a:pt x="4356" y="5236"/>
                  </a:lnTo>
                  <a:lnTo>
                    <a:pt x="4360" y="5253"/>
                  </a:lnTo>
                  <a:lnTo>
                    <a:pt x="4363" y="5272"/>
                  </a:lnTo>
                  <a:lnTo>
                    <a:pt x="4366" y="5290"/>
                  </a:lnTo>
                  <a:lnTo>
                    <a:pt x="4370" y="5329"/>
                  </a:lnTo>
                  <a:lnTo>
                    <a:pt x="4372" y="5368"/>
                  </a:lnTo>
                  <a:lnTo>
                    <a:pt x="4371" y="5409"/>
                  </a:lnTo>
                  <a:lnTo>
                    <a:pt x="4370" y="5429"/>
                  </a:lnTo>
                  <a:lnTo>
                    <a:pt x="4369" y="5449"/>
                  </a:lnTo>
                  <a:lnTo>
                    <a:pt x="4366" y="5469"/>
                  </a:lnTo>
                  <a:lnTo>
                    <a:pt x="4363" y="5488"/>
                  </a:lnTo>
                  <a:lnTo>
                    <a:pt x="4360" y="5508"/>
                  </a:lnTo>
                  <a:lnTo>
                    <a:pt x="4356" y="5526"/>
                  </a:lnTo>
                  <a:lnTo>
                    <a:pt x="4351" y="5545"/>
                  </a:lnTo>
                  <a:lnTo>
                    <a:pt x="4345" y="5562"/>
                  </a:lnTo>
                  <a:lnTo>
                    <a:pt x="4339" y="5579"/>
                  </a:lnTo>
                  <a:lnTo>
                    <a:pt x="4332" y="5595"/>
                  </a:lnTo>
                  <a:lnTo>
                    <a:pt x="4324" y="5610"/>
                  </a:lnTo>
                  <a:lnTo>
                    <a:pt x="4316" y="5624"/>
                  </a:lnTo>
                  <a:lnTo>
                    <a:pt x="4307" y="5638"/>
                  </a:lnTo>
                  <a:lnTo>
                    <a:pt x="4298" y="5650"/>
                  </a:lnTo>
                  <a:lnTo>
                    <a:pt x="4287" y="5661"/>
                  </a:lnTo>
                  <a:lnTo>
                    <a:pt x="4276" y="5670"/>
                  </a:lnTo>
                  <a:lnTo>
                    <a:pt x="4264" y="5679"/>
                  </a:lnTo>
                  <a:lnTo>
                    <a:pt x="4252" y="5686"/>
                  </a:lnTo>
                  <a:lnTo>
                    <a:pt x="4238" y="5691"/>
                  </a:lnTo>
                  <a:lnTo>
                    <a:pt x="4224" y="5694"/>
                  </a:lnTo>
                  <a:lnTo>
                    <a:pt x="4224" y="5694"/>
                  </a:lnTo>
                  <a:lnTo>
                    <a:pt x="4216" y="5695"/>
                  </a:lnTo>
                  <a:lnTo>
                    <a:pt x="4208" y="5695"/>
                  </a:lnTo>
                  <a:lnTo>
                    <a:pt x="4198" y="5694"/>
                  </a:lnTo>
                  <a:lnTo>
                    <a:pt x="4188" y="5692"/>
                  </a:lnTo>
                  <a:lnTo>
                    <a:pt x="4168" y="5687"/>
                  </a:lnTo>
                  <a:lnTo>
                    <a:pt x="4145" y="5679"/>
                  </a:lnTo>
                  <a:lnTo>
                    <a:pt x="4123" y="5668"/>
                  </a:lnTo>
                  <a:lnTo>
                    <a:pt x="4099" y="5657"/>
                  </a:lnTo>
                  <a:lnTo>
                    <a:pt x="4051" y="5635"/>
                  </a:lnTo>
                  <a:lnTo>
                    <a:pt x="4028" y="5623"/>
                  </a:lnTo>
                  <a:lnTo>
                    <a:pt x="4005" y="5614"/>
                  </a:lnTo>
                  <a:lnTo>
                    <a:pt x="3984" y="5607"/>
                  </a:lnTo>
                  <a:lnTo>
                    <a:pt x="3964" y="5602"/>
                  </a:lnTo>
                  <a:lnTo>
                    <a:pt x="3955" y="5601"/>
                  </a:lnTo>
                  <a:lnTo>
                    <a:pt x="3947" y="5600"/>
                  </a:lnTo>
                  <a:lnTo>
                    <a:pt x="3939" y="5601"/>
                  </a:lnTo>
                  <a:lnTo>
                    <a:pt x="3932" y="5602"/>
                  </a:lnTo>
                  <a:lnTo>
                    <a:pt x="3924" y="5605"/>
                  </a:lnTo>
                  <a:lnTo>
                    <a:pt x="3919" y="5609"/>
                  </a:lnTo>
                  <a:lnTo>
                    <a:pt x="3914" y="5614"/>
                  </a:lnTo>
                  <a:lnTo>
                    <a:pt x="3909" y="5620"/>
                  </a:lnTo>
                  <a:lnTo>
                    <a:pt x="3909" y="5620"/>
                  </a:lnTo>
                  <a:lnTo>
                    <a:pt x="3905" y="5627"/>
                  </a:lnTo>
                  <a:lnTo>
                    <a:pt x="3900" y="5635"/>
                  </a:lnTo>
                  <a:lnTo>
                    <a:pt x="3893" y="5641"/>
                  </a:lnTo>
                  <a:lnTo>
                    <a:pt x="3886" y="5647"/>
                  </a:lnTo>
                  <a:lnTo>
                    <a:pt x="3869" y="5658"/>
                  </a:lnTo>
                  <a:lnTo>
                    <a:pt x="3851" y="5668"/>
                  </a:lnTo>
                  <a:lnTo>
                    <a:pt x="3810" y="5690"/>
                  </a:lnTo>
                  <a:lnTo>
                    <a:pt x="3789" y="5701"/>
                  </a:lnTo>
                  <a:lnTo>
                    <a:pt x="3770" y="5714"/>
                  </a:lnTo>
                  <a:lnTo>
                    <a:pt x="3761" y="5720"/>
                  </a:lnTo>
                  <a:lnTo>
                    <a:pt x="3752" y="5729"/>
                  </a:lnTo>
                  <a:lnTo>
                    <a:pt x="3743" y="5736"/>
                  </a:lnTo>
                  <a:lnTo>
                    <a:pt x="3735" y="5745"/>
                  </a:lnTo>
                  <a:lnTo>
                    <a:pt x="3728" y="5754"/>
                  </a:lnTo>
                  <a:lnTo>
                    <a:pt x="3722" y="5764"/>
                  </a:lnTo>
                  <a:lnTo>
                    <a:pt x="3717" y="5775"/>
                  </a:lnTo>
                  <a:lnTo>
                    <a:pt x="3713" y="5787"/>
                  </a:lnTo>
                  <a:lnTo>
                    <a:pt x="3710" y="5799"/>
                  </a:lnTo>
                  <a:lnTo>
                    <a:pt x="3708" y="5813"/>
                  </a:lnTo>
                  <a:lnTo>
                    <a:pt x="3707" y="5827"/>
                  </a:lnTo>
                  <a:lnTo>
                    <a:pt x="3707" y="5843"/>
                  </a:lnTo>
                  <a:lnTo>
                    <a:pt x="3709" y="5860"/>
                  </a:lnTo>
                  <a:lnTo>
                    <a:pt x="3713" y="5877"/>
                  </a:lnTo>
                  <a:lnTo>
                    <a:pt x="3718" y="5896"/>
                  </a:lnTo>
                  <a:lnTo>
                    <a:pt x="3724" y="5917"/>
                  </a:lnTo>
                  <a:lnTo>
                    <a:pt x="3724" y="5917"/>
                  </a:lnTo>
                  <a:lnTo>
                    <a:pt x="3741" y="5896"/>
                  </a:lnTo>
                  <a:lnTo>
                    <a:pt x="3759" y="5875"/>
                  </a:lnTo>
                  <a:lnTo>
                    <a:pt x="3776" y="5856"/>
                  </a:lnTo>
                  <a:lnTo>
                    <a:pt x="3794" y="5840"/>
                  </a:lnTo>
                  <a:lnTo>
                    <a:pt x="3802" y="5833"/>
                  </a:lnTo>
                  <a:lnTo>
                    <a:pt x="3811" y="5827"/>
                  </a:lnTo>
                  <a:lnTo>
                    <a:pt x="3819" y="5821"/>
                  </a:lnTo>
                  <a:lnTo>
                    <a:pt x="3827" y="5817"/>
                  </a:lnTo>
                  <a:lnTo>
                    <a:pt x="3835" y="5815"/>
                  </a:lnTo>
                  <a:lnTo>
                    <a:pt x="3843" y="5813"/>
                  </a:lnTo>
                  <a:lnTo>
                    <a:pt x="3850" y="5813"/>
                  </a:lnTo>
                  <a:lnTo>
                    <a:pt x="3857" y="5815"/>
                  </a:lnTo>
                  <a:lnTo>
                    <a:pt x="3857" y="5815"/>
                  </a:lnTo>
                  <a:lnTo>
                    <a:pt x="3861" y="5817"/>
                  </a:lnTo>
                  <a:lnTo>
                    <a:pt x="3864" y="5819"/>
                  </a:lnTo>
                  <a:lnTo>
                    <a:pt x="3870" y="5825"/>
                  </a:lnTo>
                  <a:lnTo>
                    <a:pt x="3875" y="5833"/>
                  </a:lnTo>
                  <a:lnTo>
                    <a:pt x="3879" y="5841"/>
                  </a:lnTo>
                  <a:lnTo>
                    <a:pt x="3888" y="5862"/>
                  </a:lnTo>
                  <a:lnTo>
                    <a:pt x="3894" y="5872"/>
                  </a:lnTo>
                  <a:lnTo>
                    <a:pt x="3901" y="5882"/>
                  </a:lnTo>
                  <a:lnTo>
                    <a:pt x="3901" y="5882"/>
                  </a:lnTo>
                  <a:lnTo>
                    <a:pt x="3904" y="5885"/>
                  </a:lnTo>
                  <a:lnTo>
                    <a:pt x="3908" y="5887"/>
                  </a:lnTo>
                  <a:lnTo>
                    <a:pt x="3913" y="5889"/>
                  </a:lnTo>
                  <a:lnTo>
                    <a:pt x="3919" y="5890"/>
                  </a:lnTo>
                  <a:lnTo>
                    <a:pt x="3934" y="5892"/>
                  </a:lnTo>
                  <a:lnTo>
                    <a:pt x="3950" y="5892"/>
                  </a:lnTo>
                  <a:lnTo>
                    <a:pt x="3968" y="5891"/>
                  </a:lnTo>
                  <a:lnTo>
                    <a:pt x="3989" y="5889"/>
                  </a:lnTo>
                  <a:lnTo>
                    <a:pt x="4032" y="5885"/>
                  </a:lnTo>
                  <a:lnTo>
                    <a:pt x="4074" y="5881"/>
                  </a:lnTo>
                  <a:lnTo>
                    <a:pt x="4093" y="5879"/>
                  </a:lnTo>
                  <a:lnTo>
                    <a:pt x="4110" y="5879"/>
                  </a:lnTo>
                  <a:lnTo>
                    <a:pt x="4126" y="5879"/>
                  </a:lnTo>
                  <a:lnTo>
                    <a:pt x="4137" y="5881"/>
                  </a:lnTo>
                  <a:lnTo>
                    <a:pt x="4142" y="5883"/>
                  </a:lnTo>
                  <a:lnTo>
                    <a:pt x="4146" y="5885"/>
                  </a:lnTo>
                  <a:lnTo>
                    <a:pt x="4148" y="5887"/>
                  </a:lnTo>
                  <a:lnTo>
                    <a:pt x="4150" y="5890"/>
                  </a:lnTo>
                  <a:lnTo>
                    <a:pt x="4150" y="5890"/>
                  </a:lnTo>
                  <a:lnTo>
                    <a:pt x="4151" y="5893"/>
                  </a:lnTo>
                  <a:lnTo>
                    <a:pt x="4150" y="5896"/>
                  </a:lnTo>
                  <a:lnTo>
                    <a:pt x="4149" y="5898"/>
                  </a:lnTo>
                  <a:lnTo>
                    <a:pt x="4148" y="5900"/>
                  </a:lnTo>
                  <a:lnTo>
                    <a:pt x="4143" y="5904"/>
                  </a:lnTo>
                  <a:lnTo>
                    <a:pt x="4136" y="5905"/>
                  </a:lnTo>
                  <a:lnTo>
                    <a:pt x="4118" y="5908"/>
                  </a:lnTo>
                  <a:lnTo>
                    <a:pt x="4100" y="5910"/>
                  </a:lnTo>
                  <a:lnTo>
                    <a:pt x="4100" y="5910"/>
                  </a:lnTo>
                  <a:lnTo>
                    <a:pt x="4021" y="5924"/>
                  </a:lnTo>
                  <a:lnTo>
                    <a:pt x="3981" y="5931"/>
                  </a:lnTo>
                  <a:lnTo>
                    <a:pt x="3943" y="5939"/>
                  </a:lnTo>
                  <a:lnTo>
                    <a:pt x="3925" y="5944"/>
                  </a:lnTo>
                  <a:lnTo>
                    <a:pt x="3909" y="5950"/>
                  </a:lnTo>
                  <a:lnTo>
                    <a:pt x="3894" y="5956"/>
                  </a:lnTo>
                  <a:lnTo>
                    <a:pt x="3881" y="5962"/>
                  </a:lnTo>
                  <a:lnTo>
                    <a:pt x="3869" y="5968"/>
                  </a:lnTo>
                  <a:lnTo>
                    <a:pt x="3860" y="5976"/>
                  </a:lnTo>
                  <a:lnTo>
                    <a:pt x="3853" y="5984"/>
                  </a:lnTo>
                  <a:lnTo>
                    <a:pt x="3850" y="5988"/>
                  </a:lnTo>
                  <a:lnTo>
                    <a:pt x="3848" y="5993"/>
                  </a:lnTo>
                  <a:lnTo>
                    <a:pt x="3848" y="5993"/>
                  </a:lnTo>
                  <a:lnTo>
                    <a:pt x="3846" y="6000"/>
                  </a:lnTo>
                  <a:lnTo>
                    <a:pt x="3846" y="6004"/>
                  </a:lnTo>
                  <a:lnTo>
                    <a:pt x="3847" y="6014"/>
                  </a:lnTo>
                  <a:lnTo>
                    <a:pt x="3847" y="6019"/>
                  </a:lnTo>
                  <a:lnTo>
                    <a:pt x="3846" y="6025"/>
                  </a:lnTo>
                  <a:lnTo>
                    <a:pt x="3845" y="6033"/>
                  </a:lnTo>
                  <a:lnTo>
                    <a:pt x="3842" y="6044"/>
                  </a:lnTo>
                  <a:lnTo>
                    <a:pt x="3842" y="6044"/>
                  </a:lnTo>
                  <a:lnTo>
                    <a:pt x="3837" y="6055"/>
                  </a:lnTo>
                  <a:lnTo>
                    <a:pt x="3831" y="6064"/>
                  </a:lnTo>
                  <a:lnTo>
                    <a:pt x="3823" y="6072"/>
                  </a:lnTo>
                  <a:lnTo>
                    <a:pt x="3815" y="6080"/>
                  </a:lnTo>
                  <a:lnTo>
                    <a:pt x="3796" y="6096"/>
                  </a:lnTo>
                  <a:lnTo>
                    <a:pt x="3786" y="6104"/>
                  </a:lnTo>
                  <a:lnTo>
                    <a:pt x="3776" y="6113"/>
                  </a:lnTo>
                  <a:lnTo>
                    <a:pt x="3767" y="6122"/>
                  </a:lnTo>
                  <a:lnTo>
                    <a:pt x="3758" y="6134"/>
                  </a:lnTo>
                  <a:lnTo>
                    <a:pt x="3750" y="6147"/>
                  </a:lnTo>
                  <a:lnTo>
                    <a:pt x="3742" y="6161"/>
                  </a:lnTo>
                  <a:lnTo>
                    <a:pt x="3736" y="6179"/>
                  </a:lnTo>
                  <a:lnTo>
                    <a:pt x="3732" y="6198"/>
                  </a:lnTo>
                  <a:lnTo>
                    <a:pt x="3730" y="6220"/>
                  </a:lnTo>
                  <a:lnTo>
                    <a:pt x="3730" y="6246"/>
                  </a:lnTo>
                  <a:lnTo>
                    <a:pt x="3730" y="6246"/>
                  </a:lnTo>
                  <a:lnTo>
                    <a:pt x="3732" y="6259"/>
                  </a:lnTo>
                  <a:lnTo>
                    <a:pt x="3735" y="6272"/>
                  </a:lnTo>
                  <a:lnTo>
                    <a:pt x="3739" y="6284"/>
                  </a:lnTo>
                  <a:lnTo>
                    <a:pt x="3744" y="6296"/>
                  </a:lnTo>
                  <a:lnTo>
                    <a:pt x="3751" y="6306"/>
                  </a:lnTo>
                  <a:lnTo>
                    <a:pt x="3757" y="6318"/>
                  </a:lnTo>
                  <a:lnTo>
                    <a:pt x="3763" y="6327"/>
                  </a:lnTo>
                  <a:lnTo>
                    <a:pt x="3770" y="6336"/>
                  </a:lnTo>
                  <a:lnTo>
                    <a:pt x="3784" y="6351"/>
                  </a:lnTo>
                  <a:lnTo>
                    <a:pt x="3797" y="6363"/>
                  </a:lnTo>
                  <a:lnTo>
                    <a:pt x="3807" y="6370"/>
                  </a:lnTo>
                  <a:lnTo>
                    <a:pt x="3810" y="6372"/>
                  </a:lnTo>
                  <a:lnTo>
                    <a:pt x="3813" y="6373"/>
                  </a:lnTo>
                  <a:lnTo>
                    <a:pt x="3813" y="6373"/>
                  </a:lnTo>
                  <a:lnTo>
                    <a:pt x="3814" y="6372"/>
                  </a:lnTo>
                  <a:lnTo>
                    <a:pt x="3815" y="6371"/>
                  </a:lnTo>
                  <a:lnTo>
                    <a:pt x="3816" y="6366"/>
                  </a:lnTo>
                  <a:lnTo>
                    <a:pt x="3818" y="6358"/>
                  </a:lnTo>
                  <a:lnTo>
                    <a:pt x="3818" y="6348"/>
                  </a:lnTo>
                  <a:lnTo>
                    <a:pt x="3820" y="6324"/>
                  </a:lnTo>
                  <a:lnTo>
                    <a:pt x="3823" y="6295"/>
                  </a:lnTo>
                  <a:lnTo>
                    <a:pt x="3825" y="6281"/>
                  </a:lnTo>
                  <a:lnTo>
                    <a:pt x="3828" y="6265"/>
                  </a:lnTo>
                  <a:lnTo>
                    <a:pt x="3831" y="6252"/>
                  </a:lnTo>
                  <a:lnTo>
                    <a:pt x="3836" y="6239"/>
                  </a:lnTo>
                  <a:lnTo>
                    <a:pt x="3843" y="6228"/>
                  </a:lnTo>
                  <a:lnTo>
                    <a:pt x="3847" y="6224"/>
                  </a:lnTo>
                  <a:lnTo>
                    <a:pt x="3851" y="6218"/>
                  </a:lnTo>
                  <a:lnTo>
                    <a:pt x="3855" y="6215"/>
                  </a:lnTo>
                  <a:lnTo>
                    <a:pt x="3860" y="6212"/>
                  </a:lnTo>
                  <a:lnTo>
                    <a:pt x="3865" y="6209"/>
                  </a:lnTo>
                  <a:lnTo>
                    <a:pt x="3871" y="6208"/>
                  </a:lnTo>
                  <a:lnTo>
                    <a:pt x="3871" y="6208"/>
                  </a:lnTo>
                  <a:lnTo>
                    <a:pt x="3877" y="6207"/>
                  </a:lnTo>
                  <a:lnTo>
                    <a:pt x="3882" y="6208"/>
                  </a:lnTo>
                  <a:lnTo>
                    <a:pt x="3888" y="6210"/>
                  </a:lnTo>
                  <a:lnTo>
                    <a:pt x="3892" y="6214"/>
                  </a:lnTo>
                  <a:lnTo>
                    <a:pt x="3902" y="6223"/>
                  </a:lnTo>
                  <a:lnTo>
                    <a:pt x="3911" y="6233"/>
                  </a:lnTo>
                  <a:lnTo>
                    <a:pt x="3921" y="6243"/>
                  </a:lnTo>
                  <a:lnTo>
                    <a:pt x="3926" y="6248"/>
                  </a:lnTo>
                  <a:lnTo>
                    <a:pt x="3933" y="6252"/>
                  </a:lnTo>
                  <a:lnTo>
                    <a:pt x="3940" y="6256"/>
                  </a:lnTo>
                  <a:lnTo>
                    <a:pt x="3946" y="6259"/>
                  </a:lnTo>
                  <a:lnTo>
                    <a:pt x="3954" y="6260"/>
                  </a:lnTo>
                  <a:lnTo>
                    <a:pt x="3962" y="6261"/>
                  </a:lnTo>
                  <a:lnTo>
                    <a:pt x="3962" y="6261"/>
                  </a:lnTo>
                  <a:lnTo>
                    <a:pt x="3970" y="6260"/>
                  </a:lnTo>
                  <a:lnTo>
                    <a:pt x="3979" y="6257"/>
                  </a:lnTo>
                  <a:lnTo>
                    <a:pt x="3987" y="6254"/>
                  </a:lnTo>
                  <a:lnTo>
                    <a:pt x="3996" y="6250"/>
                  </a:lnTo>
                  <a:lnTo>
                    <a:pt x="4005" y="6244"/>
                  </a:lnTo>
                  <a:lnTo>
                    <a:pt x="4014" y="6238"/>
                  </a:lnTo>
                  <a:lnTo>
                    <a:pt x="4035" y="6221"/>
                  </a:lnTo>
                  <a:lnTo>
                    <a:pt x="4055" y="6204"/>
                  </a:lnTo>
                  <a:lnTo>
                    <a:pt x="4077" y="6184"/>
                  </a:lnTo>
                  <a:lnTo>
                    <a:pt x="4122" y="6141"/>
                  </a:lnTo>
                  <a:lnTo>
                    <a:pt x="4144" y="6119"/>
                  </a:lnTo>
                  <a:lnTo>
                    <a:pt x="4166" y="6099"/>
                  </a:lnTo>
                  <a:lnTo>
                    <a:pt x="4187" y="6079"/>
                  </a:lnTo>
                  <a:lnTo>
                    <a:pt x="4208" y="6064"/>
                  </a:lnTo>
                  <a:lnTo>
                    <a:pt x="4227" y="6051"/>
                  </a:lnTo>
                  <a:lnTo>
                    <a:pt x="4236" y="6046"/>
                  </a:lnTo>
                  <a:lnTo>
                    <a:pt x="4245" y="6042"/>
                  </a:lnTo>
                  <a:lnTo>
                    <a:pt x="4254" y="6038"/>
                  </a:lnTo>
                  <a:lnTo>
                    <a:pt x="4262" y="6036"/>
                  </a:lnTo>
                  <a:lnTo>
                    <a:pt x="4270" y="6036"/>
                  </a:lnTo>
                  <a:lnTo>
                    <a:pt x="4277" y="6037"/>
                  </a:lnTo>
                  <a:lnTo>
                    <a:pt x="4277" y="6037"/>
                  </a:lnTo>
                  <a:lnTo>
                    <a:pt x="4278" y="6038"/>
                  </a:lnTo>
                  <a:lnTo>
                    <a:pt x="4279" y="6041"/>
                  </a:lnTo>
                  <a:lnTo>
                    <a:pt x="4278" y="6044"/>
                  </a:lnTo>
                  <a:lnTo>
                    <a:pt x="4277" y="6046"/>
                  </a:lnTo>
                  <a:lnTo>
                    <a:pt x="4272" y="6053"/>
                  </a:lnTo>
                  <a:lnTo>
                    <a:pt x="4264" y="6061"/>
                  </a:lnTo>
                  <a:lnTo>
                    <a:pt x="4241" y="6082"/>
                  </a:lnTo>
                  <a:lnTo>
                    <a:pt x="4212" y="6109"/>
                  </a:lnTo>
                  <a:lnTo>
                    <a:pt x="4181" y="6139"/>
                  </a:lnTo>
                  <a:lnTo>
                    <a:pt x="4167" y="6154"/>
                  </a:lnTo>
                  <a:lnTo>
                    <a:pt x="4152" y="6170"/>
                  </a:lnTo>
                  <a:lnTo>
                    <a:pt x="4140" y="6187"/>
                  </a:lnTo>
                  <a:lnTo>
                    <a:pt x="4129" y="6204"/>
                  </a:lnTo>
                  <a:lnTo>
                    <a:pt x="4121" y="6220"/>
                  </a:lnTo>
                  <a:lnTo>
                    <a:pt x="4118" y="6229"/>
                  </a:lnTo>
                  <a:lnTo>
                    <a:pt x="4116" y="6238"/>
                  </a:lnTo>
                  <a:lnTo>
                    <a:pt x="4116" y="6238"/>
                  </a:lnTo>
                  <a:lnTo>
                    <a:pt x="4114" y="6250"/>
                  </a:lnTo>
                  <a:lnTo>
                    <a:pt x="4114" y="6261"/>
                  </a:lnTo>
                  <a:lnTo>
                    <a:pt x="4115" y="6273"/>
                  </a:lnTo>
                  <a:lnTo>
                    <a:pt x="4119" y="6282"/>
                  </a:lnTo>
                  <a:lnTo>
                    <a:pt x="4123" y="6290"/>
                  </a:lnTo>
                  <a:lnTo>
                    <a:pt x="4129" y="6298"/>
                  </a:lnTo>
                  <a:lnTo>
                    <a:pt x="4135" y="6305"/>
                  </a:lnTo>
                  <a:lnTo>
                    <a:pt x="4142" y="6311"/>
                  </a:lnTo>
                  <a:lnTo>
                    <a:pt x="4157" y="6325"/>
                  </a:lnTo>
                  <a:lnTo>
                    <a:pt x="4163" y="6331"/>
                  </a:lnTo>
                  <a:lnTo>
                    <a:pt x="4169" y="6338"/>
                  </a:lnTo>
                  <a:lnTo>
                    <a:pt x="4175" y="6345"/>
                  </a:lnTo>
                  <a:lnTo>
                    <a:pt x="4179" y="6352"/>
                  </a:lnTo>
                  <a:lnTo>
                    <a:pt x="4182" y="6361"/>
                  </a:lnTo>
                  <a:lnTo>
                    <a:pt x="4183" y="6370"/>
                  </a:lnTo>
                  <a:lnTo>
                    <a:pt x="4183" y="6370"/>
                  </a:lnTo>
                  <a:lnTo>
                    <a:pt x="4184" y="6380"/>
                  </a:lnTo>
                  <a:lnTo>
                    <a:pt x="4186" y="6391"/>
                  </a:lnTo>
                  <a:lnTo>
                    <a:pt x="4189" y="6400"/>
                  </a:lnTo>
                  <a:lnTo>
                    <a:pt x="4193" y="6411"/>
                  </a:lnTo>
                  <a:lnTo>
                    <a:pt x="4198" y="6420"/>
                  </a:lnTo>
                  <a:lnTo>
                    <a:pt x="4205" y="6429"/>
                  </a:lnTo>
                  <a:lnTo>
                    <a:pt x="4212" y="6437"/>
                  </a:lnTo>
                  <a:lnTo>
                    <a:pt x="4220" y="6445"/>
                  </a:lnTo>
                  <a:lnTo>
                    <a:pt x="4228" y="6454"/>
                  </a:lnTo>
                  <a:lnTo>
                    <a:pt x="4237" y="6461"/>
                  </a:lnTo>
                  <a:lnTo>
                    <a:pt x="4257" y="6474"/>
                  </a:lnTo>
                  <a:lnTo>
                    <a:pt x="4278" y="6486"/>
                  </a:lnTo>
                  <a:lnTo>
                    <a:pt x="4300" y="6497"/>
                  </a:lnTo>
                  <a:lnTo>
                    <a:pt x="4322" y="6506"/>
                  </a:lnTo>
                  <a:lnTo>
                    <a:pt x="4344" y="6514"/>
                  </a:lnTo>
                  <a:lnTo>
                    <a:pt x="4364" y="6519"/>
                  </a:lnTo>
                  <a:lnTo>
                    <a:pt x="4382" y="6524"/>
                  </a:lnTo>
                  <a:lnTo>
                    <a:pt x="4399" y="6526"/>
                  </a:lnTo>
                  <a:lnTo>
                    <a:pt x="4412" y="6527"/>
                  </a:lnTo>
                  <a:lnTo>
                    <a:pt x="4421" y="6527"/>
                  </a:lnTo>
                  <a:lnTo>
                    <a:pt x="4424" y="6526"/>
                  </a:lnTo>
                  <a:lnTo>
                    <a:pt x="4426" y="6525"/>
                  </a:lnTo>
                  <a:lnTo>
                    <a:pt x="4426" y="6525"/>
                  </a:lnTo>
                  <a:lnTo>
                    <a:pt x="4427" y="6523"/>
                  </a:lnTo>
                  <a:lnTo>
                    <a:pt x="4427" y="6521"/>
                  </a:lnTo>
                  <a:lnTo>
                    <a:pt x="4425" y="6515"/>
                  </a:lnTo>
                  <a:lnTo>
                    <a:pt x="4420" y="6508"/>
                  </a:lnTo>
                  <a:lnTo>
                    <a:pt x="4412" y="6498"/>
                  </a:lnTo>
                  <a:lnTo>
                    <a:pt x="4393" y="6475"/>
                  </a:lnTo>
                  <a:lnTo>
                    <a:pt x="4369" y="6448"/>
                  </a:lnTo>
                  <a:lnTo>
                    <a:pt x="4358" y="6435"/>
                  </a:lnTo>
                  <a:lnTo>
                    <a:pt x="4348" y="6421"/>
                  </a:lnTo>
                  <a:lnTo>
                    <a:pt x="4339" y="6407"/>
                  </a:lnTo>
                  <a:lnTo>
                    <a:pt x="4330" y="6393"/>
                  </a:lnTo>
                  <a:lnTo>
                    <a:pt x="4325" y="6380"/>
                  </a:lnTo>
                  <a:lnTo>
                    <a:pt x="4324" y="6374"/>
                  </a:lnTo>
                  <a:lnTo>
                    <a:pt x="4323" y="6368"/>
                  </a:lnTo>
                  <a:lnTo>
                    <a:pt x="4323" y="6362"/>
                  </a:lnTo>
                  <a:lnTo>
                    <a:pt x="4324" y="6356"/>
                  </a:lnTo>
                  <a:lnTo>
                    <a:pt x="4326" y="6351"/>
                  </a:lnTo>
                  <a:lnTo>
                    <a:pt x="4329" y="6346"/>
                  </a:lnTo>
                  <a:lnTo>
                    <a:pt x="4329" y="6346"/>
                  </a:lnTo>
                  <a:lnTo>
                    <a:pt x="4333" y="6342"/>
                  </a:lnTo>
                  <a:lnTo>
                    <a:pt x="4337" y="6339"/>
                  </a:lnTo>
                  <a:lnTo>
                    <a:pt x="4343" y="6338"/>
                  </a:lnTo>
                  <a:lnTo>
                    <a:pt x="4347" y="6337"/>
                  </a:lnTo>
                  <a:lnTo>
                    <a:pt x="4352" y="6337"/>
                  </a:lnTo>
                  <a:lnTo>
                    <a:pt x="4358" y="6338"/>
                  </a:lnTo>
                  <a:lnTo>
                    <a:pt x="4370" y="6340"/>
                  </a:lnTo>
                  <a:lnTo>
                    <a:pt x="4384" y="6343"/>
                  </a:lnTo>
                  <a:lnTo>
                    <a:pt x="4392" y="6344"/>
                  </a:lnTo>
                  <a:lnTo>
                    <a:pt x="4399" y="6344"/>
                  </a:lnTo>
                  <a:lnTo>
                    <a:pt x="4408" y="6344"/>
                  </a:lnTo>
                  <a:lnTo>
                    <a:pt x="4416" y="6343"/>
                  </a:lnTo>
                  <a:lnTo>
                    <a:pt x="4425" y="6341"/>
                  </a:lnTo>
                  <a:lnTo>
                    <a:pt x="4436" y="6337"/>
                  </a:lnTo>
                  <a:lnTo>
                    <a:pt x="4436" y="6337"/>
                  </a:lnTo>
                  <a:lnTo>
                    <a:pt x="4437" y="6335"/>
                  </a:lnTo>
                  <a:lnTo>
                    <a:pt x="4438" y="6332"/>
                  </a:lnTo>
                  <a:lnTo>
                    <a:pt x="4438" y="6325"/>
                  </a:lnTo>
                  <a:lnTo>
                    <a:pt x="4436" y="6314"/>
                  </a:lnTo>
                  <a:lnTo>
                    <a:pt x="4434" y="6299"/>
                  </a:lnTo>
                  <a:lnTo>
                    <a:pt x="4431" y="6283"/>
                  </a:lnTo>
                  <a:lnTo>
                    <a:pt x="4428" y="6264"/>
                  </a:lnTo>
                  <a:lnTo>
                    <a:pt x="4426" y="6243"/>
                  </a:lnTo>
                  <a:lnTo>
                    <a:pt x="4426" y="6219"/>
                  </a:lnTo>
                  <a:lnTo>
                    <a:pt x="4428" y="6195"/>
                  </a:lnTo>
                  <a:lnTo>
                    <a:pt x="4431" y="6182"/>
                  </a:lnTo>
                  <a:lnTo>
                    <a:pt x="4434" y="6167"/>
                  </a:lnTo>
                  <a:lnTo>
                    <a:pt x="4437" y="6154"/>
                  </a:lnTo>
                  <a:lnTo>
                    <a:pt x="4441" y="6139"/>
                  </a:lnTo>
                  <a:lnTo>
                    <a:pt x="4446" y="6124"/>
                  </a:lnTo>
                  <a:lnTo>
                    <a:pt x="4453" y="6109"/>
                  </a:lnTo>
                  <a:lnTo>
                    <a:pt x="4460" y="6094"/>
                  </a:lnTo>
                  <a:lnTo>
                    <a:pt x="4469" y="6078"/>
                  </a:lnTo>
                  <a:lnTo>
                    <a:pt x="4479" y="6062"/>
                  </a:lnTo>
                  <a:lnTo>
                    <a:pt x="4490" y="6046"/>
                  </a:lnTo>
                  <a:lnTo>
                    <a:pt x="4503" y="6029"/>
                  </a:lnTo>
                  <a:lnTo>
                    <a:pt x="4516" y="6013"/>
                  </a:lnTo>
                  <a:lnTo>
                    <a:pt x="4533" y="5996"/>
                  </a:lnTo>
                  <a:lnTo>
                    <a:pt x="4550" y="5979"/>
                  </a:lnTo>
                  <a:lnTo>
                    <a:pt x="4550" y="5979"/>
                  </a:lnTo>
                  <a:lnTo>
                    <a:pt x="4557" y="5990"/>
                  </a:lnTo>
                  <a:lnTo>
                    <a:pt x="4566" y="6002"/>
                  </a:lnTo>
                  <a:lnTo>
                    <a:pt x="4578" y="6015"/>
                  </a:lnTo>
                  <a:lnTo>
                    <a:pt x="4586" y="6022"/>
                  </a:lnTo>
                  <a:lnTo>
                    <a:pt x="4594" y="6029"/>
                  </a:lnTo>
                  <a:lnTo>
                    <a:pt x="4603" y="6035"/>
                  </a:lnTo>
                  <a:lnTo>
                    <a:pt x="4614" y="6043"/>
                  </a:lnTo>
                  <a:lnTo>
                    <a:pt x="4624" y="6048"/>
                  </a:lnTo>
                  <a:lnTo>
                    <a:pt x="4636" y="6052"/>
                  </a:lnTo>
                  <a:lnTo>
                    <a:pt x="4648" y="6056"/>
                  </a:lnTo>
                  <a:lnTo>
                    <a:pt x="4662" y="6058"/>
                  </a:lnTo>
                  <a:lnTo>
                    <a:pt x="4662" y="6058"/>
                  </a:lnTo>
                  <a:lnTo>
                    <a:pt x="4668" y="6059"/>
                  </a:lnTo>
                  <a:lnTo>
                    <a:pt x="4673" y="6061"/>
                  </a:lnTo>
                  <a:lnTo>
                    <a:pt x="4677" y="6064"/>
                  </a:lnTo>
                  <a:lnTo>
                    <a:pt x="4681" y="6067"/>
                  </a:lnTo>
                  <a:lnTo>
                    <a:pt x="4685" y="6071"/>
                  </a:lnTo>
                  <a:lnTo>
                    <a:pt x="4688" y="6075"/>
                  </a:lnTo>
                  <a:lnTo>
                    <a:pt x="4692" y="6087"/>
                  </a:lnTo>
                  <a:lnTo>
                    <a:pt x="4696" y="6099"/>
                  </a:lnTo>
                  <a:lnTo>
                    <a:pt x="4698" y="6112"/>
                  </a:lnTo>
                  <a:lnTo>
                    <a:pt x="4698" y="6125"/>
                  </a:lnTo>
                  <a:lnTo>
                    <a:pt x="4698" y="6140"/>
                  </a:lnTo>
                  <a:lnTo>
                    <a:pt x="4696" y="6168"/>
                  </a:lnTo>
                  <a:lnTo>
                    <a:pt x="4694" y="6193"/>
                  </a:lnTo>
                  <a:lnTo>
                    <a:pt x="4692" y="6210"/>
                  </a:lnTo>
                  <a:lnTo>
                    <a:pt x="4692" y="6215"/>
                  </a:lnTo>
                  <a:lnTo>
                    <a:pt x="4693" y="6216"/>
                  </a:lnTo>
                  <a:lnTo>
                    <a:pt x="4694" y="6216"/>
                  </a:lnTo>
                  <a:lnTo>
                    <a:pt x="4694" y="6216"/>
                  </a:lnTo>
                  <a:lnTo>
                    <a:pt x="4697" y="6215"/>
                  </a:lnTo>
                  <a:lnTo>
                    <a:pt x="4702" y="6212"/>
                  </a:lnTo>
                  <a:lnTo>
                    <a:pt x="4708" y="6207"/>
                  </a:lnTo>
                  <a:lnTo>
                    <a:pt x="4714" y="6200"/>
                  </a:lnTo>
                  <a:lnTo>
                    <a:pt x="4721" y="6191"/>
                  </a:lnTo>
                  <a:lnTo>
                    <a:pt x="4729" y="6181"/>
                  </a:lnTo>
                  <a:lnTo>
                    <a:pt x="4736" y="6167"/>
                  </a:lnTo>
                  <a:lnTo>
                    <a:pt x="4743" y="6154"/>
                  </a:lnTo>
                  <a:lnTo>
                    <a:pt x="4751" y="6139"/>
                  </a:lnTo>
                  <a:lnTo>
                    <a:pt x="4758" y="6121"/>
                  </a:lnTo>
                  <a:lnTo>
                    <a:pt x="4763" y="6104"/>
                  </a:lnTo>
                  <a:lnTo>
                    <a:pt x="4768" y="6084"/>
                  </a:lnTo>
                  <a:lnTo>
                    <a:pt x="4771" y="6064"/>
                  </a:lnTo>
                  <a:lnTo>
                    <a:pt x="4773" y="6044"/>
                  </a:lnTo>
                  <a:lnTo>
                    <a:pt x="4772" y="6022"/>
                  </a:lnTo>
                  <a:lnTo>
                    <a:pt x="4770" y="6000"/>
                  </a:lnTo>
                  <a:lnTo>
                    <a:pt x="4770" y="6000"/>
                  </a:lnTo>
                  <a:lnTo>
                    <a:pt x="4778" y="5992"/>
                  </a:lnTo>
                  <a:lnTo>
                    <a:pt x="4798" y="5975"/>
                  </a:lnTo>
                  <a:lnTo>
                    <a:pt x="4809" y="5964"/>
                  </a:lnTo>
                  <a:lnTo>
                    <a:pt x="4819" y="5952"/>
                  </a:lnTo>
                  <a:lnTo>
                    <a:pt x="4827" y="5938"/>
                  </a:lnTo>
                  <a:lnTo>
                    <a:pt x="4830" y="5932"/>
                  </a:lnTo>
                  <a:lnTo>
                    <a:pt x="4832" y="5926"/>
                  </a:lnTo>
                  <a:lnTo>
                    <a:pt x="4832" y="5926"/>
                  </a:lnTo>
                  <a:lnTo>
                    <a:pt x="4834" y="5917"/>
                  </a:lnTo>
                  <a:lnTo>
                    <a:pt x="4835" y="5908"/>
                  </a:lnTo>
                  <a:lnTo>
                    <a:pt x="4836" y="5899"/>
                  </a:lnTo>
                  <a:lnTo>
                    <a:pt x="4835" y="5892"/>
                  </a:lnTo>
                  <a:lnTo>
                    <a:pt x="4834" y="5886"/>
                  </a:lnTo>
                  <a:lnTo>
                    <a:pt x="4832" y="5880"/>
                  </a:lnTo>
                  <a:lnTo>
                    <a:pt x="4830" y="5875"/>
                  </a:lnTo>
                  <a:lnTo>
                    <a:pt x="4827" y="5870"/>
                  </a:lnTo>
                  <a:lnTo>
                    <a:pt x="4819" y="5861"/>
                  </a:lnTo>
                  <a:lnTo>
                    <a:pt x="4810" y="5851"/>
                  </a:lnTo>
                  <a:lnTo>
                    <a:pt x="4800" y="5842"/>
                  </a:lnTo>
                  <a:lnTo>
                    <a:pt x="4789" y="5831"/>
                  </a:lnTo>
                  <a:lnTo>
                    <a:pt x="4778" y="5818"/>
                  </a:lnTo>
                  <a:lnTo>
                    <a:pt x="4772" y="5810"/>
                  </a:lnTo>
                  <a:lnTo>
                    <a:pt x="4767" y="5801"/>
                  </a:lnTo>
                  <a:lnTo>
                    <a:pt x="4762" y="5792"/>
                  </a:lnTo>
                  <a:lnTo>
                    <a:pt x="4757" y="5782"/>
                  </a:lnTo>
                  <a:lnTo>
                    <a:pt x="4753" y="5770"/>
                  </a:lnTo>
                  <a:lnTo>
                    <a:pt x="4749" y="5757"/>
                  </a:lnTo>
                  <a:lnTo>
                    <a:pt x="4744" y="5743"/>
                  </a:lnTo>
                  <a:lnTo>
                    <a:pt x="4741" y="5727"/>
                  </a:lnTo>
                  <a:lnTo>
                    <a:pt x="4738" y="5710"/>
                  </a:lnTo>
                  <a:lnTo>
                    <a:pt x="4736" y="5691"/>
                  </a:lnTo>
                  <a:lnTo>
                    <a:pt x="4735" y="5670"/>
                  </a:lnTo>
                  <a:lnTo>
                    <a:pt x="4734" y="5648"/>
                  </a:lnTo>
                  <a:lnTo>
                    <a:pt x="4734" y="5623"/>
                  </a:lnTo>
                  <a:lnTo>
                    <a:pt x="4735" y="5597"/>
                  </a:lnTo>
                  <a:lnTo>
                    <a:pt x="4735" y="5597"/>
                  </a:lnTo>
                  <a:lnTo>
                    <a:pt x="4735" y="5579"/>
                  </a:lnTo>
                  <a:lnTo>
                    <a:pt x="4734" y="5573"/>
                  </a:lnTo>
                  <a:lnTo>
                    <a:pt x="4733" y="5568"/>
                  </a:lnTo>
                  <a:lnTo>
                    <a:pt x="4731" y="5563"/>
                  </a:lnTo>
                  <a:lnTo>
                    <a:pt x="4729" y="5559"/>
                  </a:lnTo>
                  <a:lnTo>
                    <a:pt x="4727" y="5556"/>
                  </a:lnTo>
                  <a:lnTo>
                    <a:pt x="4724" y="5553"/>
                  </a:lnTo>
                  <a:lnTo>
                    <a:pt x="4716" y="5547"/>
                  </a:lnTo>
                  <a:lnTo>
                    <a:pt x="4706" y="5540"/>
                  </a:lnTo>
                  <a:lnTo>
                    <a:pt x="4693" y="5530"/>
                  </a:lnTo>
                  <a:lnTo>
                    <a:pt x="4679" y="5518"/>
                  </a:lnTo>
                  <a:lnTo>
                    <a:pt x="4679" y="5518"/>
                  </a:lnTo>
                  <a:lnTo>
                    <a:pt x="4671" y="5508"/>
                  </a:lnTo>
                  <a:lnTo>
                    <a:pt x="4664" y="5498"/>
                  </a:lnTo>
                  <a:lnTo>
                    <a:pt x="4659" y="5487"/>
                  </a:lnTo>
                  <a:lnTo>
                    <a:pt x="4655" y="5477"/>
                  </a:lnTo>
                  <a:lnTo>
                    <a:pt x="4654" y="5469"/>
                  </a:lnTo>
                  <a:lnTo>
                    <a:pt x="4654" y="5466"/>
                  </a:lnTo>
                  <a:lnTo>
                    <a:pt x="4654" y="5464"/>
                  </a:lnTo>
                  <a:lnTo>
                    <a:pt x="4657" y="5462"/>
                  </a:lnTo>
                  <a:lnTo>
                    <a:pt x="4659" y="5461"/>
                  </a:lnTo>
                  <a:lnTo>
                    <a:pt x="4661" y="5461"/>
                  </a:lnTo>
                  <a:lnTo>
                    <a:pt x="4665" y="5462"/>
                  </a:lnTo>
                  <a:lnTo>
                    <a:pt x="4665" y="5462"/>
                  </a:lnTo>
                  <a:lnTo>
                    <a:pt x="4679" y="5468"/>
                  </a:lnTo>
                  <a:lnTo>
                    <a:pt x="4693" y="5472"/>
                  </a:lnTo>
                  <a:lnTo>
                    <a:pt x="4708" y="5475"/>
                  </a:lnTo>
                  <a:lnTo>
                    <a:pt x="4723" y="5476"/>
                  </a:lnTo>
                  <a:lnTo>
                    <a:pt x="4737" y="5477"/>
                  </a:lnTo>
                  <a:lnTo>
                    <a:pt x="4752" y="5478"/>
                  </a:lnTo>
                  <a:lnTo>
                    <a:pt x="4765" y="5477"/>
                  </a:lnTo>
                  <a:lnTo>
                    <a:pt x="4778" y="5476"/>
                  </a:lnTo>
                  <a:lnTo>
                    <a:pt x="4802" y="5473"/>
                  </a:lnTo>
                  <a:lnTo>
                    <a:pt x="4819" y="5469"/>
                  </a:lnTo>
                  <a:lnTo>
                    <a:pt x="4835" y="5465"/>
                  </a:lnTo>
                  <a:lnTo>
                    <a:pt x="4835" y="5465"/>
                  </a:lnTo>
                  <a:lnTo>
                    <a:pt x="4844" y="5369"/>
                  </a:lnTo>
                  <a:lnTo>
                    <a:pt x="4849" y="5294"/>
                  </a:lnTo>
                  <a:lnTo>
                    <a:pt x="4851" y="5239"/>
                  </a:lnTo>
                  <a:lnTo>
                    <a:pt x="4851" y="5201"/>
                  </a:lnTo>
                  <a:lnTo>
                    <a:pt x="4849" y="5176"/>
                  </a:lnTo>
                  <a:lnTo>
                    <a:pt x="4847" y="5161"/>
                  </a:lnTo>
                  <a:lnTo>
                    <a:pt x="4845" y="5155"/>
                  </a:lnTo>
                  <a:lnTo>
                    <a:pt x="4844" y="5153"/>
                  </a:lnTo>
                  <a:lnTo>
                    <a:pt x="4844" y="5153"/>
                  </a:lnTo>
                  <a:lnTo>
                    <a:pt x="4825" y="5154"/>
                  </a:lnTo>
                  <a:lnTo>
                    <a:pt x="4808" y="5153"/>
                  </a:lnTo>
                  <a:lnTo>
                    <a:pt x="4791" y="5152"/>
                  </a:lnTo>
                  <a:lnTo>
                    <a:pt x="4776" y="5151"/>
                  </a:lnTo>
                  <a:lnTo>
                    <a:pt x="4763" y="5149"/>
                  </a:lnTo>
                  <a:lnTo>
                    <a:pt x="4750" y="5146"/>
                  </a:lnTo>
                  <a:lnTo>
                    <a:pt x="4737" y="5143"/>
                  </a:lnTo>
                  <a:lnTo>
                    <a:pt x="4726" y="5139"/>
                  </a:lnTo>
                  <a:lnTo>
                    <a:pt x="4716" y="5135"/>
                  </a:lnTo>
                  <a:lnTo>
                    <a:pt x="4707" y="5131"/>
                  </a:lnTo>
                  <a:lnTo>
                    <a:pt x="4698" y="5125"/>
                  </a:lnTo>
                  <a:lnTo>
                    <a:pt x="4690" y="5120"/>
                  </a:lnTo>
                  <a:lnTo>
                    <a:pt x="4683" y="5114"/>
                  </a:lnTo>
                  <a:lnTo>
                    <a:pt x="4676" y="5109"/>
                  </a:lnTo>
                  <a:lnTo>
                    <a:pt x="4665" y="5096"/>
                  </a:lnTo>
                  <a:lnTo>
                    <a:pt x="4665" y="5096"/>
                  </a:lnTo>
                  <a:lnTo>
                    <a:pt x="4677" y="5099"/>
                  </a:lnTo>
                  <a:lnTo>
                    <a:pt x="4690" y="5101"/>
                  </a:lnTo>
                  <a:lnTo>
                    <a:pt x="4717" y="5103"/>
                  </a:lnTo>
                  <a:lnTo>
                    <a:pt x="4742" y="5103"/>
                  </a:lnTo>
                  <a:lnTo>
                    <a:pt x="4768" y="5101"/>
                  </a:lnTo>
                  <a:lnTo>
                    <a:pt x="4790" y="5097"/>
                  </a:lnTo>
                  <a:lnTo>
                    <a:pt x="4812" y="5091"/>
                  </a:lnTo>
                  <a:lnTo>
                    <a:pt x="4821" y="5088"/>
                  </a:lnTo>
                  <a:lnTo>
                    <a:pt x="4829" y="5084"/>
                  </a:lnTo>
                  <a:lnTo>
                    <a:pt x="4838" y="5078"/>
                  </a:lnTo>
                  <a:lnTo>
                    <a:pt x="4844" y="5074"/>
                  </a:lnTo>
                  <a:lnTo>
                    <a:pt x="4844" y="5074"/>
                  </a:lnTo>
                  <a:lnTo>
                    <a:pt x="4843" y="5026"/>
                  </a:lnTo>
                  <a:lnTo>
                    <a:pt x="4841" y="4978"/>
                  </a:lnTo>
                  <a:lnTo>
                    <a:pt x="4838" y="4923"/>
                  </a:lnTo>
                  <a:lnTo>
                    <a:pt x="4833" y="4868"/>
                  </a:lnTo>
                  <a:lnTo>
                    <a:pt x="4831" y="4843"/>
                  </a:lnTo>
                  <a:lnTo>
                    <a:pt x="4828" y="4821"/>
                  </a:lnTo>
                  <a:lnTo>
                    <a:pt x="4825" y="4802"/>
                  </a:lnTo>
                  <a:lnTo>
                    <a:pt x="4822" y="4788"/>
                  </a:lnTo>
                  <a:lnTo>
                    <a:pt x="4820" y="4783"/>
                  </a:lnTo>
                  <a:lnTo>
                    <a:pt x="4818" y="4780"/>
                  </a:lnTo>
                  <a:lnTo>
                    <a:pt x="4816" y="4778"/>
                  </a:lnTo>
                  <a:lnTo>
                    <a:pt x="4814" y="4778"/>
                  </a:lnTo>
                  <a:lnTo>
                    <a:pt x="4814" y="4778"/>
                  </a:lnTo>
                  <a:lnTo>
                    <a:pt x="4786" y="4785"/>
                  </a:lnTo>
                  <a:lnTo>
                    <a:pt x="4760" y="4790"/>
                  </a:lnTo>
                  <a:lnTo>
                    <a:pt x="4746" y="4791"/>
                  </a:lnTo>
                  <a:lnTo>
                    <a:pt x="4734" y="4792"/>
                  </a:lnTo>
                  <a:lnTo>
                    <a:pt x="4722" y="4792"/>
                  </a:lnTo>
                  <a:lnTo>
                    <a:pt x="4711" y="4791"/>
                  </a:lnTo>
                  <a:lnTo>
                    <a:pt x="4698" y="4789"/>
                  </a:lnTo>
                  <a:lnTo>
                    <a:pt x="4687" y="4787"/>
                  </a:lnTo>
                  <a:lnTo>
                    <a:pt x="4675" y="4784"/>
                  </a:lnTo>
                  <a:lnTo>
                    <a:pt x="4664" y="4780"/>
                  </a:lnTo>
                  <a:lnTo>
                    <a:pt x="4652" y="4775"/>
                  </a:lnTo>
                  <a:lnTo>
                    <a:pt x="4640" y="4770"/>
                  </a:lnTo>
                  <a:lnTo>
                    <a:pt x="4629" y="4762"/>
                  </a:lnTo>
                  <a:lnTo>
                    <a:pt x="4618" y="4755"/>
                  </a:lnTo>
                  <a:lnTo>
                    <a:pt x="4618" y="4755"/>
                  </a:lnTo>
                  <a:lnTo>
                    <a:pt x="4613" y="4752"/>
                  </a:lnTo>
                  <a:lnTo>
                    <a:pt x="4608" y="4748"/>
                  </a:lnTo>
                  <a:lnTo>
                    <a:pt x="4602" y="4740"/>
                  </a:lnTo>
                  <a:lnTo>
                    <a:pt x="4597" y="4731"/>
                  </a:lnTo>
                  <a:lnTo>
                    <a:pt x="4594" y="4721"/>
                  </a:lnTo>
                  <a:lnTo>
                    <a:pt x="4592" y="4709"/>
                  </a:lnTo>
                  <a:lnTo>
                    <a:pt x="4591" y="4699"/>
                  </a:lnTo>
                  <a:lnTo>
                    <a:pt x="4590" y="4677"/>
                  </a:lnTo>
                  <a:lnTo>
                    <a:pt x="4589" y="4655"/>
                  </a:lnTo>
                  <a:lnTo>
                    <a:pt x="4587" y="4646"/>
                  </a:lnTo>
                  <a:lnTo>
                    <a:pt x="4585" y="4638"/>
                  </a:lnTo>
                  <a:lnTo>
                    <a:pt x="4581" y="4631"/>
                  </a:lnTo>
                  <a:lnTo>
                    <a:pt x="4575" y="4624"/>
                  </a:lnTo>
                  <a:lnTo>
                    <a:pt x="4571" y="4621"/>
                  </a:lnTo>
                  <a:lnTo>
                    <a:pt x="4567" y="4619"/>
                  </a:lnTo>
                  <a:lnTo>
                    <a:pt x="4561" y="4618"/>
                  </a:lnTo>
                  <a:lnTo>
                    <a:pt x="4556" y="4617"/>
                  </a:lnTo>
                  <a:lnTo>
                    <a:pt x="4556" y="4617"/>
                  </a:lnTo>
                  <a:lnTo>
                    <a:pt x="4534" y="4610"/>
                  </a:lnTo>
                  <a:lnTo>
                    <a:pt x="4511" y="4603"/>
                  </a:lnTo>
                  <a:lnTo>
                    <a:pt x="4489" y="4595"/>
                  </a:lnTo>
                  <a:lnTo>
                    <a:pt x="4468" y="4585"/>
                  </a:lnTo>
                  <a:lnTo>
                    <a:pt x="4448" y="4575"/>
                  </a:lnTo>
                  <a:lnTo>
                    <a:pt x="4428" y="4564"/>
                  </a:lnTo>
                  <a:lnTo>
                    <a:pt x="4410" y="4554"/>
                  </a:lnTo>
                  <a:lnTo>
                    <a:pt x="4394" y="4543"/>
                  </a:lnTo>
                  <a:lnTo>
                    <a:pt x="4377" y="4531"/>
                  </a:lnTo>
                  <a:lnTo>
                    <a:pt x="4363" y="4521"/>
                  </a:lnTo>
                  <a:lnTo>
                    <a:pt x="4337" y="4501"/>
                  </a:lnTo>
                  <a:lnTo>
                    <a:pt x="4318" y="4482"/>
                  </a:lnTo>
                  <a:lnTo>
                    <a:pt x="4306" y="4467"/>
                  </a:lnTo>
                  <a:lnTo>
                    <a:pt x="4306" y="4467"/>
                  </a:lnTo>
                  <a:lnTo>
                    <a:pt x="4297" y="4455"/>
                  </a:lnTo>
                  <a:lnTo>
                    <a:pt x="4288" y="4442"/>
                  </a:lnTo>
                  <a:lnTo>
                    <a:pt x="4282" y="4431"/>
                  </a:lnTo>
                  <a:lnTo>
                    <a:pt x="4277" y="4420"/>
                  </a:lnTo>
                  <a:lnTo>
                    <a:pt x="4273" y="4410"/>
                  </a:lnTo>
                  <a:lnTo>
                    <a:pt x="4270" y="4401"/>
                  </a:lnTo>
                  <a:lnTo>
                    <a:pt x="4266" y="4384"/>
                  </a:lnTo>
                  <a:lnTo>
                    <a:pt x="4265" y="4371"/>
                  </a:lnTo>
                  <a:lnTo>
                    <a:pt x="4265" y="4361"/>
                  </a:lnTo>
                  <a:lnTo>
                    <a:pt x="4266" y="4352"/>
                  </a:lnTo>
                  <a:lnTo>
                    <a:pt x="4266" y="4352"/>
                  </a:lnTo>
                  <a:lnTo>
                    <a:pt x="4284" y="4362"/>
                  </a:lnTo>
                  <a:lnTo>
                    <a:pt x="4302" y="4368"/>
                  </a:lnTo>
                  <a:lnTo>
                    <a:pt x="4321" y="4373"/>
                  </a:lnTo>
                  <a:lnTo>
                    <a:pt x="4340" y="4376"/>
                  </a:lnTo>
                  <a:lnTo>
                    <a:pt x="4358" y="4378"/>
                  </a:lnTo>
                  <a:lnTo>
                    <a:pt x="4377" y="4377"/>
                  </a:lnTo>
                  <a:lnTo>
                    <a:pt x="4396" y="4374"/>
                  </a:lnTo>
                  <a:lnTo>
                    <a:pt x="4414" y="4370"/>
                  </a:lnTo>
                  <a:lnTo>
                    <a:pt x="4434" y="4130"/>
                  </a:lnTo>
                  <a:lnTo>
                    <a:pt x="4434" y="4130"/>
                  </a:lnTo>
                  <a:lnTo>
                    <a:pt x="4425" y="4129"/>
                  </a:lnTo>
                  <a:lnTo>
                    <a:pt x="4405" y="4126"/>
                  </a:lnTo>
                  <a:lnTo>
                    <a:pt x="4392" y="4123"/>
                  </a:lnTo>
                  <a:lnTo>
                    <a:pt x="4377" y="4119"/>
                  </a:lnTo>
                  <a:lnTo>
                    <a:pt x="4362" y="4115"/>
                  </a:lnTo>
                  <a:lnTo>
                    <a:pt x="4348" y="4109"/>
                  </a:lnTo>
                  <a:lnTo>
                    <a:pt x="4348" y="4109"/>
                  </a:lnTo>
                  <a:lnTo>
                    <a:pt x="4339" y="4105"/>
                  </a:lnTo>
                  <a:lnTo>
                    <a:pt x="4331" y="4100"/>
                  </a:lnTo>
                  <a:lnTo>
                    <a:pt x="4323" y="4094"/>
                  </a:lnTo>
                  <a:lnTo>
                    <a:pt x="4316" y="4088"/>
                  </a:lnTo>
                  <a:lnTo>
                    <a:pt x="4302" y="4074"/>
                  </a:lnTo>
                  <a:lnTo>
                    <a:pt x="4289" y="4061"/>
                  </a:lnTo>
                  <a:lnTo>
                    <a:pt x="4280" y="4048"/>
                  </a:lnTo>
                  <a:lnTo>
                    <a:pt x="4273" y="4038"/>
                  </a:lnTo>
                  <a:lnTo>
                    <a:pt x="4267" y="4028"/>
                  </a:lnTo>
                  <a:lnTo>
                    <a:pt x="4267" y="4028"/>
                  </a:lnTo>
                  <a:lnTo>
                    <a:pt x="4274" y="4031"/>
                  </a:lnTo>
                  <a:lnTo>
                    <a:pt x="4293" y="4039"/>
                  </a:lnTo>
                  <a:lnTo>
                    <a:pt x="4321" y="4047"/>
                  </a:lnTo>
                  <a:lnTo>
                    <a:pt x="4339" y="4051"/>
                  </a:lnTo>
                  <a:lnTo>
                    <a:pt x="4356" y="4054"/>
                  </a:lnTo>
                  <a:lnTo>
                    <a:pt x="4356" y="4054"/>
                  </a:lnTo>
                  <a:lnTo>
                    <a:pt x="4375" y="4056"/>
                  </a:lnTo>
                  <a:lnTo>
                    <a:pt x="4392" y="4057"/>
                  </a:lnTo>
                  <a:lnTo>
                    <a:pt x="4407" y="4055"/>
                  </a:lnTo>
                  <a:lnTo>
                    <a:pt x="4419" y="4053"/>
                  </a:lnTo>
                  <a:lnTo>
                    <a:pt x="4430" y="4051"/>
                  </a:lnTo>
                  <a:lnTo>
                    <a:pt x="4438" y="4049"/>
                  </a:lnTo>
                  <a:lnTo>
                    <a:pt x="4444" y="4046"/>
                  </a:lnTo>
                  <a:lnTo>
                    <a:pt x="4477" y="3775"/>
                  </a:lnTo>
                  <a:lnTo>
                    <a:pt x="4477" y="3775"/>
                  </a:lnTo>
                  <a:lnTo>
                    <a:pt x="4451" y="3776"/>
                  </a:lnTo>
                  <a:lnTo>
                    <a:pt x="4427" y="3775"/>
                  </a:lnTo>
                  <a:lnTo>
                    <a:pt x="4408" y="3773"/>
                  </a:lnTo>
                  <a:lnTo>
                    <a:pt x="4392" y="3768"/>
                  </a:lnTo>
                  <a:lnTo>
                    <a:pt x="4377" y="3762"/>
                  </a:lnTo>
                  <a:lnTo>
                    <a:pt x="4365" y="3755"/>
                  </a:lnTo>
                  <a:lnTo>
                    <a:pt x="4356" y="3747"/>
                  </a:lnTo>
                  <a:lnTo>
                    <a:pt x="4348" y="3739"/>
                  </a:lnTo>
                  <a:lnTo>
                    <a:pt x="4343" y="3731"/>
                  </a:lnTo>
                  <a:lnTo>
                    <a:pt x="4337" y="3722"/>
                  </a:lnTo>
                  <a:lnTo>
                    <a:pt x="4335" y="3713"/>
                  </a:lnTo>
                  <a:lnTo>
                    <a:pt x="4333" y="3705"/>
                  </a:lnTo>
                  <a:lnTo>
                    <a:pt x="4332" y="3697"/>
                  </a:lnTo>
                  <a:lnTo>
                    <a:pt x="4331" y="3691"/>
                  </a:lnTo>
                  <a:lnTo>
                    <a:pt x="4332" y="3682"/>
                  </a:lnTo>
                  <a:lnTo>
                    <a:pt x="4332" y="3682"/>
                  </a:lnTo>
                  <a:lnTo>
                    <a:pt x="4357" y="3677"/>
                  </a:lnTo>
                  <a:lnTo>
                    <a:pt x="4381" y="3671"/>
                  </a:lnTo>
                  <a:lnTo>
                    <a:pt x="4405" y="3663"/>
                  </a:lnTo>
                  <a:lnTo>
                    <a:pt x="4428" y="3656"/>
                  </a:lnTo>
                  <a:lnTo>
                    <a:pt x="4451" y="3647"/>
                  </a:lnTo>
                  <a:lnTo>
                    <a:pt x="4473" y="3637"/>
                  </a:lnTo>
                  <a:lnTo>
                    <a:pt x="4495" y="3626"/>
                  </a:lnTo>
                  <a:lnTo>
                    <a:pt x="4515" y="3613"/>
                  </a:lnTo>
                  <a:lnTo>
                    <a:pt x="4536" y="3601"/>
                  </a:lnTo>
                  <a:lnTo>
                    <a:pt x="4555" y="3588"/>
                  </a:lnTo>
                  <a:lnTo>
                    <a:pt x="4574" y="3573"/>
                  </a:lnTo>
                  <a:lnTo>
                    <a:pt x="4592" y="3558"/>
                  </a:lnTo>
                  <a:lnTo>
                    <a:pt x="4609" y="3543"/>
                  </a:lnTo>
                  <a:lnTo>
                    <a:pt x="4627" y="3526"/>
                  </a:lnTo>
                  <a:lnTo>
                    <a:pt x="4642" y="3510"/>
                  </a:lnTo>
                  <a:lnTo>
                    <a:pt x="4659" y="3493"/>
                  </a:lnTo>
                  <a:lnTo>
                    <a:pt x="4673" y="3474"/>
                  </a:lnTo>
                  <a:lnTo>
                    <a:pt x="4688" y="3456"/>
                  </a:lnTo>
                  <a:lnTo>
                    <a:pt x="4702" y="3437"/>
                  </a:lnTo>
                  <a:lnTo>
                    <a:pt x="4715" y="3418"/>
                  </a:lnTo>
                  <a:lnTo>
                    <a:pt x="4727" y="3399"/>
                  </a:lnTo>
                  <a:lnTo>
                    <a:pt x="4738" y="3379"/>
                  </a:lnTo>
                  <a:lnTo>
                    <a:pt x="4750" y="3360"/>
                  </a:lnTo>
                  <a:lnTo>
                    <a:pt x="4760" y="3339"/>
                  </a:lnTo>
                  <a:lnTo>
                    <a:pt x="4770" y="3319"/>
                  </a:lnTo>
                  <a:lnTo>
                    <a:pt x="4779" y="3298"/>
                  </a:lnTo>
                  <a:lnTo>
                    <a:pt x="4787" y="3278"/>
                  </a:lnTo>
                  <a:lnTo>
                    <a:pt x="4796" y="3257"/>
                  </a:lnTo>
                  <a:lnTo>
                    <a:pt x="4803" y="3237"/>
                  </a:lnTo>
                  <a:lnTo>
                    <a:pt x="4809" y="3217"/>
                  </a:lnTo>
                  <a:lnTo>
                    <a:pt x="4815" y="3196"/>
                  </a:lnTo>
                  <a:lnTo>
                    <a:pt x="4820" y="3177"/>
                  </a:lnTo>
                  <a:lnTo>
                    <a:pt x="4820" y="3177"/>
                  </a:lnTo>
                  <a:lnTo>
                    <a:pt x="4831" y="3183"/>
                  </a:lnTo>
                  <a:lnTo>
                    <a:pt x="4847" y="3189"/>
                  </a:lnTo>
                  <a:lnTo>
                    <a:pt x="4864" y="3195"/>
                  </a:lnTo>
                  <a:lnTo>
                    <a:pt x="4882" y="3200"/>
                  </a:lnTo>
                  <a:lnTo>
                    <a:pt x="4903" y="3203"/>
                  </a:lnTo>
                  <a:lnTo>
                    <a:pt x="4913" y="3204"/>
                  </a:lnTo>
                  <a:lnTo>
                    <a:pt x="4923" y="3205"/>
                  </a:lnTo>
                  <a:lnTo>
                    <a:pt x="4935" y="3204"/>
                  </a:lnTo>
                  <a:lnTo>
                    <a:pt x="4945" y="3203"/>
                  </a:lnTo>
                  <a:lnTo>
                    <a:pt x="4955" y="3201"/>
                  </a:lnTo>
                  <a:lnTo>
                    <a:pt x="4965" y="3198"/>
                  </a:lnTo>
                  <a:lnTo>
                    <a:pt x="4965" y="3198"/>
                  </a:lnTo>
                  <a:lnTo>
                    <a:pt x="4967" y="3170"/>
                  </a:lnTo>
                  <a:lnTo>
                    <a:pt x="4970" y="3103"/>
                  </a:lnTo>
                  <a:lnTo>
                    <a:pt x="4972" y="3067"/>
                  </a:lnTo>
                  <a:lnTo>
                    <a:pt x="4973" y="3033"/>
                  </a:lnTo>
                  <a:lnTo>
                    <a:pt x="4972" y="3005"/>
                  </a:lnTo>
                  <a:lnTo>
                    <a:pt x="4972" y="2995"/>
                  </a:lnTo>
                  <a:lnTo>
                    <a:pt x="4970" y="2989"/>
                  </a:lnTo>
                  <a:lnTo>
                    <a:pt x="4970" y="2989"/>
                  </a:lnTo>
                  <a:lnTo>
                    <a:pt x="4955" y="2987"/>
                  </a:lnTo>
                  <a:lnTo>
                    <a:pt x="4938" y="2984"/>
                  </a:lnTo>
                  <a:lnTo>
                    <a:pt x="4919" y="2979"/>
                  </a:lnTo>
                  <a:lnTo>
                    <a:pt x="4911" y="2976"/>
                  </a:lnTo>
                  <a:lnTo>
                    <a:pt x="4902" y="2973"/>
                  </a:lnTo>
                  <a:lnTo>
                    <a:pt x="4893" y="2968"/>
                  </a:lnTo>
                  <a:lnTo>
                    <a:pt x="4885" y="2964"/>
                  </a:lnTo>
                  <a:lnTo>
                    <a:pt x="4876" y="2958"/>
                  </a:lnTo>
                  <a:lnTo>
                    <a:pt x="4868" y="2951"/>
                  </a:lnTo>
                  <a:lnTo>
                    <a:pt x="4861" y="2944"/>
                  </a:lnTo>
                  <a:lnTo>
                    <a:pt x="4854" y="2935"/>
                  </a:lnTo>
                  <a:lnTo>
                    <a:pt x="4848" y="2926"/>
                  </a:lnTo>
                  <a:lnTo>
                    <a:pt x="4842" y="29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7" name="Freeform 30"/>
            <p:cNvSpPr>
              <a:spLocks/>
            </p:cNvSpPr>
            <p:nvPr userDrawn="1"/>
          </p:nvSpPr>
          <p:spPr bwMode="auto">
            <a:xfrm>
              <a:off x="5923209" y="1166981"/>
              <a:ext cx="371474" cy="98425"/>
            </a:xfrm>
            <a:custGeom>
              <a:avLst/>
              <a:gdLst>
                <a:gd name="T0" fmla="*/ 87 w 2807"/>
                <a:gd name="T1" fmla="*/ 343 h 743"/>
                <a:gd name="T2" fmla="*/ 203 w 2807"/>
                <a:gd name="T3" fmla="*/ 417 h 743"/>
                <a:gd name="T4" fmla="*/ 319 w 2807"/>
                <a:gd name="T5" fmla="*/ 479 h 743"/>
                <a:gd name="T6" fmla="*/ 430 w 2807"/>
                <a:gd name="T7" fmla="*/ 529 h 743"/>
                <a:gd name="T8" fmla="*/ 603 w 2807"/>
                <a:gd name="T9" fmla="*/ 595 h 743"/>
                <a:gd name="T10" fmla="*/ 724 w 2807"/>
                <a:gd name="T11" fmla="*/ 633 h 743"/>
                <a:gd name="T12" fmla="*/ 857 w 2807"/>
                <a:gd name="T13" fmla="*/ 666 h 743"/>
                <a:gd name="T14" fmla="*/ 1001 w 2807"/>
                <a:gd name="T15" fmla="*/ 696 h 743"/>
                <a:gd name="T16" fmla="*/ 1157 w 2807"/>
                <a:gd name="T17" fmla="*/ 719 h 743"/>
                <a:gd name="T18" fmla="*/ 1324 w 2807"/>
                <a:gd name="T19" fmla="*/ 736 h 743"/>
                <a:gd name="T20" fmla="*/ 1502 w 2807"/>
                <a:gd name="T21" fmla="*/ 743 h 743"/>
                <a:gd name="T22" fmla="*/ 1689 w 2807"/>
                <a:gd name="T23" fmla="*/ 738 h 743"/>
                <a:gd name="T24" fmla="*/ 1819 w 2807"/>
                <a:gd name="T25" fmla="*/ 729 h 743"/>
                <a:gd name="T26" fmla="*/ 1999 w 2807"/>
                <a:gd name="T27" fmla="*/ 706 h 743"/>
                <a:gd name="T28" fmla="*/ 2159 w 2807"/>
                <a:gd name="T29" fmla="*/ 678 h 743"/>
                <a:gd name="T30" fmla="*/ 2302 w 2807"/>
                <a:gd name="T31" fmla="*/ 643 h 743"/>
                <a:gd name="T32" fmla="*/ 2426 w 2807"/>
                <a:gd name="T33" fmla="*/ 605 h 743"/>
                <a:gd name="T34" fmla="*/ 2533 w 2807"/>
                <a:gd name="T35" fmla="*/ 566 h 743"/>
                <a:gd name="T36" fmla="*/ 2672 w 2807"/>
                <a:gd name="T37" fmla="*/ 505 h 743"/>
                <a:gd name="T38" fmla="*/ 2773 w 2807"/>
                <a:gd name="T39" fmla="*/ 449 h 743"/>
                <a:gd name="T40" fmla="*/ 2807 w 2807"/>
                <a:gd name="T41" fmla="*/ 426 h 743"/>
                <a:gd name="T42" fmla="*/ 2745 w 2807"/>
                <a:gd name="T43" fmla="*/ 402 h 743"/>
                <a:gd name="T44" fmla="*/ 2688 w 2807"/>
                <a:gd name="T45" fmla="*/ 372 h 743"/>
                <a:gd name="T46" fmla="*/ 2586 w 2807"/>
                <a:gd name="T47" fmla="*/ 303 h 743"/>
                <a:gd name="T48" fmla="*/ 2529 w 2807"/>
                <a:gd name="T49" fmla="*/ 256 h 743"/>
                <a:gd name="T50" fmla="*/ 2518 w 2807"/>
                <a:gd name="T51" fmla="*/ 294 h 743"/>
                <a:gd name="T52" fmla="*/ 2507 w 2807"/>
                <a:gd name="T53" fmla="*/ 381 h 743"/>
                <a:gd name="T54" fmla="*/ 2499 w 2807"/>
                <a:gd name="T55" fmla="*/ 413 h 743"/>
                <a:gd name="T56" fmla="*/ 2443 w 2807"/>
                <a:gd name="T57" fmla="*/ 391 h 743"/>
                <a:gd name="T58" fmla="*/ 2423 w 2807"/>
                <a:gd name="T59" fmla="*/ 381 h 743"/>
                <a:gd name="T60" fmla="*/ 2392 w 2807"/>
                <a:gd name="T61" fmla="*/ 357 h 743"/>
                <a:gd name="T62" fmla="*/ 2361 w 2807"/>
                <a:gd name="T63" fmla="*/ 324 h 743"/>
                <a:gd name="T64" fmla="*/ 2334 w 2807"/>
                <a:gd name="T65" fmla="*/ 283 h 743"/>
                <a:gd name="T66" fmla="*/ 2316 w 2807"/>
                <a:gd name="T67" fmla="*/ 235 h 743"/>
                <a:gd name="T68" fmla="*/ 2310 w 2807"/>
                <a:gd name="T69" fmla="*/ 199 h 743"/>
                <a:gd name="T70" fmla="*/ 2252 w 2807"/>
                <a:gd name="T71" fmla="*/ 195 h 743"/>
                <a:gd name="T72" fmla="*/ 2110 w 2807"/>
                <a:gd name="T73" fmla="*/ 243 h 743"/>
                <a:gd name="T74" fmla="*/ 1984 w 2807"/>
                <a:gd name="T75" fmla="*/ 277 h 743"/>
                <a:gd name="T76" fmla="*/ 1843 w 2807"/>
                <a:gd name="T77" fmla="*/ 303 h 743"/>
                <a:gd name="T78" fmla="*/ 1697 w 2807"/>
                <a:gd name="T79" fmla="*/ 319 h 743"/>
                <a:gd name="T80" fmla="*/ 1558 w 2807"/>
                <a:gd name="T81" fmla="*/ 322 h 743"/>
                <a:gd name="T82" fmla="*/ 1293 w 2807"/>
                <a:gd name="T83" fmla="*/ 312 h 743"/>
                <a:gd name="T84" fmla="*/ 1030 w 2807"/>
                <a:gd name="T85" fmla="*/ 282 h 743"/>
                <a:gd name="T86" fmla="*/ 855 w 2807"/>
                <a:gd name="T87" fmla="*/ 251 h 743"/>
                <a:gd name="T88" fmla="*/ 725 w 2807"/>
                <a:gd name="T89" fmla="*/ 221 h 743"/>
                <a:gd name="T90" fmla="*/ 594 w 2807"/>
                <a:gd name="T91" fmla="*/ 185 h 743"/>
                <a:gd name="T92" fmla="*/ 465 w 2807"/>
                <a:gd name="T93" fmla="*/ 143 h 743"/>
                <a:gd name="T94" fmla="*/ 336 w 2807"/>
                <a:gd name="T95" fmla="*/ 94 h 743"/>
                <a:gd name="T96" fmla="*/ 251 w 2807"/>
                <a:gd name="T97" fmla="*/ 58 h 743"/>
                <a:gd name="T98" fmla="*/ 122 w 2807"/>
                <a:gd name="T99" fmla="*/ 0 h 743"/>
                <a:gd name="T100" fmla="*/ 119 w 2807"/>
                <a:gd name="T101" fmla="*/ 19 h 743"/>
                <a:gd name="T102" fmla="*/ 121 w 2807"/>
                <a:gd name="T103" fmla="*/ 51 h 743"/>
                <a:gd name="T104" fmla="*/ 136 w 2807"/>
                <a:gd name="T105" fmla="*/ 96 h 743"/>
                <a:gd name="T106" fmla="*/ 171 w 2807"/>
                <a:gd name="T107" fmla="*/ 156 h 743"/>
                <a:gd name="T108" fmla="*/ 207 w 2807"/>
                <a:gd name="T109" fmla="*/ 204 h 743"/>
                <a:gd name="T110" fmla="*/ 151 w 2807"/>
                <a:gd name="T111" fmla="*/ 199 h 743"/>
                <a:gd name="T112" fmla="*/ 98 w 2807"/>
                <a:gd name="T113" fmla="*/ 204 h 743"/>
                <a:gd name="T114" fmla="*/ 69 w 2807"/>
                <a:gd name="T115" fmla="*/ 215 h 743"/>
                <a:gd name="T116" fmla="*/ 32 w 2807"/>
                <a:gd name="T117" fmla="*/ 244 h 743"/>
                <a:gd name="T118" fmla="*/ 7 w 2807"/>
                <a:gd name="T119" fmla="*/ 27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743">
                  <a:moveTo>
                    <a:pt x="0" y="284"/>
                  </a:moveTo>
                  <a:lnTo>
                    <a:pt x="0" y="284"/>
                  </a:lnTo>
                  <a:lnTo>
                    <a:pt x="87" y="343"/>
                  </a:lnTo>
                  <a:lnTo>
                    <a:pt x="127" y="369"/>
                  </a:lnTo>
                  <a:lnTo>
                    <a:pt x="166" y="394"/>
                  </a:lnTo>
                  <a:lnTo>
                    <a:pt x="203" y="417"/>
                  </a:lnTo>
                  <a:lnTo>
                    <a:pt x="241" y="438"/>
                  </a:lnTo>
                  <a:lnTo>
                    <a:pt x="280" y="460"/>
                  </a:lnTo>
                  <a:lnTo>
                    <a:pt x="319" y="479"/>
                  </a:lnTo>
                  <a:lnTo>
                    <a:pt x="319" y="479"/>
                  </a:lnTo>
                  <a:lnTo>
                    <a:pt x="372" y="504"/>
                  </a:lnTo>
                  <a:lnTo>
                    <a:pt x="430" y="529"/>
                  </a:lnTo>
                  <a:lnTo>
                    <a:pt x="495" y="556"/>
                  </a:lnTo>
                  <a:lnTo>
                    <a:pt x="565" y="581"/>
                  </a:lnTo>
                  <a:lnTo>
                    <a:pt x="603" y="595"/>
                  </a:lnTo>
                  <a:lnTo>
                    <a:pt x="642" y="607"/>
                  </a:lnTo>
                  <a:lnTo>
                    <a:pt x="682" y="620"/>
                  </a:lnTo>
                  <a:lnTo>
                    <a:pt x="724" y="633"/>
                  </a:lnTo>
                  <a:lnTo>
                    <a:pt x="767" y="644"/>
                  </a:lnTo>
                  <a:lnTo>
                    <a:pt x="811" y="655"/>
                  </a:lnTo>
                  <a:lnTo>
                    <a:pt x="857" y="666"/>
                  </a:lnTo>
                  <a:lnTo>
                    <a:pt x="903" y="677"/>
                  </a:lnTo>
                  <a:lnTo>
                    <a:pt x="952" y="687"/>
                  </a:lnTo>
                  <a:lnTo>
                    <a:pt x="1001" y="696"/>
                  </a:lnTo>
                  <a:lnTo>
                    <a:pt x="1052" y="705"/>
                  </a:lnTo>
                  <a:lnTo>
                    <a:pt x="1104" y="713"/>
                  </a:lnTo>
                  <a:lnTo>
                    <a:pt x="1157" y="719"/>
                  </a:lnTo>
                  <a:lnTo>
                    <a:pt x="1212" y="727"/>
                  </a:lnTo>
                  <a:lnTo>
                    <a:pt x="1267" y="732"/>
                  </a:lnTo>
                  <a:lnTo>
                    <a:pt x="1324" y="736"/>
                  </a:lnTo>
                  <a:lnTo>
                    <a:pt x="1382" y="739"/>
                  </a:lnTo>
                  <a:lnTo>
                    <a:pt x="1442" y="741"/>
                  </a:lnTo>
                  <a:lnTo>
                    <a:pt x="1502" y="743"/>
                  </a:lnTo>
                  <a:lnTo>
                    <a:pt x="1563" y="742"/>
                  </a:lnTo>
                  <a:lnTo>
                    <a:pt x="1626" y="741"/>
                  </a:lnTo>
                  <a:lnTo>
                    <a:pt x="1689" y="738"/>
                  </a:lnTo>
                  <a:lnTo>
                    <a:pt x="1754" y="734"/>
                  </a:lnTo>
                  <a:lnTo>
                    <a:pt x="1819" y="729"/>
                  </a:lnTo>
                  <a:lnTo>
                    <a:pt x="1819" y="729"/>
                  </a:lnTo>
                  <a:lnTo>
                    <a:pt x="1881" y="723"/>
                  </a:lnTo>
                  <a:lnTo>
                    <a:pt x="1941" y="714"/>
                  </a:lnTo>
                  <a:lnTo>
                    <a:pt x="1999" y="706"/>
                  </a:lnTo>
                  <a:lnTo>
                    <a:pt x="2054" y="697"/>
                  </a:lnTo>
                  <a:lnTo>
                    <a:pt x="2108" y="688"/>
                  </a:lnTo>
                  <a:lnTo>
                    <a:pt x="2159" y="678"/>
                  </a:lnTo>
                  <a:lnTo>
                    <a:pt x="2209" y="666"/>
                  </a:lnTo>
                  <a:lnTo>
                    <a:pt x="2257" y="655"/>
                  </a:lnTo>
                  <a:lnTo>
                    <a:pt x="2302" y="643"/>
                  </a:lnTo>
                  <a:lnTo>
                    <a:pt x="2346" y="631"/>
                  </a:lnTo>
                  <a:lnTo>
                    <a:pt x="2387" y="618"/>
                  </a:lnTo>
                  <a:lnTo>
                    <a:pt x="2426" y="605"/>
                  </a:lnTo>
                  <a:lnTo>
                    <a:pt x="2464" y="593"/>
                  </a:lnTo>
                  <a:lnTo>
                    <a:pt x="2500" y="579"/>
                  </a:lnTo>
                  <a:lnTo>
                    <a:pt x="2533" y="566"/>
                  </a:lnTo>
                  <a:lnTo>
                    <a:pt x="2564" y="554"/>
                  </a:lnTo>
                  <a:lnTo>
                    <a:pt x="2622" y="528"/>
                  </a:lnTo>
                  <a:lnTo>
                    <a:pt x="2672" y="505"/>
                  </a:lnTo>
                  <a:lnTo>
                    <a:pt x="2713" y="483"/>
                  </a:lnTo>
                  <a:lnTo>
                    <a:pt x="2747" y="465"/>
                  </a:lnTo>
                  <a:lnTo>
                    <a:pt x="2773" y="449"/>
                  </a:lnTo>
                  <a:lnTo>
                    <a:pt x="2792" y="436"/>
                  </a:lnTo>
                  <a:lnTo>
                    <a:pt x="2807" y="426"/>
                  </a:lnTo>
                  <a:lnTo>
                    <a:pt x="2807" y="426"/>
                  </a:lnTo>
                  <a:lnTo>
                    <a:pt x="2786" y="419"/>
                  </a:lnTo>
                  <a:lnTo>
                    <a:pt x="2766" y="410"/>
                  </a:lnTo>
                  <a:lnTo>
                    <a:pt x="2745" y="402"/>
                  </a:lnTo>
                  <a:lnTo>
                    <a:pt x="2726" y="391"/>
                  </a:lnTo>
                  <a:lnTo>
                    <a:pt x="2706" y="382"/>
                  </a:lnTo>
                  <a:lnTo>
                    <a:pt x="2688" y="372"/>
                  </a:lnTo>
                  <a:lnTo>
                    <a:pt x="2651" y="349"/>
                  </a:lnTo>
                  <a:lnTo>
                    <a:pt x="2618" y="327"/>
                  </a:lnTo>
                  <a:lnTo>
                    <a:pt x="2586" y="303"/>
                  </a:lnTo>
                  <a:lnTo>
                    <a:pt x="2556" y="280"/>
                  </a:lnTo>
                  <a:lnTo>
                    <a:pt x="2529" y="256"/>
                  </a:lnTo>
                  <a:lnTo>
                    <a:pt x="2529" y="256"/>
                  </a:lnTo>
                  <a:lnTo>
                    <a:pt x="2524" y="266"/>
                  </a:lnTo>
                  <a:lnTo>
                    <a:pt x="2521" y="279"/>
                  </a:lnTo>
                  <a:lnTo>
                    <a:pt x="2518" y="294"/>
                  </a:lnTo>
                  <a:lnTo>
                    <a:pt x="2515" y="312"/>
                  </a:lnTo>
                  <a:lnTo>
                    <a:pt x="2515" y="312"/>
                  </a:lnTo>
                  <a:lnTo>
                    <a:pt x="2507" y="381"/>
                  </a:lnTo>
                  <a:lnTo>
                    <a:pt x="2503" y="414"/>
                  </a:lnTo>
                  <a:lnTo>
                    <a:pt x="2503" y="414"/>
                  </a:lnTo>
                  <a:lnTo>
                    <a:pt x="2499" y="413"/>
                  </a:lnTo>
                  <a:lnTo>
                    <a:pt x="2489" y="410"/>
                  </a:lnTo>
                  <a:lnTo>
                    <a:pt x="2470" y="403"/>
                  </a:lnTo>
                  <a:lnTo>
                    <a:pt x="2443" y="391"/>
                  </a:lnTo>
                  <a:lnTo>
                    <a:pt x="2443" y="391"/>
                  </a:lnTo>
                  <a:lnTo>
                    <a:pt x="2433" y="387"/>
                  </a:lnTo>
                  <a:lnTo>
                    <a:pt x="2423" y="381"/>
                  </a:lnTo>
                  <a:lnTo>
                    <a:pt x="2413" y="374"/>
                  </a:lnTo>
                  <a:lnTo>
                    <a:pt x="2403" y="366"/>
                  </a:lnTo>
                  <a:lnTo>
                    <a:pt x="2392" y="357"/>
                  </a:lnTo>
                  <a:lnTo>
                    <a:pt x="2381" y="347"/>
                  </a:lnTo>
                  <a:lnTo>
                    <a:pt x="2371" y="336"/>
                  </a:lnTo>
                  <a:lnTo>
                    <a:pt x="2361" y="324"/>
                  </a:lnTo>
                  <a:lnTo>
                    <a:pt x="2351" y="312"/>
                  </a:lnTo>
                  <a:lnTo>
                    <a:pt x="2342" y="297"/>
                  </a:lnTo>
                  <a:lnTo>
                    <a:pt x="2334" y="283"/>
                  </a:lnTo>
                  <a:lnTo>
                    <a:pt x="2326" y="268"/>
                  </a:lnTo>
                  <a:lnTo>
                    <a:pt x="2320" y="251"/>
                  </a:lnTo>
                  <a:lnTo>
                    <a:pt x="2316" y="235"/>
                  </a:lnTo>
                  <a:lnTo>
                    <a:pt x="2312" y="216"/>
                  </a:lnTo>
                  <a:lnTo>
                    <a:pt x="2310" y="199"/>
                  </a:lnTo>
                  <a:lnTo>
                    <a:pt x="2310" y="199"/>
                  </a:lnTo>
                  <a:lnTo>
                    <a:pt x="2309" y="174"/>
                  </a:lnTo>
                  <a:lnTo>
                    <a:pt x="2309" y="174"/>
                  </a:lnTo>
                  <a:lnTo>
                    <a:pt x="2252" y="195"/>
                  </a:lnTo>
                  <a:lnTo>
                    <a:pt x="2186" y="218"/>
                  </a:lnTo>
                  <a:lnTo>
                    <a:pt x="2149" y="231"/>
                  </a:lnTo>
                  <a:lnTo>
                    <a:pt x="2110" y="243"/>
                  </a:lnTo>
                  <a:lnTo>
                    <a:pt x="2069" y="254"/>
                  </a:lnTo>
                  <a:lnTo>
                    <a:pt x="2028" y="266"/>
                  </a:lnTo>
                  <a:lnTo>
                    <a:pt x="1984" y="277"/>
                  </a:lnTo>
                  <a:lnTo>
                    <a:pt x="1938" y="286"/>
                  </a:lnTo>
                  <a:lnTo>
                    <a:pt x="1892" y="295"/>
                  </a:lnTo>
                  <a:lnTo>
                    <a:pt x="1843" y="303"/>
                  </a:lnTo>
                  <a:lnTo>
                    <a:pt x="1795" y="311"/>
                  </a:lnTo>
                  <a:lnTo>
                    <a:pt x="1746" y="316"/>
                  </a:lnTo>
                  <a:lnTo>
                    <a:pt x="1697" y="319"/>
                  </a:lnTo>
                  <a:lnTo>
                    <a:pt x="1647" y="321"/>
                  </a:lnTo>
                  <a:lnTo>
                    <a:pt x="1647" y="321"/>
                  </a:lnTo>
                  <a:lnTo>
                    <a:pt x="1558" y="322"/>
                  </a:lnTo>
                  <a:lnTo>
                    <a:pt x="1470" y="321"/>
                  </a:lnTo>
                  <a:lnTo>
                    <a:pt x="1382" y="317"/>
                  </a:lnTo>
                  <a:lnTo>
                    <a:pt x="1293" y="312"/>
                  </a:lnTo>
                  <a:lnTo>
                    <a:pt x="1205" y="304"/>
                  </a:lnTo>
                  <a:lnTo>
                    <a:pt x="1118" y="294"/>
                  </a:lnTo>
                  <a:lnTo>
                    <a:pt x="1030" y="282"/>
                  </a:lnTo>
                  <a:lnTo>
                    <a:pt x="943" y="268"/>
                  </a:lnTo>
                  <a:lnTo>
                    <a:pt x="899" y="259"/>
                  </a:lnTo>
                  <a:lnTo>
                    <a:pt x="855" y="251"/>
                  </a:lnTo>
                  <a:lnTo>
                    <a:pt x="812" y="241"/>
                  </a:lnTo>
                  <a:lnTo>
                    <a:pt x="768" y="231"/>
                  </a:lnTo>
                  <a:lnTo>
                    <a:pt x="725" y="221"/>
                  </a:lnTo>
                  <a:lnTo>
                    <a:pt x="681" y="209"/>
                  </a:lnTo>
                  <a:lnTo>
                    <a:pt x="638" y="197"/>
                  </a:lnTo>
                  <a:lnTo>
                    <a:pt x="594" y="185"/>
                  </a:lnTo>
                  <a:lnTo>
                    <a:pt x="551" y="171"/>
                  </a:lnTo>
                  <a:lnTo>
                    <a:pt x="508" y="157"/>
                  </a:lnTo>
                  <a:lnTo>
                    <a:pt x="465" y="143"/>
                  </a:lnTo>
                  <a:lnTo>
                    <a:pt x="422" y="127"/>
                  </a:lnTo>
                  <a:lnTo>
                    <a:pt x="379" y="111"/>
                  </a:lnTo>
                  <a:lnTo>
                    <a:pt x="336" y="94"/>
                  </a:lnTo>
                  <a:lnTo>
                    <a:pt x="294" y="76"/>
                  </a:lnTo>
                  <a:lnTo>
                    <a:pt x="251" y="58"/>
                  </a:lnTo>
                  <a:lnTo>
                    <a:pt x="251" y="58"/>
                  </a:lnTo>
                  <a:lnTo>
                    <a:pt x="165" y="19"/>
                  </a:lnTo>
                  <a:lnTo>
                    <a:pt x="122" y="0"/>
                  </a:lnTo>
                  <a:lnTo>
                    <a:pt x="122" y="0"/>
                  </a:lnTo>
                  <a:lnTo>
                    <a:pt x="121" y="3"/>
                  </a:lnTo>
                  <a:lnTo>
                    <a:pt x="119" y="12"/>
                  </a:lnTo>
                  <a:lnTo>
                    <a:pt x="119" y="19"/>
                  </a:lnTo>
                  <a:lnTo>
                    <a:pt x="119" y="28"/>
                  </a:lnTo>
                  <a:lnTo>
                    <a:pt x="119" y="39"/>
                  </a:lnTo>
                  <a:lnTo>
                    <a:pt x="121" y="51"/>
                  </a:lnTo>
                  <a:lnTo>
                    <a:pt x="125" y="64"/>
                  </a:lnTo>
                  <a:lnTo>
                    <a:pt x="129" y="79"/>
                  </a:lnTo>
                  <a:lnTo>
                    <a:pt x="136" y="96"/>
                  </a:lnTo>
                  <a:lnTo>
                    <a:pt x="145" y="114"/>
                  </a:lnTo>
                  <a:lnTo>
                    <a:pt x="156" y="135"/>
                  </a:lnTo>
                  <a:lnTo>
                    <a:pt x="171" y="156"/>
                  </a:lnTo>
                  <a:lnTo>
                    <a:pt x="187" y="180"/>
                  </a:lnTo>
                  <a:lnTo>
                    <a:pt x="207" y="204"/>
                  </a:lnTo>
                  <a:lnTo>
                    <a:pt x="207" y="204"/>
                  </a:lnTo>
                  <a:lnTo>
                    <a:pt x="189" y="201"/>
                  </a:lnTo>
                  <a:lnTo>
                    <a:pt x="170" y="199"/>
                  </a:lnTo>
                  <a:lnTo>
                    <a:pt x="151" y="199"/>
                  </a:lnTo>
                  <a:lnTo>
                    <a:pt x="132" y="199"/>
                  </a:lnTo>
                  <a:lnTo>
                    <a:pt x="114" y="201"/>
                  </a:lnTo>
                  <a:lnTo>
                    <a:pt x="98" y="204"/>
                  </a:lnTo>
                  <a:lnTo>
                    <a:pt x="83" y="209"/>
                  </a:lnTo>
                  <a:lnTo>
                    <a:pt x="69" y="215"/>
                  </a:lnTo>
                  <a:lnTo>
                    <a:pt x="69" y="215"/>
                  </a:lnTo>
                  <a:lnTo>
                    <a:pt x="55" y="224"/>
                  </a:lnTo>
                  <a:lnTo>
                    <a:pt x="42" y="234"/>
                  </a:lnTo>
                  <a:lnTo>
                    <a:pt x="32" y="244"/>
                  </a:lnTo>
                  <a:lnTo>
                    <a:pt x="21" y="253"/>
                  </a:lnTo>
                  <a:lnTo>
                    <a:pt x="13" y="262"/>
                  </a:lnTo>
                  <a:lnTo>
                    <a:pt x="7" y="272"/>
                  </a:lnTo>
                  <a:lnTo>
                    <a:pt x="0" y="2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8" name="Freeform 31"/>
            <p:cNvSpPr>
              <a:spLocks/>
            </p:cNvSpPr>
            <p:nvPr userDrawn="1"/>
          </p:nvSpPr>
          <p:spPr bwMode="auto">
            <a:xfrm>
              <a:off x="5840658" y="854243"/>
              <a:ext cx="377825" cy="271463"/>
            </a:xfrm>
            <a:custGeom>
              <a:avLst/>
              <a:gdLst>
                <a:gd name="T0" fmla="*/ 2491 w 2863"/>
                <a:gd name="T1" fmla="*/ 103 h 2054"/>
                <a:gd name="T2" fmla="*/ 2575 w 2863"/>
                <a:gd name="T3" fmla="*/ 23 h 2054"/>
                <a:gd name="T4" fmla="*/ 2196 w 2863"/>
                <a:gd name="T5" fmla="*/ 132 h 2054"/>
                <a:gd name="T6" fmla="*/ 1671 w 2863"/>
                <a:gd name="T7" fmla="*/ 429 h 2054"/>
                <a:gd name="T8" fmla="*/ 1528 w 2863"/>
                <a:gd name="T9" fmla="*/ 462 h 2054"/>
                <a:gd name="T10" fmla="*/ 1416 w 2863"/>
                <a:gd name="T11" fmla="*/ 568 h 2054"/>
                <a:gd name="T12" fmla="*/ 1409 w 2863"/>
                <a:gd name="T13" fmla="*/ 634 h 2054"/>
                <a:gd name="T14" fmla="*/ 1479 w 2863"/>
                <a:gd name="T15" fmla="*/ 748 h 2054"/>
                <a:gd name="T16" fmla="*/ 1586 w 2863"/>
                <a:gd name="T17" fmla="*/ 787 h 2054"/>
                <a:gd name="T18" fmla="*/ 1476 w 2863"/>
                <a:gd name="T19" fmla="*/ 974 h 2054"/>
                <a:gd name="T20" fmla="*/ 1133 w 2863"/>
                <a:gd name="T21" fmla="*/ 1199 h 2054"/>
                <a:gd name="T22" fmla="*/ 799 w 2863"/>
                <a:gd name="T23" fmla="*/ 1254 h 2054"/>
                <a:gd name="T24" fmla="*/ 634 w 2863"/>
                <a:gd name="T25" fmla="*/ 1102 h 2054"/>
                <a:gd name="T26" fmla="*/ 539 w 2863"/>
                <a:gd name="T27" fmla="*/ 1015 h 2054"/>
                <a:gd name="T28" fmla="*/ 406 w 2863"/>
                <a:gd name="T29" fmla="*/ 1023 h 2054"/>
                <a:gd name="T30" fmla="*/ 231 w 2863"/>
                <a:gd name="T31" fmla="*/ 1090 h 2054"/>
                <a:gd name="T32" fmla="*/ 382 w 2863"/>
                <a:gd name="T33" fmla="*/ 1121 h 2054"/>
                <a:gd name="T34" fmla="*/ 351 w 2863"/>
                <a:gd name="T35" fmla="*/ 1168 h 2054"/>
                <a:gd name="T36" fmla="*/ 418 w 2863"/>
                <a:gd name="T37" fmla="*/ 1270 h 2054"/>
                <a:gd name="T38" fmla="*/ 608 w 2863"/>
                <a:gd name="T39" fmla="*/ 1387 h 2054"/>
                <a:gd name="T40" fmla="*/ 314 w 2863"/>
                <a:gd name="T41" fmla="*/ 1296 h 2054"/>
                <a:gd name="T42" fmla="*/ 234 w 2863"/>
                <a:gd name="T43" fmla="*/ 1324 h 2054"/>
                <a:gd name="T44" fmla="*/ 77 w 2863"/>
                <a:gd name="T45" fmla="*/ 1367 h 2054"/>
                <a:gd name="T46" fmla="*/ 0 w 2863"/>
                <a:gd name="T47" fmla="*/ 1480 h 2054"/>
                <a:gd name="T48" fmla="*/ 63 w 2863"/>
                <a:gd name="T49" fmla="*/ 1501 h 2054"/>
                <a:gd name="T50" fmla="*/ 166 w 2863"/>
                <a:gd name="T51" fmla="*/ 1461 h 2054"/>
                <a:gd name="T52" fmla="*/ 187 w 2863"/>
                <a:gd name="T53" fmla="*/ 1573 h 2054"/>
                <a:gd name="T54" fmla="*/ 354 w 2863"/>
                <a:gd name="T55" fmla="*/ 1597 h 2054"/>
                <a:gd name="T56" fmla="*/ 616 w 2863"/>
                <a:gd name="T57" fmla="*/ 1588 h 2054"/>
                <a:gd name="T58" fmla="*/ 382 w 2863"/>
                <a:gd name="T59" fmla="*/ 1636 h 2054"/>
                <a:gd name="T60" fmla="*/ 295 w 2863"/>
                <a:gd name="T61" fmla="*/ 1696 h 2054"/>
                <a:gd name="T62" fmla="*/ 254 w 2863"/>
                <a:gd name="T63" fmla="*/ 1795 h 2054"/>
                <a:gd name="T64" fmla="*/ 239 w 2863"/>
                <a:gd name="T65" fmla="*/ 1953 h 2054"/>
                <a:gd name="T66" fmla="*/ 335 w 2863"/>
                <a:gd name="T67" fmla="*/ 2045 h 2054"/>
                <a:gd name="T68" fmla="*/ 341 w 2863"/>
                <a:gd name="T69" fmla="*/ 1906 h 2054"/>
                <a:gd name="T70" fmla="*/ 417 w 2863"/>
                <a:gd name="T71" fmla="*/ 1946 h 2054"/>
                <a:gd name="T72" fmla="*/ 509 w 2863"/>
                <a:gd name="T73" fmla="*/ 1935 h 2054"/>
                <a:gd name="T74" fmla="*/ 732 w 2863"/>
                <a:gd name="T75" fmla="*/ 1733 h 2054"/>
                <a:gd name="T76" fmla="*/ 874 w 2863"/>
                <a:gd name="T77" fmla="*/ 1691 h 2054"/>
                <a:gd name="T78" fmla="*/ 870 w 2863"/>
                <a:gd name="T79" fmla="*/ 1786 h 2054"/>
                <a:gd name="T80" fmla="*/ 945 w 2863"/>
                <a:gd name="T81" fmla="*/ 1834 h 2054"/>
                <a:gd name="T82" fmla="*/ 875 w 2863"/>
                <a:gd name="T83" fmla="*/ 1948 h 2054"/>
                <a:gd name="T84" fmla="*/ 1004 w 2863"/>
                <a:gd name="T85" fmla="*/ 1919 h 2054"/>
                <a:gd name="T86" fmla="*/ 1100 w 2863"/>
                <a:gd name="T87" fmla="*/ 1787 h 2054"/>
                <a:gd name="T88" fmla="*/ 1159 w 2863"/>
                <a:gd name="T89" fmla="*/ 1734 h 2054"/>
                <a:gd name="T90" fmla="*/ 1183 w 2863"/>
                <a:gd name="T91" fmla="*/ 1628 h 2054"/>
                <a:gd name="T92" fmla="*/ 1338 w 2863"/>
                <a:gd name="T93" fmla="*/ 1564 h 2054"/>
                <a:gd name="T94" fmla="*/ 1370 w 2863"/>
                <a:gd name="T95" fmla="*/ 1465 h 2054"/>
                <a:gd name="T96" fmla="*/ 1461 w 2863"/>
                <a:gd name="T97" fmla="*/ 1462 h 2054"/>
                <a:gd name="T98" fmla="*/ 1684 w 2863"/>
                <a:gd name="T99" fmla="*/ 1556 h 2054"/>
                <a:gd name="T100" fmla="*/ 1888 w 2863"/>
                <a:gd name="T101" fmla="*/ 1440 h 2054"/>
                <a:gd name="T102" fmla="*/ 1799 w 2863"/>
                <a:gd name="T103" fmla="*/ 1308 h 2054"/>
                <a:gd name="T104" fmla="*/ 1857 w 2863"/>
                <a:gd name="T105" fmla="*/ 1327 h 2054"/>
                <a:gd name="T106" fmla="*/ 2183 w 2863"/>
                <a:gd name="T107" fmla="*/ 1273 h 2054"/>
                <a:gd name="T108" fmla="*/ 2142 w 2863"/>
                <a:gd name="T109" fmla="*/ 1164 h 2054"/>
                <a:gd name="T110" fmla="*/ 2112 w 2863"/>
                <a:gd name="T111" fmla="*/ 1069 h 2054"/>
                <a:gd name="T112" fmla="*/ 2121 w 2863"/>
                <a:gd name="T113" fmla="*/ 977 h 2054"/>
                <a:gd name="T114" fmla="*/ 2085 w 2863"/>
                <a:gd name="T115" fmla="*/ 807 h 2054"/>
                <a:gd name="T116" fmla="*/ 2859 w 2863"/>
                <a:gd name="T117" fmla="*/ 408 h 2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3" h="2054">
                  <a:moveTo>
                    <a:pt x="2759" y="252"/>
                  </a:moveTo>
                  <a:lnTo>
                    <a:pt x="2759" y="252"/>
                  </a:lnTo>
                  <a:lnTo>
                    <a:pt x="2742" y="239"/>
                  </a:lnTo>
                  <a:lnTo>
                    <a:pt x="2725" y="227"/>
                  </a:lnTo>
                  <a:lnTo>
                    <a:pt x="2708" y="214"/>
                  </a:lnTo>
                  <a:lnTo>
                    <a:pt x="2690" y="203"/>
                  </a:lnTo>
                  <a:lnTo>
                    <a:pt x="2655" y="184"/>
                  </a:lnTo>
                  <a:lnTo>
                    <a:pt x="2621" y="165"/>
                  </a:lnTo>
                  <a:lnTo>
                    <a:pt x="2586" y="148"/>
                  </a:lnTo>
                  <a:lnTo>
                    <a:pt x="2553" y="133"/>
                  </a:lnTo>
                  <a:lnTo>
                    <a:pt x="2522" y="118"/>
                  </a:lnTo>
                  <a:lnTo>
                    <a:pt x="2491" y="103"/>
                  </a:lnTo>
                  <a:lnTo>
                    <a:pt x="2491" y="103"/>
                  </a:lnTo>
                  <a:lnTo>
                    <a:pt x="2507" y="93"/>
                  </a:lnTo>
                  <a:lnTo>
                    <a:pt x="2523" y="82"/>
                  </a:lnTo>
                  <a:lnTo>
                    <a:pt x="2540" y="68"/>
                  </a:lnTo>
                  <a:lnTo>
                    <a:pt x="2556" y="54"/>
                  </a:lnTo>
                  <a:lnTo>
                    <a:pt x="2570" y="41"/>
                  </a:lnTo>
                  <a:lnTo>
                    <a:pt x="2574" y="35"/>
                  </a:lnTo>
                  <a:lnTo>
                    <a:pt x="2577" y="30"/>
                  </a:lnTo>
                  <a:lnTo>
                    <a:pt x="2577" y="26"/>
                  </a:lnTo>
                  <a:lnTo>
                    <a:pt x="2577" y="24"/>
                  </a:lnTo>
                  <a:lnTo>
                    <a:pt x="2575" y="23"/>
                  </a:lnTo>
                  <a:lnTo>
                    <a:pt x="2575" y="23"/>
                  </a:lnTo>
                  <a:lnTo>
                    <a:pt x="2562" y="16"/>
                  </a:lnTo>
                  <a:lnTo>
                    <a:pt x="2550" y="10"/>
                  </a:lnTo>
                  <a:lnTo>
                    <a:pt x="2538" y="6"/>
                  </a:lnTo>
                  <a:lnTo>
                    <a:pt x="2527" y="4"/>
                  </a:lnTo>
                  <a:lnTo>
                    <a:pt x="2508" y="1"/>
                  </a:lnTo>
                  <a:lnTo>
                    <a:pt x="2501" y="0"/>
                  </a:lnTo>
                  <a:lnTo>
                    <a:pt x="2501" y="0"/>
                  </a:lnTo>
                  <a:lnTo>
                    <a:pt x="2440" y="24"/>
                  </a:lnTo>
                  <a:lnTo>
                    <a:pt x="2377" y="50"/>
                  </a:lnTo>
                  <a:lnTo>
                    <a:pt x="2317" y="76"/>
                  </a:lnTo>
                  <a:lnTo>
                    <a:pt x="2256" y="103"/>
                  </a:lnTo>
                  <a:lnTo>
                    <a:pt x="2196" y="132"/>
                  </a:lnTo>
                  <a:lnTo>
                    <a:pt x="2138" y="160"/>
                  </a:lnTo>
                  <a:lnTo>
                    <a:pt x="2081" y="189"/>
                  </a:lnTo>
                  <a:lnTo>
                    <a:pt x="2026" y="219"/>
                  </a:lnTo>
                  <a:lnTo>
                    <a:pt x="1972" y="247"/>
                  </a:lnTo>
                  <a:lnTo>
                    <a:pt x="1921" y="276"/>
                  </a:lnTo>
                  <a:lnTo>
                    <a:pt x="1872" y="303"/>
                  </a:lnTo>
                  <a:lnTo>
                    <a:pt x="1825" y="331"/>
                  </a:lnTo>
                  <a:lnTo>
                    <a:pt x="1782" y="358"/>
                  </a:lnTo>
                  <a:lnTo>
                    <a:pt x="1741" y="383"/>
                  </a:lnTo>
                  <a:lnTo>
                    <a:pt x="1705" y="407"/>
                  </a:lnTo>
                  <a:lnTo>
                    <a:pt x="1671" y="429"/>
                  </a:lnTo>
                  <a:lnTo>
                    <a:pt x="1671" y="429"/>
                  </a:lnTo>
                  <a:lnTo>
                    <a:pt x="1666" y="432"/>
                  </a:lnTo>
                  <a:lnTo>
                    <a:pt x="1666" y="432"/>
                  </a:lnTo>
                  <a:lnTo>
                    <a:pt x="1654" y="439"/>
                  </a:lnTo>
                  <a:lnTo>
                    <a:pt x="1643" y="446"/>
                  </a:lnTo>
                  <a:lnTo>
                    <a:pt x="1632" y="451"/>
                  </a:lnTo>
                  <a:lnTo>
                    <a:pt x="1620" y="455"/>
                  </a:lnTo>
                  <a:lnTo>
                    <a:pt x="1608" y="458"/>
                  </a:lnTo>
                  <a:lnTo>
                    <a:pt x="1597" y="461"/>
                  </a:lnTo>
                  <a:lnTo>
                    <a:pt x="1585" y="462"/>
                  </a:lnTo>
                  <a:lnTo>
                    <a:pt x="1574" y="463"/>
                  </a:lnTo>
                  <a:lnTo>
                    <a:pt x="1550" y="464"/>
                  </a:lnTo>
                  <a:lnTo>
                    <a:pt x="1528" y="462"/>
                  </a:lnTo>
                  <a:lnTo>
                    <a:pt x="1505" y="459"/>
                  </a:lnTo>
                  <a:lnTo>
                    <a:pt x="1485" y="454"/>
                  </a:lnTo>
                  <a:lnTo>
                    <a:pt x="1465" y="449"/>
                  </a:lnTo>
                  <a:lnTo>
                    <a:pt x="1448" y="442"/>
                  </a:lnTo>
                  <a:lnTo>
                    <a:pt x="1433" y="436"/>
                  </a:lnTo>
                  <a:lnTo>
                    <a:pt x="1418" y="430"/>
                  </a:lnTo>
                  <a:lnTo>
                    <a:pt x="1399" y="420"/>
                  </a:lnTo>
                  <a:lnTo>
                    <a:pt x="1393" y="416"/>
                  </a:lnTo>
                  <a:lnTo>
                    <a:pt x="1372" y="544"/>
                  </a:lnTo>
                  <a:lnTo>
                    <a:pt x="1372" y="544"/>
                  </a:lnTo>
                  <a:lnTo>
                    <a:pt x="1395" y="557"/>
                  </a:lnTo>
                  <a:lnTo>
                    <a:pt x="1416" y="568"/>
                  </a:lnTo>
                  <a:lnTo>
                    <a:pt x="1437" y="577"/>
                  </a:lnTo>
                  <a:lnTo>
                    <a:pt x="1454" y="586"/>
                  </a:lnTo>
                  <a:lnTo>
                    <a:pt x="1470" y="592"/>
                  </a:lnTo>
                  <a:lnTo>
                    <a:pt x="1486" y="596"/>
                  </a:lnTo>
                  <a:lnTo>
                    <a:pt x="1499" y="600"/>
                  </a:lnTo>
                  <a:lnTo>
                    <a:pt x="1510" y="602"/>
                  </a:lnTo>
                  <a:lnTo>
                    <a:pt x="1510" y="602"/>
                  </a:lnTo>
                  <a:lnTo>
                    <a:pt x="1491" y="606"/>
                  </a:lnTo>
                  <a:lnTo>
                    <a:pt x="1470" y="611"/>
                  </a:lnTo>
                  <a:lnTo>
                    <a:pt x="1450" y="617"/>
                  </a:lnTo>
                  <a:lnTo>
                    <a:pt x="1428" y="625"/>
                  </a:lnTo>
                  <a:lnTo>
                    <a:pt x="1409" y="634"/>
                  </a:lnTo>
                  <a:lnTo>
                    <a:pt x="1391" y="645"/>
                  </a:lnTo>
                  <a:lnTo>
                    <a:pt x="1381" y="650"/>
                  </a:lnTo>
                  <a:lnTo>
                    <a:pt x="1373" y="656"/>
                  </a:lnTo>
                  <a:lnTo>
                    <a:pt x="1366" y="663"/>
                  </a:lnTo>
                  <a:lnTo>
                    <a:pt x="1360" y="670"/>
                  </a:lnTo>
                  <a:lnTo>
                    <a:pt x="1404" y="788"/>
                  </a:lnTo>
                  <a:lnTo>
                    <a:pt x="1404" y="788"/>
                  </a:lnTo>
                  <a:lnTo>
                    <a:pt x="1416" y="779"/>
                  </a:lnTo>
                  <a:lnTo>
                    <a:pt x="1432" y="770"/>
                  </a:lnTo>
                  <a:lnTo>
                    <a:pt x="1453" y="758"/>
                  </a:lnTo>
                  <a:lnTo>
                    <a:pt x="1465" y="753"/>
                  </a:lnTo>
                  <a:lnTo>
                    <a:pt x="1479" y="748"/>
                  </a:lnTo>
                  <a:lnTo>
                    <a:pt x="1494" y="743"/>
                  </a:lnTo>
                  <a:lnTo>
                    <a:pt x="1509" y="738"/>
                  </a:lnTo>
                  <a:lnTo>
                    <a:pt x="1527" y="734"/>
                  </a:lnTo>
                  <a:lnTo>
                    <a:pt x="1545" y="731"/>
                  </a:lnTo>
                  <a:lnTo>
                    <a:pt x="1564" y="729"/>
                  </a:lnTo>
                  <a:lnTo>
                    <a:pt x="1585" y="728"/>
                  </a:lnTo>
                  <a:lnTo>
                    <a:pt x="1585" y="728"/>
                  </a:lnTo>
                  <a:lnTo>
                    <a:pt x="1588" y="744"/>
                  </a:lnTo>
                  <a:lnTo>
                    <a:pt x="1588" y="744"/>
                  </a:lnTo>
                  <a:lnTo>
                    <a:pt x="1588" y="758"/>
                  </a:lnTo>
                  <a:lnTo>
                    <a:pt x="1588" y="773"/>
                  </a:lnTo>
                  <a:lnTo>
                    <a:pt x="1586" y="787"/>
                  </a:lnTo>
                  <a:lnTo>
                    <a:pt x="1583" y="802"/>
                  </a:lnTo>
                  <a:lnTo>
                    <a:pt x="1578" y="818"/>
                  </a:lnTo>
                  <a:lnTo>
                    <a:pt x="1573" y="833"/>
                  </a:lnTo>
                  <a:lnTo>
                    <a:pt x="1565" y="848"/>
                  </a:lnTo>
                  <a:lnTo>
                    <a:pt x="1557" y="864"/>
                  </a:lnTo>
                  <a:lnTo>
                    <a:pt x="1549" y="880"/>
                  </a:lnTo>
                  <a:lnTo>
                    <a:pt x="1539" y="895"/>
                  </a:lnTo>
                  <a:lnTo>
                    <a:pt x="1528" y="912"/>
                  </a:lnTo>
                  <a:lnTo>
                    <a:pt x="1516" y="927"/>
                  </a:lnTo>
                  <a:lnTo>
                    <a:pt x="1503" y="943"/>
                  </a:lnTo>
                  <a:lnTo>
                    <a:pt x="1490" y="959"/>
                  </a:lnTo>
                  <a:lnTo>
                    <a:pt x="1476" y="974"/>
                  </a:lnTo>
                  <a:lnTo>
                    <a:pt x="1461" y="989"/>
                  </a:lnTo>
                  <a:lnTo>
                    <a:pt x="1429" y="1020"/>
                  </a:lnTo>
                  <a:lnTo>
                    <a:pt x="1396" y="1049"/>
                  </a:lnTo>
                  <a:lnTo>
                    <a:pt x="1360" y="1076"/>
                  </a:lnTo>
                  <a:lnTo>
                    <a:pt x="1323" y="1102"/>
                  </a:lnTo>
                  <a:lnTo>
                    <a:pt x="1285" y="1126"/>
                  </a:lnTo>
                  <a:lnTo>
                    <a:pt x="1247" y="1148"/>
                  </a:lnTo>
                  <a:lnTo>
                    <a:pt x="1209" y="1167"/>
                  </a:lnTo>
                  <a:lnTo>
                    <a:pt x="1189" y="1177"/>
                  </a:lnTo>
                  <a:lnTo>
                    <a:pt x="1171" y="1185"/>
                  </a:lnTo>
                  <a:lnTo>
                    <a:pt x="1171" y="1185"/>
                  </a:lnTo>
                  <a:lnTo>
                    <a:pt x="1133" y="1199"/>
                  </a:lnTo>
                  <a:lnTo>
                    <a:pt x="1095" y="1211"/>
                  </a:lnTo>
                  <a:lnTo>
                    <a:pt x="1060" y="1223"/>
                  </a:lnTo>
                  <a:lnTo>
                    <a:pt x="1026" y="1232"/>
                  </a:lnTo>
                  <a:lnTo>
                    <a:pt x="993" y="1240"/>
                  </a:lnTo>
                  <a:lnTo>
                    <a:pt x="962" y="1246"/>
                  </a:lnTo>
                  <a:lnTo>
                    <a:pt x="933" y="1250"/>
                  </a:lnTo>
                  <a:lnTo>
                    <a:pt x="905" y="1254"/>
                  </a:lnTo>
                  <a:lnTo>
                    <a:pt x="879" y="1256"/>
                  </a:lnTo>
                  <a:lnTo>
                    <a:pt x="856" y="1257"/>
                  </a:lnTo>
                  <a:lnTo>
                    <a:pt x="834" y="1257"/>
                  </a:lnTo>
                  <a:lnTo>
                    <a:pt x="815" y="1256"/>
                  </a:lnTo>
                  <a:lnTo>
                    <a:pt x="799" y="1254"/>
                  </a:lnTo>
                  <a:lnTo>
                    <a:pt x="785" y="1251"/>
                  </a:lnTo>
                  <a:lnTo>
                    <a:pt x="774" y="1247"/>
                  </a:lnTo>
                  <a:lnTo>
                    <a:pt x="765" y="1243"/>
                  </a:lnTo>
                  <a:lnTo>
                    <a:pt x="765" y="1243"/>
                  </a:lnTo>
                  <a:lnTo>
                    <a:pt x="741" y="1227"/>
                  </a:lnTo>
                  <a:lnTo>
                    <a:pt x="720" y="1209"/>
                  </a:lnTo>
                  <a:lnTo>
                    <a:pt x="701" y="1191"/>
                  </a:lnTo>
                  <a:lnTo>
                    <a:pt x="685" y="1172"/>
                  </a:lnTo>
                  <a:lnTo>
                    <a:pt x="670" y="1155"/>
                  </a:lnTo>
                  <a:lnTo>
                    <a:pt x="656" y="1137"/>
                  </a:lnTo>
                  <a:lnTo>
                    <a:pt x="645" y="1119"/>
                  </a:lnTo>
                  <a:lnTo>
                    <a:pt x="634" y="1102"/>
                  </a:lnTo>
                  <a:lnTo>
                    <a:pt x="615" y="1071"/>
                  </a:lnTo>
                  <a:lnTo>
                    <a:pt x="605" y="1057"/>
                  </a:lnTo>
                  <a:lnTo>
                    <a:pt x="596" y="1045"/>
                  </a:lnTo>
                  <a:lnTo>
                    <a:pt x="587" y="1033"/>
                  </a:lnTo>
                  <a:lnTo>
                    <a:pt x="577" y="1025"/>
                  </a:lnTo>
                  <a:lnTo>
                    <a:pt x="565" y="1018"/>
                  </a:lnTo>
                  <a:lnTo>
                    <a:pt x="559" y="1015"/>
                  </a:lnTo>
                  <a:lnTo>
                    <a:pt x="553" y="1013"/>
                  </a:lnTo>
                  <a:lnTo>
                    <a:pt x="553" y="1013"/>
                  </a:lnTo>
                  <a:lnTo>
                    <a:pt x="549" y="1013"/>
                  </a:lnTo>
                  <a:lnTo>
                    <a:pt x="546" y="1013"/>
                  </a:lnTo>
                  <a:lnTo>
                    <a:pt x="539" y="1015"/>
                  </a:lnTo>
                  <a:lnTo>
                    <a:pt x="532" y="1018"/>
                  </a:lnTo>
                  <a:lnTo>
                    <a:pt x="524" y="1022"/>
                  </a:lnTo>
                  <a:lnTo>
                    <a:pt x="516" y="1026"/>
                  </a:lnTo>
                  <a:lnTo>
                    <a:pt x="507" y="1029"/>
                  </a:lnTo>
                  <a:lnTo>
                    <a:pt x="499" y="1031"/>
                  </a:lnTo>
                  <a:lnTo>
                    <a:pt x="494" y="1031"/>
                  </a:lnTo>
                  <a:lnTo>
                    <a:pt x="489" y="1031"/>
                  </a:lnTo>
                  <a:lnTo>
                    <a:pt x="489" y="1031"/>
                  </a:lnTo>
                  <a:lnTo>
                    <a:pt x="468" y="1028"/>
                  </a:lnTo>
                  <a:lnTo>
                    <a:pt x="448" y="1025"/>
                  </a:lnTo>
                  <a:lnTo>
                    <a:pt x="427" y="1024"/>
                  </a:lnTo>
                  <a:lnTo>
                    <a:pt x="406" y="1023"/>
                  </a:lnTo>
                  <a:lnTo>
                    <a:pt x="386" y="1023"/>
                  </a:lnTo>
                  <a:lnTo>
                    <a:pt x="366" y="1025"/>
                  </a:lnTo>
                  <a:lnTo>
                    <a:pt x="347" y="1027"/>
                  </a:lnTo>
                  <a:lnTo>
                    <a:pt x="327" y="1031"/>
                  </a:lnTo>
                  <a:lnTo>
                    <a:pt x="309" y="1035"/>
                  </a:lnTo>
                  <a:lnTo>
                    <a:pt x="292" y="1043"/>
                  </a:lnTo>
                  <a:lnTo>
                    <a:pt x="276" y="1050"/>
                  </a:lnTo>
                  <a:lnTo>
                    <a:pt x="262" y="1059"/>
                  </a:lnTo>
                  <a:lnTo>
                    <a:pt x="248" y="1070"/>
                  </a:lnTo>
                  <a:lnTo>
                    <a:pt x="242" y="1076"/>
                  </a:lnTo>
                  <a:lnTo>
                    <a:pt x="236" y="1082"/>
                  </a:lnTo>
                  <a:lnTo>
                    <a:pt x="231" y="1090"/>
                  </a:lnTo>
                  <a:lnTo>
                    <a:pt x="227" y="1098"/>
                  </a:lnTo>
                  <a:lnTo>
                    <a:pt x="223" y="1105"/>
                  </a:lnTo>
                  <a:lnTo>
                    <a:pt x="219" y="1114"/>
                  </a:lnTo>
                  <a:lnTo>
                    <a:pt x="219" y="1114"/>
                  </a:lnTo>
                  <a:lnTo>
                    <a:pt x="257" y="1112"/>
                  </a:lnTo>
                  <a:lnTo>
                    <a:pt x="292" y="1111"/>
                  </a:lnTo>
                  <a:lnTo>
                    <a:pt x="312" y="1111"/>
                  </a:lnTo>
                  <a:lnTo>
                    <a:pt x="331" y="1112"/>
                  </a:lnTo>
                  <a:lnTo>
                    <a:pt x="349" y="1113"/>
                  </a:lnTo>
                  <a:lnTo>
                    <a:pt x="364" y="1116"/>
                  </a:lnTo>
                  <a:lnTo>
                    <a:pt x="377" y="1119"/>
                  </a:lnTo>
                  <a:lnTo>
                    <a:pt x="382" y="1121"/>
                  </a:lnTo>
                  <a:lnTo>
                    <a:pt x="387" y="1123"/>
                  </a:lnTo>
                  <a:lnTo>
                    <a:pt x="389" y="1126"/>
                  </a:lnTo>
                  <a:lnTo>
                    <a:pt x="391" y="1130"/>
                  </a:lnTo>
                  <a:lnTo>
                    <a:pt x="391" y="1133"/>
                  </a:lnTo>
                  <a:lnTo>
                    <a:pt x="389" y="1137"/>
                  </a:lnTo>
                  <a:lnTo>
                    <a:pt x="386" y="1141"/>
                  </a:lnTo>
                  <a:lnTo>
                    <a:pt x="381" y="1146"/>
                  </a:lnTo>
                  <a:lnTo>
                    <a:pt x="374" y="1151"/>
                  </a:lnTo>
                  <a:lnTo>
                    <a:pt x="366" y="1156"/>
                  </a:lnTo>
                  <a:lnTo>
                    <a:pt x="366" y="1156"/>
                  </a:lnTo>
                  <a:lnTo>
                    <a:pt x="357" y="1162"/>
                  </a:lnTo>
                  <a:lnTo>
                    <a:pt x="351" y="1168"/>
                  </a:lnTo>
                  <a:lnTo>
                    <a:pt x="346" y="1175"/>
                  </a:lnTo>
                  <a:lnTo>
                    <a:pt x="344" y="1182"/>
                  </a:lnTo>
                  <a:lnTo>
                    <a:pt x="343" y="1189"/>
                  </a:lnTo>
                  <a:lnTo>
                    <a:pt x="344" y="1195"/>
                  </a:lnTo>
                  <a:lnTo>
                    <a:pt x="346" y="1202"/>
                  </a:lnTo>
                  <a:lnTo>
                    <a:pt x="349" y="1209"/>
                  </a:lnTo>
                  <a:lnTo>
                    <a:pt x="354" y="1217"/>
                  </a:lnTo>
                  <a:lnTo>
                    <a:pt x="360" y="1225"/>
                  </a:lnTo>
                  <a:lnTo>
                    <a:pt x="368" y="1232"/>
                  </a:lnTo>
                  <a:lnTo>
                    <a:pt x="376" y="1239"/>
                  </a:lnTo>
                  <a:lnTo>
                    <a:pt x="396" y="1254"/>
                  </a:lnTo>
                  <a:lnTo>
                    <a:pt x="418" y="1270"/>
                  </a:lnTo>
                  <a:lnTo>
                    <a:pt x="442" y="1285"/>
                  </a:lnTo>
                  <a:lnTo>
                    <a:pt x="467" y="1299"/>
                  </a:lnTo>
                  <a:lnTo>
                    <a:pt x="519" y="1327"/>
                  </a:lnTo>
                  <a:lnTo>
                    <a:pt x="565" y="1350"/>
                  </a:lnTo>
                  <a:lnTo>
                    <a:pt x="585" y="1361"/>
                  </a:lnTo>
                  <a:lnTo>
                    <a:pt x="601" y="1370"/>
                  </a:lnTo>
                  <a:lnTo>
                    <a:pt x="601" y="1370"/>
                  </a:lnTo>
                  <a:lnTo>
                    <a:pt x="608" y="1375"/>
                  </a:lnTo>
                  <a:lnTo>
                    <a:pt x="611" y="1379"/>
                  </a:lnTo>
                  <a:lnTo>
                    <a:pt x="613" y="1382"/>
                  </a:lnTo>
                  <a:lnTo>
                    <a:pt x="611" y="1385"/>
                  </a:lnTo>
                  <a:lnTo>
                    <a:pt x="608" y="1387"/>
                  </a:lnTo>
                  <a:lnTo>
                    <a:pt x="604" y="1389"/>
                  </a:lnTo>
                  <a:lnTo>
                    <a:pt x="598" y="1390"/>
                  </a:lnTo>
                  <a:lnTo>
                    <a:pt x="598" y="1390"/>
                  </a:lnTo>
                  <a:lnTo>
                    <a:pt x="588" y="1390"/>
                  </a:lnTo>
                  <a:lnTo>
                    <a:pt x="576" y="1388"/>
                  </a:lnTo>
                  <a:lnTo>
                    <a:pt x="561" y="1385"/>
                  </a:lnTo>
                  <a:lnTo>
                    <a:pt x="545" y="1380"/>
                  </a:lnTo>
                  <a:lnTo>
                    <a:pt x="509" y="1369"/>
                  </a:lnTo>
                  <a:lnTo>
                    <a:pt x="469" y="1354"/>
                  </a:lnTo>
                  <a:lnTo>
                    <a:pt x="387" y="1323"/>
                  </a:lnTo>
                  <a:lnTo>
                    <a:pt x="349" y="1307"/>
                  </a:lnTo>
                  <a:lnTo>
                    <a:pt x="314" y="1296"/>
                  </a:lnTo>
                  <a:lnTo>
                    <a:pt x="314" y="1296"/>
                  </a:lnTo>
                  <a:lnTo>
                    <a:pt x="303" y="1293"/>
                  </a:lnTo>
                  <a:lnTo>
                    <a:pt x="292" y="1291"/>
                  </a:lnTo>
                  <a:lnTo>
                    <a:pt x="283" y="1291"/>
                  </a:lnTo>
                  <a:lnTo>
                    <a:pt x="275" y="1292"/>
                  </a:lnTo>
                  <a:lnTo>
                    <a:pt x="268" y="1294"/>
                  </a:lnTo>
                  <a:lnTo>
                    <a:pt x="262" y="1297"/>
                  </a:lnTo>
                  <a:lnTo>
                    <a:pt x="257" y="1300"/>
                  </a:lnTo>
                  <a:lnTo>
                    <a:pt x="253" y="1303"/>
                  </a:lnTo>
                  <a:lnTo>
                    <a:pt x="244" y="1312"/>
                  </a:lnTo>
                  <a:lnTo>
                    <a:pt x="238" y="1319"/>
                  </a:lnTo>
                  <a:lnTo>
                    <a:pt x="234" y="1324"/>
                  </a:lnTo>
                  <a:lnTo>
                    <a:pt x="231" y="1325"/>
                  </a:lnTo>
                  <a:lnTo>
                    <a:pt x="229" y="1326"/>
                  </a:lnTo>
                  <a:lnTo>
                    <a:pt x="229" y="1326"/>
                  </a:lnTo>
                  <a:lnTo>
                    <a:pt x="220" y="1325"/>
                  </a:lnTo>
                  <a:lnTo>
                    <a:pt x="210" y="1324"/>
                  </a:lnTo>
                  <a:lnTo>
                    <a:pt x="198" y="1325"/>
                  </a:lnTo>
                  <a:lnTo>
                    <a:pt x="188" y="1325"/>
                  </a:lnTo>
                  <a:lnTo>
                    <a:pt x="166" y="1329"/>
                  </a:lnTo>
                  <a:lnTo>
                    <a:pt x="143" y="1335"/>
                  </a:lnTo>
                  <a:lnTo>
                    <a:pt x="121" y="1343"/>
                  </a:lnTo>
                  <a:lnTo>
                    <a:pt x="98" y="1353"/>
                  </a:lnTo>
                  <a:lnTo>
                    <a:pt x="77" y="1367"/>
                  </a:lnTo>
                  <a:lnTo>
                    <a:pt x="66" y="1374"/>
                  </a:lnTo>
                  <a:lnTo>
                    <a:pt x="57" y="1381"/>
                  </a:lnTo>
                  <a:lnTo>
                    <a:pt x="48" y="1389"/>
                  </a:lnTo>
                  <a:lnTo>
                    <a:pt x="40" y="1397"/>
                  </a:lnTo>
                  <a:lnTo>
                    <a:pt x="32" y="1407"/>
                  </a:lnTo>
                  <a:lnTo>
                    <a:pt x="25" y="1416"/>
                  </a:lnTo>
                  <a:lnTo>
                    <a:pt x="18" y="1426"/>
                  </a:lnTo>
                  <a:lnTo>
                    <a:pt x="12" y="1435"/>
                  </a:lnTo>
                  <a:lnTo>
                    <a:pt x="8" y="1446"/>
                  </a:lnTo>
                  <a:lnTo>
                    <a:pt x="4" y="1458"/>
                  </a:lnTo>
                  <a:lnTo>
                    <a:pt x="2" y="1469"/>
                  </a:lnTo>
                  <a:lnTo>
                    <a:pt x="0" y="1480"/>
                  </a:lnTo>
                  <a:lnTo>
                    <a:pt x="0" y="1492"/>
                  </a:lnTo>
                  <a:lnTo>
                    <a:pt x="0" y="1505"/>
                  </a:lnTo>
                  <a:lnTo>
                    <a:pt x="3" y="1518"/>
                  </a:lnTo>
                  <a:lnTo>
                    <a:pt x="6" y="1530"/>
                  </a:lnTo>
                  <a:lnTo>
                    <a:pt x="11" y="1544"/>
                  </a:lnTo>
                  <a:lnTo>
                    <a:pt x="17" y="1558"/>
                  </a:lnTo>
                  <a:lnTo>
                    <a:pt x="17" y="1558"/>
                  </a:lnTo>
                  <a:lnTo>
                    <a:pt x="20" y="1553"/>
                  </a:lnTo>
                  <a:lnTo>
                    <a:pt x="30" y="1540"/>
                  </a:lnTo>
                  <a:lnTo>
                    <a:pt x="45" y="1521"/>
                  </a:lnTo>
                  <a:lnTo>
                    <a:pt x="53" y="1511"/>
                  </a:lnTo>
                  <a:lnTo>
                    <a:pt x="63" y="1501"/>
                  </a:lnTo>
                  <a:lnTo>
                    <a:pt x="75" y="1490"/>
                  </a:lnTo>
                  <a:lnTo>
                    <a:pt x="86" y="1481"/>
                  </a:lnTo>
                  <a:lnTo>
                    <a:pt x="98" y="1473"/>
                  </a:lnTo>
                  <a:lnTo>
                    <a:pt x="111" y="1466"/>
                  </a:lnTo>
                  <a:lnTo>
                    <a:pt x="125" y="1461"/>
                  </a:lnTo>
                  <a:lnTo>
                    <a:pt x="131" y="1459"/>
                  </a:lnTo>
                  <a:lnTo>
                    <a:pt x="138" y="1458"/>
                  </a:lnTo>
                  <a:lnTo>
                    <a:pt x="145" y="1458"/>
                  </a:lnTo>
                  <a:lnTo>
                    <a:pt x="151" y="1458"/>
                  </a:lnTo>
                  <a:lnTo>
                    <a:pt x="159" y="1459"/>
                  </a:lnTo>
                  <a:lnTo>
                    <a:pt x="166" y="1461"/>
                  </a:lnTo>
                  <a:lnTo>
                    <a:pt x="166" y="1461"/>
                  </a:lnTo>
                  <a:lnTo>
                    <a:pt x="171" y="1463"/>
                  </a:lnTo>
                  <a:lnTo>
                    <a:pt x="174" y="1467"/>
                  </a:lnTo>
                  <a:lnTo>
                    <a:pt x="175" y="1473"/>
                  </a:lnTo>
                  <a:lnTo>
                    <a:pt x="176" y="1479"/>
                  </a:lnTo>
                  <a:lnTo>
                    <a:pt x="176" y="1496"/>
                  </a:lnTo>
                  <a:lnTo>
                    <a:pt x="174" y="1514"/>
                  </a:lnTo>
                  <a:lnTo>
                    <a:pt x="174" y="1524"/>
                  </a:lnTo>
                  <a:lnTo>
                    <a:pt x="174" y="1534"/>
                  </a:lnTo>
                  <a:lnTo>
                    <a:pt x="176" y="1545"/>
                  </a:lnTo>
                  <a:lnTo>
                    <a:pt x="178" y="1554"/>
                  </a:lnTo>
                  <a:lnTo>
                    <a:pt x="182" y="1564"/>
                  </a:lnTo>
                  <a:lnTo>
                    <a:pt x="187" y="1573"/>
                  </a:lnTo>
                  <a:lnTo>
                    <a:pt x="195" y="1581"/>
                  </a:lnTo>
                  <a:lnTo>
                    <a:pt x="205" y="1589"/>
                  </a:lnTo>
                  <a:lnTo>
                    <a:pt x="205" y="1589"/>
                  </a:lnTo>
                  <a:lnTo>
                    <a:pt x="213" y="1593"/>
                  </a:lnTo>
                  <a:lnTo>
                    <a:pt x="221" y="1596"/>
                  </a:lnTo>
                  <a:lnTo>
                    <a:pt x="231" y="1599"/>
                  </a:lnTo>
                  <a:lnTo>
                    <a:pt x="242" y="1600"/>
                  </a:lnTo>
                  <a:lnTo>
                    <a:pt x="254" y="1602"/>
                  </a:lnTo>
                  <a:lnTo>
                    <a:pt x="267" y="1602"/>
                  </a:lnTo>
                  <a:lnTo>
                    <a:pt x="293" y="1602"/>
                  </a:lnTo>
                  <a:lnTo>
                    <a:pt x="323" y="1600"/>
                  </a:lnTo>
                  <a:lnTo>
                    <a:pt x="354" y="1597"/>
                  </a:lnTo>
                  <a:lnTo>
                    <a:pt x="418" y="1589"/>
                  </a:lnTo>
                  <a:lnTo>
                    <a:pt x="481" y="1580"/>
                  </a:lnTo>
                  <a:lnTo>
                    <a:pt x="510" y="1576"/>
                  </a:lnTo>
                  <a:lnTo>
                    <a:pt x="538" y="1574"/>
                  </a:lnTo>
                  <a:lnTo>
                    <a:pt x="562" y="1573"/>
                  </a:lnTo>
                  <a:lnTo>
                    <a:pt x="583" y="1574"/>
                  </a:lnTo>
                  <a:lnTo>
                    <a:pt x="592" y="1575"/>
                  </a:lnTo>
                  <a:lnTo>
                    <a:pt x="600" y="1577"/>
                  </a:lnTo>
                  <a:lnTo>
                    <a:pt x="607" y="1580"/>
                  </a:lnTo>
                  <a:lnTo>
                    <a:pt x="613" y="1585"/>
                  </a:lnTo>
                  <a:lnTo>
                    <a:pt x="613" y="1585"/>
                  </a:lnTo>
                  <a:lnTo>
                    <a:pt x="616" y="1588"/>
                  </a:lnTo>
                  <a:lnTo>
                    <a:pt x="617" y="1591"/>
                  </a:lnTo>
                  <a:lnTo>
                    <a:pt x="616" y="1593"/>
                  </a:lnTo>
                  <a:lnTo>
                    <a:pt x="611" y="1596"/>
                  </a:lnTo>
                  <a:lnTo>
                    <a:pt x="607" y="1598"/>
                  </a:lnTo>
                  <a:lnTo>
                    <a:pt x="600" y="1601"/>
                  </a:lnTo>
                  <a:lnTo>
                    <a:pt x="583" y="1605"/>
                  </a:lnTo>
                  <a:lnTo>
                    <a:pt x="560" y="1609"/>
                  </a:lnTo>
                  <a:lnTo>
                    <a:pt x="535" y="1612"/>
                  </a:lnTo>
                  <a:lnTo>
                    <a:pt x="474" y="1620"/>
                  </a:lnTo>
                  <a:lnTo>
                    <a:pt x="443" y="1624"/>
                  </a:lnTo>
                  <a:lnTo>
                    <a:pt x="412" y="1629"/>
                  </a:lnTo>
                  <a:lnTo>
                    <a:pt x="382" y="1636"/>
                  </a:lnTo>
                  <a:lnTo>
                    <a:pt x="356" y="1642"/>
                  </a:lnTo>
                  <a:lnTo>
                    <a:pt x="344" y="1646"/>
                  </a:lnTo>
                  <a:lnTo>
                    <a:pt x="332" y="1650"/>
                  </a:lnTo>
                  <a:lnTo>
                    <a:pt x="322" y="1654"/>
                  </a:lnTo>
                  <a:lnTo>
                    <a:pt x="314" y="1659"/>
                  </a:lnTo>
                  <a:lnTo>
                    <a:pt x="307" y="1664"/>
                  </a:lnTo>
                  <a:lnTo>
                    <a:pt x="302" y="1669"/>
                  </a:lnTo>
                  <a:lnTo>
                    <a:pt x="298" y="1676"/>
                  </a:lnTo>
                  <a:lnTo>
                    <a:pt x="296" y="1682"/>
                  </a:lnTo>
                  <a:lnTo>
                    <a:pt x="296" y="1682"/>
                  </a:lnTo>
                  <a:lnTo>
                    <a:pt x="295" y="1687"/>
                  </a:lnTo>
                  <a:lnTo>
                    <a:pt x="295" y="1696"/>
                  </a:lnTo>
                  <a:lnTo>
                    <a:pt x="296" y="1707"/>
                  </a:lnTo>
                  <a:lnTo>
                    <a:pt x="298" y="1713"/>
                  </a:lnTo>
                  <a:lnTo>
                    <a:pt x="300" y="1718"/>
                  </a:lnTo>
                  <a:lnTo>
                    <a:pt x="300" y="1718"/>
                  </a:lnTo>
                  <a:lnTo>
                    <a:pt x="301" y="1725"/>
                  </a:lnTo>
                  <a:lnTo>
                    <a:pt x="301" y="1731"/>
                  </a:lnTo>
                  <a:lnTo>
                    <a:pt x="298" y="1737"/>
                  </a:lnTo>
                  <a:lnTo>
                    <a:pt x="293" y="1743"/>
                  </a:lnTo>
                  <a:lnTo>
                    <a:pt x="283" y="1757"/>
                  </a:lnTo>
                  <a:lnTo>
                    <a:pt x="269" y="1775"/>
                  </a:lnTo>
                  <a:lnTo>
                    <a:pt x="261" y="1785"/>
                  </a:lnTo>
                  <a:lnTo>
                    <a:pt x="254" y="1795"/>
                  </a:lnTo>
                  <a:lnTo>
                    <a:pt x="246" y="1807"/>
                  </a:lnTo>
                  <a:lnTo>
                    <a:pt x="240" y="1820"/>
                  </a:lnTo>
                  <a:lnTo>
                    <a:pt x="234" y="1834"/>
                  </a:lnTo>
                  <a:lnTo>
                    <a:pt x="230" y="1849"/>
                  </a:lnTo>
                  <a:lnTo>
                    <a:pt x="226" y="1866"/>
                  </a:lnTo>
                  <a:lnTo>
                    <a:pt x="225" y="1884"/>
                  </a:lnTo>
                  <a:lnTo>
                    <a:pt x="225" y="1884"/>
                  </a:lnTo>
                  <a:lnTo>
                    <a:pt x="225" y="1893"/>
                  </a:lnTo>
                  <a:lnTo>
                    <a:pt x="225" y="1902"/>
                  </a:lnTo>
                  <a:lnTo>
                    <a:pt x="228" y="1920"/>
                  </a:lnTo>
                  <a:lnTo>
                    <a:pt x="233" y="1937"/>
                  </a:lnTo>
                  <a:lnTo>
                    <a:pt x="239" y="1953"/>
                  </a:lnTo>
                  <a:lnTo>
                    <a:pt x="247" y="1968"/>
                  </a:lnTo>
                  <a:lnTo>
                    <a:pt x="257" y="1982"/>
                  </a:lnTo>
                  <a:lnTo>
                    <a:pt x="267" y="1995"/>
                  </a:lnTo>
                  <a:lnTo>
                    <a:pt x="277" y="2007"/>
                  </a:lnTo>
                  <a:lnTo>
                    <a:pt x="287" y="2017"/>
                  </a:lnTo>
                  <a:lnTo>
                    <a:pt x="298" y="2026"/>
                  </a:lnTo>
                  <a:lnTo>
                    <a:pt x="315" y="2042"/>
                  </a:lnTo>
                  <a:lnTo>
                    <a:pt x="327" y="2050"/>
                  </a:lnTo>
                  <a:lnTo>
                    <a:pt x="332" y="2054"/>
                  </a:lnTo>
                  <a:lnTo>
                    <a:pt x="332" y="2054"/>
                  </a:lnTo>
                  <a:lnTo>
                    <a:pt x="334" y="2050"/>
                  </a:lnTo>
                  <a:lnTo>
                    <a:pt x="335" y="2045"/>
                  </a:lnTo>
                  <a:lnTo>
                    <a:pt x="335" y="2036"/>
                  </a:lnTo>
                  <a:lnTo>
                    <a:pt x="334" y="2027"/>
                  </a:lnTo>
                  <a:lnTo>
                    <a:pt x="331" y="2006"/>
                  </a:lnTo>
                  <a:lnTo>
                    <a:pt x="328" y="1980"/>
                  </a:lnTo>
                  <a:lnTo>
                    <a:pt x="327" y="1968"/>
                  </a:lnTo>
                  <a:lnTo>
                    <a:pt x="326" y="1955"/>
                  </a:lnTo>
                  <a:lnTo>
                    <a:pt x="326" y="1943"/>
                  </a:lnTo>
                  <a:lnTo>
                    <a:pt x="328" y="1932"/>
                  </a:lnTo>
                  <a:lnTo>
                    <a:pt x="330" y="1922"/>
                  </a:lnTo>
                  <a:lnTo>
                    <a:pt x="334" y="1913"/>
                  </a:lnTo>
                  <a:lnTo>
                    <a:pt x="337" y="1910"/>
                  </a:lnTo>
                  <a:lnTo>
                    <a:pt x="341" y="1906"/>
                  </a:lnTo>
                  <a:lnTo>
                    <a:pt x="344" y="1904"/>
                  </a:lnTo>
                  <a:lnTo>
                    <a:pt x="348" y="1901"/>
                  </a:lnTo>
                  <a:lnTo>
                    <a:pt x="348" y="1901"/>
                  </a:lnTo>
                  <a:lnTo>
                    <a:pt x="353" y="1900"/>
                  </a:lnTo>
                  <a:lnTo>
                    <a:pt x="357" y="1900"/>
                  </a:lnTo>
                  <a:lnTo>
                    <a:pt x="362" y="1901"/>
                  </a:lnTo>
                  <a:lnTo>
                    <a:pt x="366" y="1905"/>
                  </a:lnTo>
                  <a:lnTo>
                    <a:pt x="375" y="1912"/>
                  </a:lnTo>
                  <a:lnTo>
                    <a:pt x="386" y="1921"/>
                  </a:lnTo>
                  <a:lnTo>
                    <a:pt x="397" y="1932"/>
                  </a:lnTo>
                  <a:lnTo>
                    <a:pt x="410" y="1941"/>
                  </a:lnTo>
                  <a:lnTo>
                    <a:pt x="417" y="1946"/>
                  </a:lnTo>
                  <a:lnTo>
                    <a:pt x="424" y="1950"/>
                  </a:lnTo>
                  <a:lnTo>
                    <a:pt x="434" y="1953"/>
                  </a:lnTo>
                  <a:lnTo>
                    <a:pt x="442" y="1955"/>
                  </a:lnTo>
                  <a:lnTo>
                    <a:pt x="442" y="1955"/>
                  </a:lnTo>
                  <a:lnTo>
                    <a:pt x="451" y="1955"/>
                  </a:lnTo>
                  <a:lnTo>
                    <a:pt x="460" y="1955"/>
                  </a:lnTo>
                  <a:lnTo>
                    <a:pt x="468" y="1954"/>
                  </a:lnTo>
                  <a:lnTo>
                    <a:pt x="478" y="1952"/>
                  </a:lnTo>
                  <a:lnTo>
                    <a:pt x="486" y="1948"/>
                  </a:lnTo>
                  <a:lnTo>
                    <a:pt x="494" y="1944"/>
                  </a:lnTo>
                  <a:lnTo>
                    <a:pt x="501" y="1940"/>
                  </a:lnTo>
                  <a:lnTo>
                    <a:pt x="509" y="1935"/>
                  </a:lnTo>
                  <a:lnTo>
                    <a:pt x="525" y="1923"/>
                  </a:lnTo>
                  <a:lnTo>
                    <a:pt x="539" y="1909"/>
                  </a:lnTo>
                  <a:lnTo>
                    <a:pt x="554" y="1892"/>
                  </a:lnTo>
                  <a:lnTo>
                    <a:pt x="571" y="1875"/>
                  </a:lnTo>
                  <a:lnTo>
                    <a:pt x="604" y="1836"/>
                  </a:lnTo>
                  <a:lnTo>
                    <a:pt x="624" y="1817"/>
                  </a:lnTo>
                  <a:lnTo>
                    <a:pt x="644" y="1797"/>
                  </a:lnTo>
                  <a:lnTo>
                    <a:pt x="667" y="1777"/>
                  </a:lnTo>
                  <a:lnTo>
                    <a:pt x="691" y="1758"/>
                  </a:lnTo>
                  <a:lnTo>
                    <a:pt x="705" y="1749"/>
                  </a:lnTo>
                  <a:lnTo>
                    <a:pt x="718" y="1741"/>
                  </a:lnTo>
                  <a:lnTo>
                    <a:pt x="732" y="1733"/>
                  </a:lnTo>
                  <a:lnTo>
                    <a:pt x="747" y="1725"/>
                  </a:lnTo>
                  <a:lnTo>
                    <a:pt x="747" y="1725"/>
                  </a:lnTo>
                  <a:lnTo>
                    <a:pt x="787" y="1706"/>
                  </a:lnTo>
                  <a:lnTo>
                    <a:pt x="819" y="1694"/>
                  </a:lnTo>
                  <a:lnTo>
                    <a:pt x="831" y="1689"/>
                  </a:lnTo>
                  <a:lnTo>
                    <a:pt x="843" y="1686"/>
                  </a:lnTo>
                  <a:lnTo>
                    <a:pt x="852" y="1685"/>
                  </a:lnTo>
                  <a:lnTo>
                    <a:pt x="859" y="1684"/>
                  </a:lnTo>
                  <a:lnTo>
                    <a:pt x="865" y="1684"/>
                  </a:lnTo>
                  <a:lnTo>
                    <a:pt x="869" y="1686"/>
                  </a:lnTo>
                  <a:lnTo>
                    <a:pt x="872" y="1688"/>
                  </a:lnTo>
                  <a:lnTo>
                    <a:pt x="874" y="1691"/>
                  </a:lnTo>
                  <a:lnTo>
                    <a:pt x="876" y="1694"/>
                  </a:lnTo>
                  <a:lnTo>
                    <a:pt x="876" y="1698"/>
                  </a:lnTo>
                  <a:lnTo>
                    <a:pt x="875" y="1708"/>
                  </a:lnTo>
                  <a:lnTo>
                    <a:pt x="872" y="1720"/>
                  </a:lnTo>
                  <a:lnTo>
                    <a:pt x="868" y="1734"/>
                  </a:lnTo>
                  <a:lnTo>
                    <a:pt x="865" y="1747"/>
                  </a:lnTo>
                  <a:lnTo>
                    <a:pt x="863" y="1759"/>
                  </a:lnTo>
                  <a:lnTo>
                    <a:pt x="863" y="1765"/>
                  </a:lnTo>
                  <a:lnTo>
                    <a:pt x="863" y="1772"/>
                  </a:lnTo>
                  <a:lnTo>
                    <a:pt x="865" y="1777"/>
                  </a:lnTo>
                  <a:lnTo>
                    <a:pt x="867" y="1782"/>
                  </a:lnTo>
                  <a:lnTo>
                    <a:pt x="870" y="1786"/>
                  </a:lnTo>
                  <a:lnTo>
                    <a:pt x="875" y="1790"/>
                  </a:lnTo>
                  <a:lnTo>
                    <a:pt x="881" y="1793"/>
                  </a:lnTo>
                  <a:lnTo>
                    <a:pt x="889" y="1795"/>
                  </a:lnTo>
                  <a:lnTo>
                    <a:pt x="889" y="1795"/>
                  </a:lnTo>
                  <a:lnTo>
                    <a:pt x="901" y="1799"/>
                  </a:lnTo>
                  <a:lnTo>
                    <a:pt x="912" y="1802"/>
                  </a:lnTo>
                  <a:lnTo>
                    <a:pt x="921" y="1807"/>
                  </a:lnTo>
                  <a:lnTo>
                    <a:pt x="928" y="1811"/>
                  </a:lnTo>
                  <a:lnTo>
                    <a:pt x="935" y="1817"/>
                  </a:lnTo>
                  <a:lnTo>
                    <a:pt x="940" y="1822"/>
                  </a:lnTo>
                  <a:lnTo>
                    <a:pt x="943" y="1828"/>
                  </a:lnTo>
                  <a:lnTo>
                    <a:pt x="945" y="1834"/>
                  </a:lnTo>
                  <a:lnTo>
                    <a:pt x="947" y="1840"/>
                  </a:lnTo>
                  <a:lnTo>
                    <a:pt x="947" y="1846"/>
                  </a:lnTo>
                  <a:lnTo>
                    <a:pt x="946" y="1853"/>
                  </a:lnTo>
                  <a:lnTo>
                    <a:pt x="945" y="1860"/>
                  </a:lnTo>
                  <a:lnTo>
                    <a:pt x="943" y="1867"/>
                  </a:lnTo>
                  <a:lnTo>
                    <a:pt x="940" y="1874"/>
                  </a:lnTo>
                  <a:lnTo>
                    <a:pt x="932" y="1887"/>
                  </a:lnTo>
                  <a:lnTo>
                    <a:pt x="922" y="1900"/>
                  </a:lnTo>
                  <a:lnTo>
                    <a:pt x="912" y="1913"/>
                  </a:lnTo>
                  <a:lnTo>
                    <a:pt x="902" y="1924"/>
                  </a:lnTo>
                  <a:lnTo>
                    <a:pt x="892" y="1934"/>
                  </a:lnTo>
                  <a:lnTo>
                    <a:pt x="875" y="1948"/>
                  </a:lnTo>
                  <a:lnTo>
                    <a:pt x="869" y="1955"/>
                  </a:lnTo>
                  <a:lnTo>
                    <a:pt x="869" y="1955"/>
                  </a:lnTo>
                  <a:lnTo>
                    <a:pt x="877" y="1959"/>
                  </a:lnTo>
                  <a:lnTo>
                    <a:pt x="888" y="1961"/>
                  </a:lnTo>
                  <a:lnTo>
                    <a:pt x="899" y="1962"/>
                  </a:lnTo>
                  <a:lnTo>
                    <a:pt x="912" y="1961"/>
                  </a:lnTo>
                  <a:lnTo>
                    <a:pt x="926" y="1958"/>
                  </a:lnTo>
                  <a:lnTo>
                    <a:pt x="941" y="1954"/>
                  </a:lnTo>
                  <a:lnTo>
                    <a:pt x="957" y="1947"/>
                  </a:lnTo>
                  <a:lnTo>
                    <a:pt x="972" y="1939"/>
                  </a:lnTo>
                  <a:lnTo>
                    <a:pt x="989" y="1930"/>
                  </a:lnTo>
                  <a:lnTo>
                    <a:pt x="1004" y="1919"/>
                  </a:lnTo>
                  <a:lnTo>
                    <a:pt x="1019" y="1906"/>
                  </a:lnTo>
                  <a:lnTo>
                    <a:pt x="1035" y="1891"/>
                  </a:lnTo>
                  <a:lnTo>
                    <a:pt x="1048" y="1874"/>
                  </a:lnTo>
                  <a:lnTo>
                    <a:pt x="1061" y="1855"/>
                  </a:lnTo>
                  <a:lnTo>
                    <a:pt x="1073" y="1835"/>
                  </a:lnTo>
                  <a:lnTo>
                    <a:pt x="1083" y="1814"/>
                  </a:lnTo>
                  <a:lnTo>
                    <a:pt x="1083" y="1814"/>
                  </a:lnTo>
                  <a:lnTo>
                    <a:pt x="1086" y="1805"/>
                  </a:lnTo>
                  <a:lnTo>
                    <a:pt x="1089" y="1799"/>
                  </a:lnTo>
                  <a:lnTo>
                    <a:pt x="1092" y="1794"/>
                  </a:lnTo>
                  <a:lnTo>
                    <a:pt x="1096" y="1790"/>
                  </a:lnTo>
                  <a:lnTo>
                    <a:pt x="1100" y="1787"/>
                  </a:lnTo>
                  <a:lnTo>
                    <a:pt x="1103" y="1784"/>
                  </a:lnTo>
                  <a:lnTo>
                    <a:pt x="1111" y="1781"/>
                  </a:lnTo>
                  <a:lnTo>
                    <a:pt x="1120" y="1778"/>
                  </a:lnTo>
                  <a:lnTo>
                    <a:pt x="1129" y="1774"/>
                  </a:lnTo>
                  <a:lnTo>
                    <a:pt x="1138" y="1768"/>
                  </a:lnTo>
                  <a:lnTo>
                    <a:pt x="1143" y="1763"/>
                  </a:lnTo>
                  <a:lnTo>
                    <a:pt x="1148" y="1758"/>
                  </a:lnTo>
                  <a:lnTo>
                    <a:pt x="1148" y="1758"/>
                  </a:lnTo>
                  <a:lnTo>
                    <a:pt x="1151" y="1752"/>
                  </a:lnTo>
                  <a:lnTo>
                    <a:pt x="1154" y="1746"/>
                  </a:lnTo>
                  <a:lnTo>
                    <a:pt x="1158" y="1740"/>
                  </a:lnTo>
                  <a:lnTo>
                    <a:pt x="1159" y="1734"/>
                  </a:lnTo>
                  <a:lnTo>
                    <a:pt x="1160" y="1719"/>
                  </a:lnTo>
                  <a:lnTo>
                    <a:pt x="1160" y="1705"/>
                  </a:lnTo>
                  <a:lnTo>
                    <a:pt x="1160" y="1690"/>
                  </a:lnTo>
                  <a:lnTo>
                    <a:pt x="1160" y="1676"/>
                  </a:lnTo>
                  <a:lnTo>
                    <a:pt x="1162" y="1661"/>
                  </a:lnTo>
                  <a:lnTo>
                    <a:pt x="1164" y="1655"/>
                  </a:lnTo>
                  <a:lnTo>
                    <a:pt x="1166" y="1649"/>
                  </a:lnTo>
                  <a:lnTo>
                    <a:pt x="1166" y="1649"/>
                  </a:lnTo>
                  <a:lnTo>
                    <a:pt x="1170" y="1643"/>
                  </a:lnTo>
                  <a:lnTo>
                    <a:pt x="1174" y="1638"/>
                  </a:lnTo>
                  <a:lnTo>
                    <a:pt x="1178" y="1633"/>
                  </a:lnTo>
                  <a:lnTo>
                    <a:pt x="1183" y="1628"/>
                  </a:lnTo>
                  <a:lnTo>
                    <a:pt x="1195" y="1620"/>
                  </a:lnTo>
                  <a:lnTo>
                    <a:pt x="1209" y="1614"/>
                  </a:lnTo>
                  <a:lnTo>
                    <a:pt x="1223" y="1609"/>
                  </a:lnTo>
                  <a:lnTo>
                    <a:pt x="1237" y="1605"/>
                  </a:lnTo>
                  <a:lnTo>
                    <a:pt x="1268" y="1597"/>
                  </a:lnTo>
                  <a:lnTo>
                    <a:pt x="1298" y="1591"/>
                  </a:lnTo>
                  <a:lnTo>
                    <a:pt x="1310" y="1587"/>
                  </a:lnTo>
                  <a:lnTo>
                    <a:pt x="1321" y="1581"/>
                  </a:lnTo>
                  <a:lnTo>
                    <a:pt x="1329" y="1575"/>
                  </a:lnTo>
                  <a:lnTo>
                    <a:pt x="1333" y="1572"/>
                  </a:lnTo>
                  <a:lnTo>
                    <a:pt x="1335" y="1568"/>
                  </a:lnTo>
                  <a:lnTo>
                    <a:pt x="1338" y="1564"/>
                  </a:lnTo>
                  <a:lnTo>
                    <a:pt x="1340" y="1559"/>
                  </a:lnTo>
                  <a:lnTo>
                    <a:pt x="1340" y="1554"/>
                  </a:lnTo>
                  <a:lnTo>
                    <a:pt x="1340" y="1549"/>
                  </a:lnTo>
                  <a:lnTo>
                    <a:pt x="1340" y="1549"/>
                  </a:lnTo>
                  <a:lnTo>
                    <a:pt x="1338" y="1534"/>
                  </a:lnTo>
                  <a:lnTo>
                    <a:pt x="1338" y="1521"/>
                  </a:lnTo>
                  <a:lnTo>
                    <a:pt x="1341" y="1509"/>
                  </a:lnTo>
                  <a:lnTo>
                    <a:pt x="1345" y="1499"/>
                  </a:lnTo>
                  <a:lnTo>
                    <a:pt x="1350" y="1488"/>
                  </a:lnTo>
                  <a:lnTo>
                    <a:pt x="1355" y="1480"/>
                  </a:lnTo>
                  <a:lnTo>
                    <a:pt x="1362" y="1472"/>
                  </a:lnTo>
                  <a:lnTo>
                    <a:pt x="1370" y="1465"/>
                  </a:lnTo>
                  <a:lnTo>
                    <a:pt x="1378" y="1459"/>
                  </a:lnTo>
                  <a:lnTo>
                    <a:pt x="1388" y="1453"/>
                  </a:lnTo>
                  <a:lnTo>
                    <a:pt x="1406" y="1443"/>
                  </a:lnTo>
                  <a:lnTo>
                    <a:pt x="1424" y="1435"/>
                  </a:lnTo>
                  <a:lnTo>
                    <a:pt x="1441" y="1428"/>
                  </a:lnTo>
                  <a:lnTo>
                    <a:pt x="1441" y="1428"/>
                  </a:lnTo>
                  <a:lnTo>
                    <a:pt x="1443" y="1428"/>
                  </a:lnTo>
                  <a:lnTo>
                    <a:pt x="1444" y="1429"/>
                  </a:lnTo>
                  <a:lnTo>
                    <a:pt x="1447" y="1431"/>
                  </a:lnTo>
                  <a:lnTo>
                    <a:pt x="1449" y="1436"/>
                  </a:lnTo>
                  <a:lnTo>
                    <a:pt x="1453" y="1443"/>
                  </a:lnTo>
                  <a:lnTo>
                    <a:pt x="1461" y="1462"/>
                  </a:lnTo>
                  <a:lnTo>
                    <a:pt x="1467" y="1473"/>
                  </a:lnTo>
                  <a:lnTo>
                    <a:pt x="1474" y="1485"/>
                  </a:lnTo>
                  <a:lnTo>
                    <a:pt x="1484" y="1498"/>
                  </a:lnTo>
                  <a:lnTo>
                    <a:pt x="1494" y="1511"/>
                  </a:lnTo>
                  <a:lnTo>
                    <a:pt x="1506" y="1525"/>
                  </a:lnTo>
                  <a:lnTo>
                    <a:pt x="1522" y="1539"/>
                  </a:lnTo>
                  <a:lnTo>
                    <a:pt x="1539" y="1552"/>
                  </a:lnTo>
                  <a:lnTo>
                    <a:pt x="1559" y="1564"/>
                  </a:lnTo>
                  <a:lnTo>
                    <a:pt x="1583" y="1576"/>
                  </a:lnTo>
                  <a:lnTo>
                    <a:pt x="1609" y="1587"/>
                  </a:lnTo>
                  <a:lnTo>
                    <a:pt x="1609" y="1587"/>
                  </a:lnTo>
                  <a:lnTo>
                    <a:pt x="1684" y="1556"/>
                  </a:lnTo>
                  <a:lnTo>
                    <a:pt x="1730" y="1534"/>
                  </a:lnTo>
                  <a:lnTo>
                    <a:pt x="1757" y="1521"/>
                  </a:lnTo>
                  <a:lnTo>
                    <a:pt x="1786" y="1506"/>
                  </a:lnTo>
                  <a:lnTo>
                    <a:pt x="1786" y="1506"/>
                  </a:lnTo>
                  <a:lnTo>
                    <a:pt x="1818" y="1489"/>
                  </a:lnTo>
                  <a:lnTo>
                    <a:pt x="1848" y="1472"/>
                  </a:lnTo>
                  <a:lnTo>
                    <a:pt x="1860" y="1464"/>
                  </a:lnTo>
                  <a:lnTo>
                    <a:pt x="1871" y="1457"/>
                  </a:lnTo>
                  <a:lnTo>
                    <a:pt x="1881" y="1449"/>
                  </a:lnTo>
                  <a:lnTo>
                    <a:pt x="1889" y="1442"/>
                  </a:lnTo>
                  <a:lnTo>
                    <a:pt x="1889" y="1442"/>
                  </a:lnTo>
                  <a:lnTo>
                    <a:pt x="1888" y="1440"/>
                  </a:lnTo>
                  <a:lnTo>
                    <a:pt x="1887" y="1438"/>
                  </a:lnTo>
                  <a:lnTo>
                    <a:pt x="1879" y="1431"/>
                  </a:lnTo>
                  <a:lnTo>
                    <a:pt x="1868" y="1420"/>
                  </a:lnTo>
                  <a:lnTo>
                    <a:pt x="1855" y="1406"/>
                  </a:lnTo>
                  <a:lnTo>
                    <a:pt x="1840" y="1388"/>
                  </a:lnTo>
                  <a:lnTo>
                    <a:pt x="1825" y="1369"/>
                  </a:lnTo>
                  <a:lnTo>
                    <a:pt x="1818" y="1358"/>
                  </a:lnTo>
                  <a:lnTo>
                    <a:pt x="1812" y="1345"/>
                  </a:lnTo>
                  <a:lnTo>
                    <a:pt x="1807" y="1334"/>
                  </a:lnTo>
                  <a:lnTo>
                    <a:pt x="1802" y="1321"/>
                  </a:lnTo>
                  <a:lnTo>
                    <a:pt x="1802" y="1321"/>
                  </a:lnTo>
                  <a:lnTo>
                    <a:pt x="1799" y="1308"/>
                  </a:lnTo>
                  <a:lnTo>
                    <a:pt x="1796" y="1297"/>
                  </a:lnTo>
                  <a:lnTo>
                    <a:pt x="1794" y="1288"/>
                  </a:lnTo>
                  <a:lnTo>
                    <a:pt x="1794" y="1279"/>
                  </a:lnTo>
                  <a:lnTo>
                    <a:pt x="1794" y="1272"/>
                  </a:lnTo>
                  <a:lnTo>
                    <a:pt x="1794" y="1267"/>
                  </a:lnTo>
                  <a:lnTo>
                    <a:pt x="1795" y="1263"/>
                  </a:lnTo>
                  <a:lnTo>
                    <a:pt x="1796" y="1261"/>
                  </a:lnTo>
                  <a:lnTo>
                    <a:pt x="1796" y="1261"/>
                  </a:lnTo>
                  <a:lnTo>
                    <a:pt x="1809" y="1278"/>
                  </a:lnTo>
                  <a:lnTo>
                    <a:pt x="1824" y="1295"/>
                  </a:lnTo>
                  <a:lnTo>
                    <a:pt x="1845" y="1316"/>
                  </a:lnTo>
                  <a:lnTo>
                    <a:pt x="1857" y="1327"/>
                  </a:lnTo>
                  <a:lnTo>
                    <a:pt x="1869" y="1338"/>
                  </a:lnTo>
                  <a:lnTo>
                    <a:pt x="1883" y="1349"/>
                  </a:lnTo>
                  <a:lnTo>
                    <a:pt x="1899" y="1361"/>
                  </a:lnTo>
                  <a:lnTo>
                    <a:pt x="1915" y="1372"/>
                  </a:lnTo>
                  <a:lnTo>
                    <a:pt x="1932" y="1381"/>
                  </a:lnTo>
                  <a:lnTo>
                    <a:pt x="1949" y="1390"/>
                  </a:lnTo>
                  <a:lnTo>
                    <a:pt x="1967" y="1398"/>
                  </a:lnTo>
                  <a:lnTo>
                    <a:pt x="1967" y="1398"/>
                  </a:lnTo>
                  <a:lnTo>
                    <a:pt x="2021" y="1370"/>
                  </a:lnTo>
                  <a:lnTo>
                    <a:pt x="2075" y="1340"/>
                  </a:lnTo>
                  <a:lnTo>
                    <a:pt x="2129" y="1307"/>
                  </a:lnTo>
                  <a:lnTo>
                    <a:pt x="2183" y="1273"/>
                  </a:lnTo>
                  <a:lnTo>
                    <a:pt x="2183" y="1273"/>
                  </a:lnTo>
                  <a:lnTo>
                    <a:pt x="2218" y="1249"/>
                  </a:lnTo>
                  <a:lnTo>
                    <a:pt x="2218" y="1249"/>
                  </a:lnTo>
                  <a:lnTo>
                    <a:pt x="2219" y="1248"/>
                  </a:lnTo>
                  <a:lnTo>
                    <a:pt x="2219" y="1248"/>
                  </a:lnTo>
                  <a:lnTo>
                    <a:pt x="2220" y="1246"/>
                  </a:lnTo>
                  <a:lnTo>
                    <a:pt x="2219" y="1244"/>
                  </a:lnTo>
                  <a:lnTo>
                    <a:pt x="2215" y="1237"/>
                  </a:lnTo>
                  <a:lnTo>
                    <a:pt x="2207" y="1228"/>
                  </a:lnTo>
                  <a:lnTo>
                    <a:pt x="2196" y="1217"/>
                  </a:lnTo>
                  <a:lnTo>
                    <a:pt x="2171" y="1193"/>
                  </a:lnTo>
                  <a:lnTo>
                    <a:pt x="2142" y="1164"/>
                  </a:lnTo>
                  <a:lnTo>
                    <a:pt x="2129" y="1150"/>
                  </a:lnTo>
                  <a:lnTo>
                    <a:pt x="2118" y="1136"/>
                  </a:lnTo>
                  <a:lnTo>
                    <a:pt x="2108" y="1121"/>
                  </a:lnTo>
                  <a:lnTo>
                    <a:pt x="2104" y="1114"/>
                  </a:lnTo>
                  <a:lnTo>
                    <a:pt x="2101" y="1108"/>
                  </a:lnTo>
                  <a:lnTo>
                    <a:pt x="2100" y="1101"/>
                  </a:lnTo>
                  <a:lnTo>
                    <a:pt x="2099" y="1095"/>
                  </a:lnTo>
                  <a:lnTo>
                    <a:pt x="2099" y="1089"/>
                  </a:lnTo>
                  <a:lnTo>
                    <a:pt x="2100" y="1084"/>
                  </a:lnTo>
                  <a:lnTo>
                    <a:pt x="2102" y="1078"/>
                  </a:lnTo>
                  <a:lnTo>
                    <a:pt x="2106" y="1073"/>
                  </a:lnTo>
                  <a:lnTo>
                    <a:pt x="2112" y="1069"/>
                  </a:lnTo>
                  <a:lnTo>
                    <a:pt x="2119" y="1065"/>
                  </a:lnTo>
                  <a:lnTo>
                    <a:pt x="2119" y="1065"/>
                  </a:lnTo>
                  <a:lnTo>
                    <a:pt x="2125" y="1061"/>
                  </a:lnTo>
                  <a:lnTo>
                    <a:pt x="2130" y="1056"/>
                  </a:lnTo>
                  <a:lnTo>
                    <a:pt x="2133" y="1051"/>
                  </a:lnTo>
                  <a:lnTo>
                    <a:pt x="2135" y="1045"/>
                  </a:lnTo>
                  <a:lnTo>
                    <a:pt x="2136" y="1039"/>
                  </a:lnTo>
                  <a:lnTo>
                    <a:pt x="2136" y="1030"/>
                  </a:lnTo>
                  <a:lnTo>
                    <a:pt x="2136" y="1023"/>
                  </a:lnTo>
                  <a:lnTo>
                    <a:pt x="2134" y="1014"/>
                  </a:lnTo>
                  <a:lnTo>
                    <a:pt x="2129" y="997"/>
                  </a:lnTo>
                  <a:lnTo>
                    <a:pt x="2121" y="977"/>
                  </a:lnTo>
                  <a:lnTo>
                    <a:pt x="2102" y="935"/>
                  </a:lnTo>
                  <a:lnTo>
                    <a:pt x="2093" y="914"/>
                  </a:lnTo>
                  <a:lnTo>
                    <a:pt x="2085" y="893"/>
                  </a:lnTo>
                  <a:lnTo>
                    <a:pt x="2078" y="873"/>
                  </a:lnTo>
                  <a:lnTo>
                    <a:pt x="2076" y="863"/>
                  </a:lnTo>
                  <a:lnTo>
                    <a:pt x="2074" y="853"/>
                  </a:lnTo>
                  <a:lnTo>
                    <a:pt x="2074" y="844"/>
                  </a:lnTo>
                  <a:lnTo>
                    <a:pt x="2074" y="836"/>
                  </a:lnTo>
                  <a:lnTo>
                    <a:pt x="2075" y="828"/>
                  </a:lnTo>
                  <a:lnTo>
                    <a:pt x="2077" y="821"/>
                  </a:lnTo>
                  <a:lnTo>
                    <a:pt x="2080" y="814"/>
                  </a:lnTo>
                  <a:lnTo>
                    <a:pt x="2085" y="807"/>
                  </a:lnTo>
                  <a:lnTo>
                    <a:pt x="2091" y="801"/>
                  </a:lnTo>
                  <a:lnTo>
                    <a:pt x="2099" y="797"/>
                  </a:lnTo>
                  <a:lnTo>
                    <a:pt x="2099" y="797"/>
                  </a:lnTo>
                  <a:lnTo>
                    <a:pt x="2200" y="744"/>
                  </a:lnTo>
                  <a:lnTo>
                    <a:pt x="2306" y="693"/>
                  </a:lnTo>
                  <a:lnTo>
                    <a:pt x="2410" y="642"/>
                  </a:lnTo>
                  <a:lnTo>
                    <a:pt x="2513" y="592"/>
                  </a:lnTo>
                  <a:lnTo>
                    <a:pt x="2705" y="501"/>
                  </a:lnTo>
                  <a:lnTo>
                    <a:pt x="2788" y="461"/>
                  </a:lnTo>
                  <a:lnTo>
                    <a:pt x="2863" y="424"/>
                  </a:lnTo>
                  <a:lnTo>
                    <a:pt x="2863" y="424"/>
                  </a:lnTo>
                  <a:lnTo>
                    <a:pt x="2859" y="408"/>
                  </a:lnTo>
                  <a:lnTo>
                    <a:pt x="2853" y="389"/>
                  </a:lnTo>
                  <a:lnTo>
                    <a:pt x="2843" y="366"/>
                  </a:lnTo>
                  <a:lnTo>
                    <a:pt x="2836" y="354"/>
                  </a:lnTo>
                  <a:lnTo>
                    <a:pt x="2829" y="339"/>
                  </a:lnTo>
                  <a:lnTo>
                    <a:pt x="2821" y="325"/>
                  </a:lnTo>
                  <a:lnTo>
                    <a:pt x="2812" y="311"/>
                  </a:lnTo>
                  <a:lnTo>
                    <a:pt x="2801" y="296"/>
                  </a:lnTo>
                  <a:lnTo>
                    <a:pt x="2788" y="281"/>
                  </a:lnTo>
                  <a:lnTo>
                    <a:pt x="2774" y="267"/>
                  </a:lnTo>
                  <a:lnTo>
                    <a:pt x="2759" y="2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79" name="Freeform 32"/>
            <p:cNvSpPr>
              <a:spLocks/>
            </p:cNvSpPr>
            <p:nvPr userDrawn="1"/>
          </p:nvSpPr>
          <p:spPr bwMode="auto">
            <a:xfrm>
              <a:off x="5786685" y="1097131"/>
              <a:ext cx="161925" cy="153988"/>
            </a:xfrm>
            <a:custGeom>
              <a:avLst/>
              <a:gdLst>
                <a:gd name="T0" fmla="*/ 2 w 1226"/>
                <a:gd name="T1" fmla="*/ 386 h 1168"/>
                <a:gd name="T2" fmla="*/ 22 w 1226"/>
                <a:gd name="T3" fmla="*/ 434 h 1168"/>
                <a:gd name="T4" fmla="*/ 61 w 1226"/>
                <a:gd name="T5" fmla="*/ 466 h 1168"/>
                <a:gd name="T6" fmla="*/ 120 w 1226"/>
                <a:gd name="T7" fmla="*/ 479 h 1168"/>
                <a:gd name="T8" fmla="*/ 142 w 1226"/>
                <a:gd name="T9" fmla="*/ 469 h 1168"/>
                <a:gd name="T10" fmla="*/ 160 w 1226"/>
                <a:gd name="T11" fmla="*/ 436 h 1168"/>
                <a:gd name="T12" fmla="*/ 164 w 1226"/>
                <a:gd name="T13" fmla="*/ 370 h 1168"/>
                <a:gd name="T14" fmla="*/ 174 w 1226"/>
                <a:gd name="T15" fmla="*/ 344 h 1168"/>
                <a:gd name="T16" fmla="*/ 198 w 1226"/>
                <a:gd name="T17" fmla="*/ 331 h 1168"/>
                <a:gd name="T18" fmla="*/ 223 w 1226"/>
                <a:gd name="T19" fmla="*/ 318 h 1168"/>
                <a:gd name="T20" fmla="*/ 427 w 1226"/>
                <a:gd name="T21" fmla="*/ 416 h 1168"/>
                <a:gd name="T22" fmla="*/ 628 w 1226"/>
                <a:gd name="T23" fmla="*/ 534 h 1168"/>
                <a:gd name="T24" fmla="*/ 876 w 1226"/>
                <a:gd name="T25" fmla="*/ 703 h 1168"/>
                <a:gd name="T26" fmla="*/ 868 w 1226"/>
                <a:gd name="T27" fmla="*/ 783 h 1168"/>
                <a:gd name="T28" fmla="*/ 779 w 1226"/>
                <a:gd name="T29" fmla="*/ 957 h 1168"/>
                <a:gd name="T30" fmla="*/ 753 w 1226"/>
                <a:gd name="T31" fmla="*/ 1040 h 1168"/>
                <a:gd name="T32" fmla="*/ 754 w 1226"/>
                <a:gd name="T33" fmla="*/ 1090 h 1168"/>
                <a:gd name="T34" fmla="*/ 771 w 1226"/>
                <a:gd name="T35" fmla="*/ 1130 h 1168"/>
                <a:gd name="T36" fmla="*/ 801 w 1226"/>
                <a:gd name="T37" fmla="*/ 1157 h 1168"/>
                <a:gd name="T38" fmla="*/ 842 w 1226"/>
                <a:gd name="T39" fmla="*/ 1168 h 1168"/>
                <a:gd name="T40" fmla="*/ 880 w 1226"/>
                <a:gd name="T41" fmla="*/ 1163 h 1168"/>
                <a:gd name="T42" fmla="*/ 919 w 1226"/>
                <a:gd name="T43" fmla="*/ 1140 h 1168"/>
                <a:gd name="T44" fmla="*/ 944 w 1226"/>
                <a:gd name="T45" fmla="*/ 1107 h 1168"/>
                <a:gd name="T46" fmla="*/ 952 w 1226"/>
                <a:gd name="T47" fmla="*/ 1060 h 1168"/>
                <a:gd name="T48" fmla="*/ 930 w 1226"/>
                <a:gd name="T49" fmla="*/ 1010 h 1168"/>
                <a:gd name="T50" fmla="*/ 885 w 1226"/>
                <a:gd name="T51" fmla="*/ 989 h 1168"/>
                <a:gd name="T52" fmla="*/ 919 w 1226"/>
                <a:gd name="T53" fmla="*/ 879 h 1168"/>
                <a:gd name="T54" fmla="*/ 954 w 1226"/>
                <a:gd name="T55" fmla="*/ 807 h 1168"/>
                <a:gd name="T56" fmla="*/ 1024 w 1226"/>
                <a:gd name="T57" fmla="*/ 715 h 1168"/>
                <a:gd name="T58" fmla="*/ 1095 w 1226"/>
                <a:gd name="T59" fmla="*/ 673 h 1168"/>
                <a:gd name="T60" fmla="*/ 1125 w 1226"/>
                <a:gd name="T61" fmla="*/ 670 h 1168"/>
                <a:gd name="T62" fmla="*/ 1099 w 1226"/>
                <a:gd name="T63" fmla="*/ 633 h 1168"/>
                <a:gd name="T64" fmla="*/ 1083 w 1226"/>
                <a:gd name="T65" fmla="*/ 543 h 1168"/>
                <a:gd name="T66" fmla="*/ 1096 w 1226"/>
                <a:gd name="T67" fmla="*/ 477 h 1168"/>
                <a:gd name="T68" fmla="*/ 1132 w 1226"/>
                <a:gd name="T69" fmla="*/ 395 h 1168"/>
                <a:gd name="T70" fmla="*/ 1195 w 1226"/>
                <a:gd name="T71" fmla="*/ 258 h 1168"/>
                <a:gd name="T72" fmla="*/ 1225 w 1226"/>
                <a:gd name="T73" fmla="*/ 141 h 1168"/>
                <a:gd name="T74" fmla="*/ 1217 w 1226"/>
                <a:gd name="T75" fmla="*/ 95 h 1168"/>
                <a:gd name="T76" fmla="*/ 1187 w 1226"/>
                <a:gd name="T77" fmla="*/ 55 h 1168"/>
                <a:gd name="T78" fmla="*/ 1144 w 1226"/>
                <a:gd name="T79" fmla="*/ 34 h 1168"/>
                <a:gd name="T80" fmla="*/ 1104 w 1226"/>
                <a:gd name="T81" fmla="*/ 35 h 1168"/>
                <a:gd name="T82" fmla="*/ 1061 w 1226"/>
                <a:gd name="T83" fmla="*/ 57 h 1168"/>
                <a:gd name="T84" fmla="*/ 1033 w 1226"/>
                <a:gd name="T85" fmla="*/ 94 h 1168"/>
                <a:gd name="T86" fmla="*/ 1025 w 1226"/>
                <a:gd name="T87" fmla="*/ 139 h 1168"/>
                <a:gd name="T88" fmla="*/ 1048 w 1226"/>
                <a:gd name="T89" fmla="*/ 205 h 1168"/>
                <a:gd name="T90" fmla="*/ 1095 w 1226"/>
                <a:gd name="T91" fmla="*/ 230 h 1168"/>
                <a:gd name="T92" fmla="*/ 1107 w 1226"/>
                <a:gd name="T93" fmla="*/ 240 h 1168"/>
                <a:gd name="T94" fmla="*/ 1044 w 1226"/>
                <a:gd name="T95" fmla="*/ 390 h 1168"/>
                <a:gd name="T96" fmla="*/ 975 w 1226"/>
                <a:gd name="T97" fmla="*/ 431 h 1168"/>
                <a:gd name="T98" fmla="*/ 717 w 1226"/>
                <a:gd name="T99" fmla="*/ 289 h 1168"/>
                <a:gd name="T100" fmla="*/ 529 w 1226"/>
                <a:gd name="T101" fmla="*/ 205 h 1168"/>
                <a:gd name="T102" fmla="*/ 317 w 1226"/>
                <a:gd name="T103" fmla="*/ 140 h 1168"/>
                <a:gd name="T104" fmla="*/ 378 w 1226"/>
                <a:gd name="T105" fmla="*/ 31 h 1168"/>
                <a:gd name="T106" fmla="*/ 389 w 1226"/>
                <a:gd name="T107" fmla="*/ 0 h 1168"/>
                <a:gd name="T108" fmla="*/ 367 w 1226"/>
                <a:gd name="T109" fmla="*/ 10 h 1168"/>
                <a:gd name="T110" fmla="*/ 285 w 1226"/>
                <a:gd name="T111" fmla="*/ 57 h 1168"/>
                <a:gd name="T112" fmla="*/ 211 w 1226"/>
                <a:gd name="T113" fmla="*/ 85 h 1168"/>
                <a:gd name="T114" fmla="*/ 147 w 1226"/>
                <a:gd name="T115" fmla="*/ 85 h 1168"/>
                <a:gd name="T116" fmla="*/ 114 w 1226"/>
                <a:gd name="T117" fmla="*/ 85 h 1168"/>
                <a:gd name="T118" fmla="*/ 87 w 1226"/>
                <a:gd name="T119" fmla="*/ 134 h 1168"/>
                <a:gd name="T120" fmla="*/ 42 w 1226"/>
                <a:gd name="T121" fmla="*/ 261 h 1168"/>
                <a:gd name="T122" fmla="*/ 6 w 1226"/>
                <a:gd name="T123" fmla="*/ 327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168">
                  <a:moveTo>
                    <a:pt x="1" y="345"/>
                  </a:moveTo>
                  <a:lnTo>
                    <a:pt x="1" y="345"/>
                  </a:lnTo>
                  <a:lnTo>
                    <a:pt x="0" y="359"/>
                  </a:lnTo>
                  <a:lnTo>
                    <a:pt x="0" y="370"/>
                  </a:lnTo>
                  <a:lnTo>
                    <a:pt x="2" y="386"/>
                  </a:lnTo>
                  <a:lnTo>
                    <a:pt x="5" y="401"/>
                  </a:lnTo>
                  <a:lnTo>
                    <a:pt x="8" y="409"/>
                  </a:lnTo>
                  <a:lnTo>
                    <a:pt x="11" y="417"/>
                  </a:lnTo>
                  <a:lnTo>
                    <a:pt x="16" y="425"/>
                  </a:lnTo>
                  <a:lnTo>
                    <a:pt x="22" y="434"/>
                  </a:lnTo>
                  <a:lnTo>
                    <a:pt x="28" y="442"/>
                  </a:lnTo>
                  <a:lnTo>
                    <a:pt x="36" y="449"/>
                  </a:lnTo>
                  <a:lnTo>
                    <a:pt x="36" y="449"/>
                  </a:lnTo>
                  <a:lnTo>
                    <a:pt x="48" y="458"/>
                  </a:lnTo>
                  <a:lnTo>
                    <a:pt x="61" y="466"/>
                  </a:lnTo>
                  <a:lnTo>
                    <a:pt x="76" y="473"/>
                  </a:lnTo>
                  <a:lnTo>
                    <a:pt x="91" y="478"/>
                  </a:lnTo>
                  <a:lnTo>
                    <a:pt x="105" y="480"/>
                  </a:lnTo>
                  <a:lnTo>
                    <a:pt x="113" y="480"/>
                  </a:lnTo>
                  <a:lnTo>
                    <a:pt x="120" y="479"/>
                  </a:lnTo>
                  <a:lnTo>
                    <a:pt x="126" y="478"/>
                  </a:lnTo>
                  <a:lnTo>
                    <a:pt x="132" y="476"/>
                  </a:lnTo>
                  <a:lnTo>
                    <a:pt x="137" y="473"/>
                  </a:lnTo>
                  <a:lnTo>
                    <a:pt x="142" y="469"/>
                  </a:lnTo>
                  <a:lnTo>
                    <a:pt x="142" y="469"/>
                  </a:lnTo>
                  <a:lnTo>
                    <a:pt x="147" y="464"/>
                  </a:lnTo>
                  <a:lnTo>
                    <a:pt x="152" y="457"/>
                  </a:lnTo>
                  <a:lnTo>
                    <a:pt x="155" y="451"/>
                  </a:lnTo>
                  <a:lnTo>
                    <a:pt x="158" y="444"/>
                  </a:lnTo>
                  <a:lnTo>
                    <a:pt x="160" y="436"/>
                  </a:lnTo>
                  <a:lnTo>
                    <a:pt x="161" y="428"/>
                  </a:lnTo>
                  <a:lnTo>
                    <a:pt x="162" y="411"/>
                  </a:lnTo>
                  <a:lnTo>
                    <a:pt x="162" y="395"/>
                  </a:lnTo>
                  <a:lnTo>
                    <a:pt x="163" y="378"/>
                  </a:lnTo>
                  <a:lnTo>
                    <a:pt x="164" y="370"/>
                  </a:lnTo>
                  <a:lnTo>
                    <a:pt x="166" y="362"/>
                  </a:lnTo>
                  <a:lnTo>
                    <a:pt x="168" y="355"/>
                  </a:lnTo>
                  <a:lnTo>
                    <a:pt x="172" y="347"/>
                  </a:lnTo>
                  <a:lnTo>
                    <a:pt x="172" y="347"/>
                  </a:lnTo>
                  <a:lnTo>
                    <a:pt x="174" y="344"/>
                  </a:lnTo>
                  <a:lnTo>
                    <a:pt x="178" y="341"/>
                  </a:lnTo>
                  <a:lnTo>
                    <a:pt x="187" y="335"/>
                  </a:lnTo>
                  <a:lnTo>
                    <a:pt x="195" y="332"/>
                  </a:lnTo>
                  <a:lnTo>
                    <a:pt x="198" y="331"/>
                  </a:lnTo>
                  <a:lnTo>
                    <a:pt x="198" y="331"/>
                  </a:lnTo>
                  <a:lnTo>
                    <a:pt x="205" y="329"/>
                  </a:lnTo>
                  <a:lnTo>
                    <a:pt x="211" y="326"/>
                  </a:lnTo>
                  <a:lnTo>
                    <a:pt x="217" y="323"/>
                  </a:lnTo>
                  <a:lnTo>
                    <a:pt x="223" y="318"/>
                  </a:lnTo>
                  <a:lnTo>
                    <a:pt x="223" y="318"/>
                  </a:lnTo>
                  <a:lnTo>
                    <a:pt x="264" y="337"/>
                  </a:lnTo>
                  <a:lnTo>
                    <a:pt x="305" y="355"/>
                  </a:lnTo>
                  <a:lnTo>
                    <a:pt x="347" y="374"/>
                  </a:lnTo>
                  <a:lnTo>
                    <a:pt x="388" y="395"/>
                  </a:lnTo>
                  <a:lnTo>
                    <a:pt x="427" y="416"/>
                  </a:lnTo>
                  <a:lnTo>
                    <a:pt x="468" y="439"/>
                  </a:lnTo>
                  <a:lnTo>
                    <a:pt x="509" y="461"/>
                  </a:lnTo>
                  <a:lnTo>
                    <a:pt x="549" y="485"/>
                  </a:lnTo>
                  <a:lnTo>
                    <a:pt x="589" y="509"/>
                  </a:lnTo>
                  <a:lnTo>
                    <a:pt x="628" y="534"/>
                  </a:lnTo>
                  <a:lnTo>
                    <a:pt x="706" y="584"/>
                  </a:lnTo>
                  <a:lnTo>
                    <a:pt x="782" y="636"/>
                  </a:lnTo>
                  <a:lnTo>
                    <a:pt x="857" y="689"/>
                  </a:lnTo>
                  <a:lnTo>
                    <a:pt x="857" y="689"/>
                  </a:lnTo>
                  <a:lnTo>
                    <a:pt x="876" y="703"/>
                  </a:lnTo>
                  <a:lnTo>
                    <a:pt x="894" y="714"/>
                  </a:lnTo>
                  <a:lnTo>
                    <a:pt x="894" y="714"/>
                  </a:lnTo>
                  <a:lnTo>
                    <a:pt x="887" y="736"/>
                  </a:lnTo>
                  <a:lnTo>
                    <a:pt x="878" y="759"/>
                  </a:lnTo>
                  <a:lnTo>
                    <a:pt x="868" y="783"/>
                  </a:lnTo>
                  <a:lnTo>
                    <a:pt x="856" y="809"/>
                  </a:lnTo>
                  <a:lnTo>
                    <a:pt x="856" y="809"/>
                  </a:lnTo>
                  <a:lnTo>
                    <a:pt x="816" y="885"/>
                  </a:lnTo>
                  <a:lnTo>
                    <a:pt x="797" y="921"/>
                  </a:lnTo>
                  <a:lnTo>
                    <a:pt x="779" y="957"/>
                  </a:lnTo>
                  <a:lnTo>
                    <a:pt x="772" y="975"/>
                  </a:lnTo>
                  <a:lnTo>
                    <a:pt x="766" y="992"/>
                  </a:lnTo>
                  <a:lnTo>
                    <a:pt x="760" y="1008"/>
                  </a:lnTo>
                  <a:lnTo>
                    <a:pt x="756" y="1025"/>
                  </a:lnTo>
                  <a:lnTo>
                    <a:pt x="753" y="1040"/>
                  </a:lnTo>
                  <a:lnTo>
                    <a:pt x="751" y="1054"/>
                  </a:lnTo>
                  <a:lnTo>
                    <a:pt x="751" y="1069"/>
                  </a:lnTo>
                  <a:lnTo>
                    <a:pt x="752" y="1081"/>
                  </a:lnTo>
                  <a:lnTo>
                    <a:pt x="752" y="1081"/>
                  </a:lnTo>
                  <a:lnTo>
                    <a:pt x="754" y="1090"/>
                  </a:lnTo>
                  <a:lnTo>
                    <a:pt x="756" y="1099"/>
                  </a:lnTo>
                  <a:lnTo>
                    <a:pt x="759" y="1107"/>
                  </a:lnTo>
                  <a:lnTo>
                    <a:pt x="762" y="1116"/>
                  </a:lnTo>
                  <a:lnTo>
                    <a:pt x="766" y="1123"/>
                  </a:lnTo>
                  <a:lnTo>
                    <a:pt x="771" y="1130"/>
                  </a:lnTo>
                  <a:lnTo>
                    <a:pt x="776" y="1136"/>
                  </a:lnTo>
                  <a:lnTo>
                    <a:pt x="781" y="1142"/>
                  </a:lnTo>
                  <a:lnTo>
                    <a:pt x="787" y="1147"/>
                  </a:lnTo>
                  <a:lnTo>
                    <a:pt x="794" y="1152"/>
                  </a:lnTo>
                  <a:lnTo>
                    <a:pt x="801" y="1157"/>
                  </a:lnTo>
                  <a:lnTo>
                    <a:pt x="808" y="1160"/>
                  </a:lnTo>
                  <a:lnTo>
                    <a:pt x="816" y="1163"/>
                  </a:lnTo>
                  <a:lnTo>
                    <a:pt x="824" y="1165"/>
                  </a:lnTo>
                  <a:lnTo>
                    <a:pt x="833" y="1167"/>
                  </a:lnTo>
                  <a:lnTo>
                    <a:pt x="842" y="1168"/>
                  </a:lnTo>
                  <a:lnTo>
                    <a:pt x="842" y="1168"/>
                  </a:lnTo>
                  <a:lnTo>
                    <a:pt x="852" y="1168"/>
                  </a:lnTo>
                  <a:lnTo>
                    <a:pt x="862" y="1167"/>
                  </a:lnTo>
                  <a:lnTo>
                    <a:pt x="871" y="1165"/>
                  </a:lnTo>
                  <a:lnTo>
                    <a:pt x="880" y="1163"/>
                  </a:lnTo>
                  <a:lnTo>
                    <a:pt x="889" y="1160"/>
                  </a:lnTo>
                  <a:lnTo>
                    <a:pt x="897" y="1155"/>
                  </a:lnTo>
                  <a:lnTo>
                    <a:pt x="905" y="1151"/>
                  </a:lnTo>
                  <a:lnTo>
                    <a:pt x="912" y="1146"/>
                  </a:lnTo>
                  <a:lnTo>
                    <a:pt x="919" y="1140"/>
                  </a:lnTo>
                  <a:lnTo>
                    <a:pt x="925" y="1135"/>
                  </a:lnTo>
                  <a:lnTo>
                    <a:pt x="931" y="1129"/>
                  </a:lnTo>
                  <a:lnTo>
                    <a:pt x="936" y="1122"/>
                  </a:lnTo>
                  <a:lnTo>
                    <a:pt x="940" y="1115"/>
                  </a:lnTo>
                  <a:lnTo>
                    <a:pt x="944" y="1107"/>
                  </a:lnTo>
                  <a:lnTo>
                    <a:pt x="947" y="1100"/>
                  </a:lnTo>
                  <a:lnTo>
                    <a:pt x="949" y="1092"/>
                  </a:lnTo>
                  <a:lnTo>
                    <a:pt x="949" y="1092"/>
                  </a:lnTo>
                  <a:lnTo>
                    <a:pt x="951" y="1076"/>
                  </a:lnTo>
                  <a:lnTo>
                    <a:pt x="952" y="1060"/>
                  </a:lnTo>
                  <a:lnTo>
                    <a:pt x="950" y="1048"/>
                  </a:lnTo>
                  <a:lnTo>
                    <a:pt x="947" y="1036"/>
                  </a:lnTo>
                  <a:lnTo>
                    <a:pt x="942" y="1027"/>
                  </a:lnTo>
                  <a:lnTo>
                    <a:pt x="937" y="1017"/>
                  </a:lnTo>
                  <a:lnTo>
                    <a:pt x="930" y="1010"/>
                  </a:lnTo>
                  <a:lnTo>
                    <a:pt x="922" y="1005"/>
                  </a:lnTo>
                  <a:lnTo>
                    <a:pt x="915" y="1000"/>
                  </a:lnTo>
                  <a:lnTo>
                    <a:pt x="908" y="996"/>
                  </a:lnTo>
                  <a:lnTo>
                    <a:pt x="894" y="991"/>
                  </a:lnTo>
                  <a:lnTo>
                    <a:pt x="885" y="989"/>
                  </a:lnTo>
                  <a:lnTo>
                    <a:pt x="880" y="989"/>
                  </a:lnTo>
                  <a:lnTo>
                    <a:pt x="880" y="989"/>
                  </a:lnTo>
                  <a:lnTo>
                    <a:pt x="896" y="944"/>
                  </a:lnTo>
                  <a:lnTo>
                    <a:pt x="908" y="908"/>
                  </a:lnTo>
                  <a:lnTo>
                    <a:pt x="919" y="879"/>
                  </a:lnTo>
                  <a:lnTo>
                    <a:pt x="919" y="879"/>
                  </a:lnTo>
                  <a:lnTo>
                    <a:pt x="927" y="859"/>
                  </a:lnTo>
                  <a:lnTo>
                    <a:pt x="937" y="841"/>
                  </a:lnTo>
                  <a:lnTo>
                    <a:pt x="945" y="823"/>
                  </a:lnTo>
                  <a:lnTo>
                    <a:pt x="954" y="807"/>
                  </a:lnTo>
                  <a:lnTo>
                    <a:pt x="962" y="792"/>
                  </a:lnTo>
                  <a:lnTo>
                    <a:pt x="971" y="777"/>
                  </a:lnTo>
                  <a:lnTo>
                    <a:pt x="989" y="753"/>
                  </a:lnTo>
                  <a:lnTo>
                    <a:pt x="1006" y="732"/>
                  </a:lnTo>
                  <a:lnTo>
                    <a:pt x="1024" y="715"/>
                  </a:lnTo>
                  <a:lnTo>
                    <a:pt x="1040" y="702"/>
                  </a:lnTo>
                  <a:lnTo>
                    <a:pt x="1055" y="690"/>
                  </a:lnTo>
                  <a:lnTo>
                    <a:pt x="1070" y="683"/>
                  </a:lnTo>
                  <a:lnTo>
                    <a:pt x="1083" y="677"/>
                  </a:lnTo>
                  <a:lnTo>
                    <a:pt x="1095" y="673"/>
                  </a:lnTo>
                  <a:lnTo>
                    <a:pt x="1105" y="671"/>
                  </a:lnTo>
                  <a:lnTo>
                    <a:pt x="1114" y="670"/>
                  </a:lnTo>
                  <a:lnTo>
                    <a:pt x="1120" y="670"/>
                  </a:lnTo>
                  <a:lnTo>
                    <a:pt x="1125" y="670"/>
                  </a:lnTo>
                  <a:lnTo>
                    <a:pt x="1125" y="670"/>
                  </a:lnTo>
                  <a:lnTo>
                    <a:pt x="1121" y="666"/>
                  </a:lnTo>
                  <a:lnTo>
                    <a:pt x="1116" y="661"/>
                  </a:lnTo>
                  <a:lnTo>
                    <a:pt x="1111" y="653"/>
                  </a:lnTo>
                  <a:lnTo>
                    <a:pt x="1104" y="644"/>
                  </a:lnTo>
                  <a:lnTo>
                    <a:pt x="1099" y="633"/>
                  </a:lnTo>
                  <a:lnTo>
                    <a:pt x="1093" y="620"/>
                  </a:lnTo>
                  <a:lnTo>
                    <a:pt x="1088" y="603"/>
                  </a:lnTo>
                  <a:lnTo>
                    <a:pt x="1085" y="586"/>
                  </a:lnTo>
                  <a:lnTo>
                    <a:pt x="1083" y="566"/>
                  </a:lnTo>
                  <a:lnTo>
                    <a:pt x="1083" y="543"/>
                  </a:lnTo>
                  <a:lnTo>
                    <a:pt x="1084" y="531"/>
                  </a:lnTo>
                  <a:lnTo>
                    <a:pt x="1086" y="519"/>
                  </a:lnTo>
                  <a:lnTo>
                    <a:pt x="1088" y="505"/>
                  </a:lnTo>
                  <a:lnTo>
                    <a:pt x="1092" y="491"/>
                  </a:lnTo>
                  <a:lnTo>
                    <a:pt x="1096" y="477"/>
                  </a:lnTo>
                  <a:lnTo>
                    <a:pt x="1101" y="461"/>
                  </a:lnTo>
                  <a:lnTo>
                    <a:pt x="1107" y="446"/>
                  </a:lnTo>
                  <a:lnTo>
                    <a:pt x="1115" y="430"/>
                  </a:lnTo>
                  <a:lnTo>
                    <a:pt x="1123" y="412"/>
                  </a:lnTo>
                  <a:lnTo>
                    <a:pt x="1132" y="395"/>
                  </a:lnTo>
                  <a:lnTo>
                    <a:pt x="1132" y="395"/>
                  </a:lnTo>
                  <a:lnTo>
                    <a:pt x="1152" y="358"/>
                  </a:lnTo>
                  <a:lnTo>
                    <a:pt x="1169" y="322"/>
                  </a:lnTo>
                  <a:lnTo>
                    <a:pt x="1184" y="289"/>
                  </a:lnTo>
                  <a:lnTo>
                    <a:pt x="1195" y="258"/>
                  </a:lnTo>
                  <a:lnTo>
                    <a:pt x="1206" y="227"/>
                  </a:lnTo>
                  <a:lnTo>
                    <a:pt x="1214" y="197"/>
                  </a:lnTo>
                  <a:lnTo>
                    <a:pt x="1220" y="169"/>
                  </a:lnTo>
                  <a:lnTo>
                    <a:pt x="1225" y="141"/>
                  </a:lnTo>
                  <a:lnTo>
                    <a:pt x="1225" y="141"/>
                  </a:lnTo>
                  <a:lnTo>
                    <a:pt x="1226" y="132"/>
                  </a:lnTo>
                  <a:lnTo>
                    <a:pt x="1225" y="123"/>
                  </a:lnTo>
                  <a:lnTo>
                    <a:pt x="1224" y="114"/>
                  </a:lnTo>
                  <a:lnTo>
                    <a:pt x="1221" y="104"/>
                  </a:lnTo>
                  <a:lnTo>
                    <a:pt x="1217" y="95"/>
                  </a:lnTo>
                  <a:lnTo>
                    <a:pt x="1213" y="87"/>
                  </a:lnTo>
                  <a:lnTo>
                    <a:pt x="1208" y="78"/>
                  </a:lnTo>
                  <a:lnTo>
                    <a:pt x="1202" y="70"/>
                  </a:lnTo>
                  <a:lnTo>
                    <a:pt x="1194" y="63"/>
                  </a:lnTo>
                  <a:lnTo>
                    <a:pt x="1187" y="55"/>
                  </a:lnTo>
                  <a:lnTo>
                    <a:pt x="1179" y="49"/>
                  </a:lnTo>
                  <a:lnTo>
                    <a:pt x="1171" y="44"/>
                  </a:lnTo>
                  <a:lnTo>
                    <a:pt x="1163" y="39"/>
                  </a:lnTo>
                  <a:lnTo>
                    <a:pt x="1153" y="36"/>
                  </a:lnTo>
                  <a:lnTo>
                    <a:pt x="1144" y="34"/>
                  </a:lnTo>
                  <a:lnTo>
                    <a:pt x="1134" y="32"/>
                  </a:lnTo>
                  <a:lnTo>
                    <a:pt x="1134" y="32"/>
                  </a:lnTo>
                  <a:lnTo>
                    <a:pt x="1124" y="32"/>
                  </a:lnTo>
                  <a:lnTo>
                    <a:pt x="1115" y="33"/>
                  </a:lnTo>
                  <a:lnTo>
                    <a:pt x="1104" y="35"/>
                  </a:lnTo>
                  <a:lnTo>
                    <a:pt x="1095" y="38"/>
                  </a:lnTo>
                  <a:lnTo>
                    <a:pt x="1086" y="42"/>
                  </a:lnTo>
                  <a:lnTo>
                    <a:pt x="1078" y="46"/>
                  </a:lnTo>
                  <a:lnTo>
                    <a:pt x="1070" y="52"/>
                  </a:lnTo>
                  <a:lnTo>
                    <a:pt x="1061" y="57"/>
                  </a:lnTo>
                  <a:lnTo>
                    <a:pt x="1054" y="65"/>
                  </a:lnTo>
                  <a:lnTo>
                    <a:pt x="1048" y="71"/>
                  </a:lnTo>
                  <a:lnTo>
                    <a:pt x="1042" y="78"/>
                  </a:lnTo>
                  <a:lnTo>
                    <a:pt x="1037" y="86"/>
                  </a:lnTo>
                  <a:lnTo>
                    <a:pt x="1033" y="94"/>
                  </a:lnTo>
                  <a:lnTo>
                    <a:pt x="1029" y="102"/>
                  </a:lnTo>
                  <a:lnTo>
                    <a:pt x="1027" y="111"/>
                  </a:lnTo>
                  <a:lnTo>
                    <a:pt x="1026" y="119"/>
                  </a:lnTo>
                  <a:lnTo>
                    <a:pt x="1026" y="119"/>
                  </a:lnTo>
                  <a:lnTo>
                    <a:pt x="1025" y="139"/>
                  </a:lnTo>
                  <a:lnTo>
                    <a:pt x="1026" y="158"/>
                  </a:lnTo>
                  <a:lnTo>
                    <a:pt x="1030" y="173"/>
                  </a:lnTo>
                  <a:lnTo>
                    <a:pt x="1035" y="185"/>
                  </a:lnTo>
                  <a:lnTo>
                    <a:pt x="1041" y="195"/>
                  </a:lnTo>
                  <a:lnTo>
                    <a:pt x="1048" y="205"/>
                  </a:lnTo>
                  <a:lnTo>
                    <a:pt x="1056" y="212"/>
                  </a:lnTo>
                  <a:lnTo>
                    <a:pt x="1065" y="217"/>
                  </a:lnTo>
                  <a:lnTo>
                    <a:pt x="1073" y="221"/>
                  </a:lnTo>
                  <a:lnTo>
                    <a:pt x="1081" y="225"/>
                  </a:lnTo>
                  <a:lnTo>
                    <a:pt x="1095" y="230"/>
                  </a:lnTo>
                  <a:lnTo>
                    <a:pt x="1101" y="232"/>
                  </a:lnTo>
                  <a:lnTo>
                    <a:pt x="1104" y="234"/>
                  </a:lnTo>
                  <a:lnTo>
                    <a:pt x="1107" y="237"/>
                  </a:lnTo>
                  <a:lnTo>
                    <a:pt x="1107" y="240"/>
                  </a:lnTo>
                  <a:lnTo>
                    <a:pt x="1107" y="240"/>
                  </a:lnTo>
                  <a:lnTo>
                    <a:pt x="1096" y="276"/>
                  </a:lnTo>
                  <a:lnTo>
                    <a:pt x="1084" y="309"/>
                  </a:lnTo>
                  <a:lnTo>
                    <a:pt x="1071" y="339"/>
                  </a:lnTo>
                  <a:lnTo>
                    <a:pt x="1057" y="365"/>
                  </a:lnTo>
                  <a:lnTo>
                    <a:pt x="1044" y="390"/>
                  </a:lnTo>
                  <a:lnTo>
                    <a:pt x="1031" y="411"/>
                  </a:lnTo>
                  <a:lnTo>
                    <a:pt x="1016" y="431"/>
                  </a:lnTo>
                  <a:lnTo>
                    <a:pt x="1002" y="447"/>
                  </a:lnTo>
                  <a:lnTo>
                    <a:pt x="1002" y="447"/>
                  </a:lnTo>
                  <a:lnTo>
                    <a:pt x="975" y="431"/>
                  </a:lnTo>
                  <a:lnTo>
                    <a:pt x="942" y="411"/>
                  </a:lnTo>
                  <a:lnTo>
                    <a:pt x="942" y="411"/>
                  </a:lnTo>
                  <a:lnTo>
                    <a:pt x="865" y="369"/>
                  </a:lnTo>
                  <a:lnTo>
                    <a:pt x="790" y="328"/>
                  </a:lnTo>
                  <a:lnTo>
                    <a:pt x="717" y="289"/>
                  </a:lnTo>
                  <a:lnTo>
                    <a:pt x="680" y="271"/>
                  </a:lnTo>
                  <a:lnTo>
                    <a:pt x="643" y="254"/>
                  </a:lnTo>
                  <a:lnTo>
                    <a:pt x="606" y="236"/>
                  </a:lnTo>
                  <a:lnTo>
                    <a:pt x="568" y="221"/>
                  </a:lnTo>
                  <a:lnTo>
                    <a:pt x="529" y="205"/>
                  </a:lnTo>
                  <a:lnTo>
                    <a:pt x="489" y="190"/>
                  </a:lnTo>
                  <a:lnTo>
                    <a:pt x="448" y="176"/>
                  </a:lnTo>
                  <a:lnTo>
                    <a:pt x="406" y="164"/>
                  </a:lnTo>
                  <a:lnTo>
                    <a:pt x="362" y="151"/>
                  </a:lnTo>
                  <a:lnTo>
                    <a:pt x="317" y="140"/>
                  </a:lnTo>
                  <a:lnTo>
                    <a:pt x="317" y="140"/>
                  </a:lnTo>
                  <a:lnTo>
                    <a:pt x="334" y="107"/>
                  </a:lnTo>
                  <a:lnTo>
                    <a:pt x="334" y="107"/>
                  </a:lnTo>
                  <a:lnTo>
                    <a:pt x="360" y="63"/>
                  </a:lnTo>
                  <a:lnTo>
                    <a:pt x="378" y="31"/>
                  </a:lnTo>
                  <a:lnTo>
                    <a:pt x="385" y="20"/>
                  </a:lnTo>
                  <a:lnTo>
                    <a:pt x="389" y="10"/>
                  </a:lnTo>
                  <a:lnTo>
                    <a:pt x="391" y="4"/>
                  </a:lnTo>
                  <a:lnTo>
                    <a:pt x="390" y="2"/>
                  </a:lnTo>
                  <a:lnTo>
                    <a:pt x="389" y="0"/>
                  </a:lnTo>
                  <a:lnTo>
                    <a:pt x="389" y="0"/>
                  </a:lnTo>
                  <a:lnTo>
                    <a:pt x="388" y="0"/>
                  </a:lnTo>
                  <a:lnTo>
                    <a:pt x="387" y="0"/>
                  </a:lnTo>
                  <a:lnTo>
                    <a:pt x="381" y="1"/>
                  </a:lnTo>
                  <a:lnTo>
                    <a:pt x="367" y="10"/>
                  </a:lnTo>
                  <a:lnTo>
                    <a:pt x="343" y="26"/>
                  </a:lnTo>
                  <a:lnTo>
                    <a:pt x="326" y="35"/>
                  </a:lnTo>
                  <a:lnTo>
                    <a:pt x="307" y="46"/>
                  </a:lnTo>
                  <a:lnTo>
                    <a:pt x="307" y="46"/>
                  </a:lnTo>
                  <a:lnTo>
                    <a:pt x="285" y="57"/>
                  </a:lnTo>
                  <a:lnTo>
                    <a:pt x="267" y="67"/>
                  </a:lnTo>
                  <a:lnTo>
                    <a:pt x="252" y="73"/>
                  </a:lnTo>
                  <a:lnTo>
                    <a:pt x="237" y="78"/>
                  </a:lnTo>
                  <a:lnTo>
                    <a:pt x="224" y="82"/>
                  </a:lnTo>
                  <a:lnTo>
                    <a:pt x="211" y="85"/>
                  </a:lnTo>
                  <a:lnTo>
                    <a:pt x="183" y="89"/>
                  </a:lnTo>
                  <a:lnTo>
                    <a:pt x="183" y="89"/>
                  </a:lnTo>
                  <a:lnTo>
                    <a:pt x="174" y="89"/>
                  </a:lnTo>
                  <a:lnTo>
                    <a:pt x="165" y="88"/>
                  </a:lnTo>
                  <a:lnTo>
                    <a:pt x="147" y="85"/>
                  </a:lnTo>
                  <a:lnTo>
                    <a:pt x="132" y="81"/>
                  </a:lnTo>
                  <a:lnTo>
                    <a:pt x="125" y="81"/>
                  </a:lnTo>
                  <a:lnTo>
                    <a:pt x="120" y="82"/>
                  </a:lnTo>
                  <a:lnTo>
                    <a:pt x="120" y="82"/>
                  </a:lnTo>
                  <a:lnTo>
                    <a:pt x="114" y="85"/>
                  </a:lnTo>
                  <a:lnTo>
                    <a:pt x="107" y="91"/>
                  </a:lnTo>
                  <a:lnTo>
                    <a:pt x="102" y="98"/>
                  </a:lnTo>
                  <a:lnTo>
                    <a:pt x="97" y="107"/>
                  </a:lnTo>
                  <a:lnTo>
                    <a:pt x="92" y="120"/>
                  </a:lnTo>
                  <a:lnTo>
                    <a:pt x="87" y="134"/>
                  </a:lnTo>
                  <a:lnTo>
                    <a:pt x="74" y="171"/>
                  </a:lnTo>
                  <a:lnTo>
                    <a:pt x="74" y="171"/>
                  </a:lnTo>
                  <a:lnTo>
                    <a:pt x="49" y="242"/>
                  </a:lnTo>
                  <a:lnTo>
                    <a:pt x="42" y="261"/>
                  </a:lnTo>
                  <a:lnTo>
                    <a:pt x="42" y="261"/>
                  </a:lnTo>
                  <a:lnTo>
                    <a:pt x="34" y="279"/>
                  </a:lnTo>
                  <a:lnTo>
                    <a:pt x="27" y="293"/>
                  </a:lnTo>
                  <a:lnTo>
                    <a:pt x="14" y="312"/>
                  </a:lnTo>
                  <a:lnTo>
                    <a:pt x="10" y="320"/>
                  </a:lnTo>
                  <a:lnTo>
                    <a:pt x="6" y="327"/>
                  </a:lnTo>
                  <a:lnTo>
                    <a:pt x="3" y="335"/>
                  </a:lnTo>
                  <a:lnTo>
                    <a:pt x="1" y="3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0" name="Freeform 33"/>
            <p:cNvSpPr>
              <a:spLocks/>
            </p:cNvSpPr>
            <p:nvPr userDrawn="1"/>
          </p:nvSpPr>
          <p:spPr bwMode="auto">
            <a:xfrm>
              <a:off x="5781921" y="449430"/>
              <a:ext cx="39687" cy="46038"/>
            </a:xfrm>
            <a:custGeom>
              <a:avLst/>
              <a:gdLst>
                <a:gd name="T0" fmla="*/ 103 w 296"/>
                <a:gd name="T1" fmla="*/ 350 h 350"/>
                <a:gd name="T2" fmla="*/ 103 w 296"/>
                <a:gd name="T3" fmla="*/ 350 h 350"/>
                <a:gd name="T4" fmla="*/ 132 w 296"/>
                <a:gd name="T5" fmla="*/ 349 h 350"/>
                <a:gd name="T6" fmla="*/ 164 w 296"/>
                <a:gd name="T7" fmla="*/ 346 h 350"/>
                <a:gd name="T8" fmla="*/ 196 w 296"/>
                <a:gd name="T9" fmla="*/ 343 h 350"/>
                <a:gd name="T10" fmla="*/ 226 w 296"/>
                <a:gd name="T11" fmla="*/ 339 h 350"/>
                <a:gd name="T12" fmla="*/ 276 w 296"/>
                <a:gd name="T13" fmla="*/ 333 h 350"/>
                <a:gd name="T14" fmla="*/ 296 w 296"/>
                <a:gd name="T15" fmla="*/ 329 h 350"/>
                <a:gd name="T16" fmla="*/ 293 w 296"/>
                <a:gd name="T17" fmla="*/ 25 h 350"/>
                <a:gd name="T18" fmla="*/ 293 w 296"/>
                <a:gd name="T19" fmla="*/ 25 h 350"/>
                <a:gd name="T20" fmla="*/ 244 w 296"/>
                <a:gd name="T21" fmla="*/ 18 h 350"/>
                <a:gd name="T22" fmla="*/ 142 w 296"/>
                <a:gd name="T23" fmla="*/ 2 h 350"/>
                <a:gd name="T24" fmla="*/ 142 w 296"/>
                <a:gd name="T25" fmla="*/ 2 h 350"/>
                <a:gd name="T26" fmla="*/ 129 w 296"/>
                <a:gd name="T27" fmla="*/ 1 h 350"/>
                <a:gd name="T28" fmla="*/ 117 w 296"/>
                <a:gd name="T29" fmla="*/ 0 h 350"/>
                <a:gd name="T30" fmla="*/ 105 w 296"/>
                <a:gd name="T31" fmla="*/ 0 h 350"/>
                <a:gd name="T32" fmla="*/ 94 w 296"/>
                <a:gd name="T33" fmla="*/ 1 h 350"/>
                <a:gd name="T34" fmla="*/ 84 w 296"/>
                <a:gd name="T35" fmla="*/ 3 h 350"/>
                <a:gd name="T36" fmla="*/ 75 w 296"/>
                <a:gd name="T37" fmla="*/ 6 h 350"/>
                <a:gd name="T38" fmla="*/ 66 w 296"/>
                <a:gd name="T39" fmla="*/ 9 h 350"/>
                <a:gd name="T40" fmla="*/ 59 w 296"/>
                <a:gd name="T41" fmla="*/ 13 h 350"/>
                <a:gd name="T42" fmla="*/ 51 w 296"/>
                <a:gd name="T43" fmla="*/ 17 h 350"/>
                <a:gd name="T44" fmla="*/ 44 w 296"/>
                <a:gd name="T45" fmla="*/ 22 h 350"/>
                <a:gd name="T46" fmla="*/ 38 w 296"/>
                <a:gd name="T47" fmla="*/ 27 h 350"/>
                <a:gd name="T48" fmla="*/ 33 w 296"/>
                <a:gd name="T49" fmla="*/ 32 h 350"/>
                <a:gd name="T50" fmla="*/ 24 w 296"/>
                <a:gd name="T51" fmla="*/ 45 h 350"/>
                <a:gd name="T52" fmla="*/ 17 w 296"/>
                <a:gd name="T53" fmla="*/ 57 h 350"/>
                <a:gd name="T54" fmla="*/ 11 w 296"/>
                <a:gd name="T55" fmla="*/ 70 h 350"/>
                <a:gd name="T56" fmla="*/ 6 w 296"/>
                <a:gd name="T57" fmla="*/ 83 h 350"/>
                <a:gd name="T58" fmla="*/ 3 w 296"/>
                <a:gd name="T59" fmla="*/ 96 h 350"/>
                <a:gd name="T60" fmla="*/ 1 w 296"/>
                <a:gd name="T61" fmla="*/ 106 h 350"/>
                <a:gd name="T62" fmla="*/ 0 w 296"/>
                <a:gd name="T63" fmla="*/ 123 h 350"/>
                <a:gd name="T64" fmla="*/ 0 w 296"/>
                <a:gd name="T65" fmla="*/ 129 h 350"/>
                <a:gd name="T66" fmla="*/ 4 w 296"/>
                <a:gd name="T67" fmla="*/ 213 h 350"/>
                <a:gd name="T68" fmla="*/ 4 w 296"/>
                <a:gd name="T69" fmla="*/ 213 h 350"/>
                <a:gd name="T70" fmla="*/ 4 w 296"/>
                <a:gd name="T71" fmla="*/ 219 h 350"/>
                <a:gd name="T72" fmla="*/ 6 w 296"/>
                <a:gd name="T73" fmla="*/ 235 h 350"/>
                <a:gd name="T74" fmla="*/ 11 w 296"/>
                <a:gd name="T75" fmla="*/ 256 h 350"/>
                <a:gd name="T76" fmla="*/ 15 w 296"/>
                <a:gd name="T77" fmla="*/ 268 h 350"/>
                <a:gd name="T78" fmla="*/ 19 w 296"/>
                <a:gd name="T79" fmla="*/ 282 h 350"/>
                <a:gd name="T80" fmla="*/ 24 w 296"/>
                <a:gd name="T81" fmla="*/ 294 h 350"/>
                <a:gd name="T82" fmla="*/ 31 w 296"/>
                <a:gd name="T83" fmla="*/ 306 h 350"/>
                <a:gd name="T84" fmla="*/ 39 w 296"/>
                <a:gd name="T85" fmla="*/ 319 h 350"/>
                <a:gd name="T86" fmla="*/ 48 w 296"/>
                <a:gd name="T87" fmla="*/ 329 h 350"/>
                <a:gd name="T88" fmla="*/ 53 w 296"/>
                <a:gd name="T89" fmla="*/ 333 h 350"/>
                <a:gd name="T90" fmla="*/ 60 w 296"/>
                <a:gd name="T91" fmla="*/ 337 h 350"/>
                <a:gd name="T92" fmla="*/ 66 w 296"/>
                <a:gd name="T93" fmla="*/ 341 h 350"/>
                <a:gd name="T94" fmla="*/ 72 w 296"/>
                <a:gd name="T95" fmla="*/ 344 h 350"/>
                <a:gd name="T96" fmla="*/ 79 w 296"/>
                <a:gd name="T97" fmla="*/ 346 h 350"/>
                <a:gd name="T98" fmla="*/ 86 w 296"/>
                <a:gd name="T99" fmla="*/ 348 h 350"/>
                <a:gd name="T100" fmla="*/ 94 w 296"/>
                <a:gd name="T101" fmla="*/ 349 h 350"/>
                <a:gd name="T102" fmla="*/ 103 w 296"/>
                <a:gd name="T103"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6" h="350">
                  <a:moveTo>
                    <a:pt x="103" y="350"/>
                  </a:moveTo>
                  <a:lnTo>
                    <a:pt x="103" y="350"/>
                  </a:lnTo>
                  <a:lnTo>
                    <a:pt x="132" y="349"/>
                  </a:lnTo>
                  <a:lnTo>
                    <a:pt x="164" y="346"/>
                  </a:lnTo>
                  <a:lnTo>
                    <a:pt x="196" y="343"/>
                  </a:lnTo>
                  <a:lnTo>
                    <a:pt x="226" y="339"/>
                  </a:lnTo>
                  <a:lnTo>
                    <a:pt x="276" y="333"/>
                  </a:lnTo>
                  <a:lnTo>
                    <a:pt x="296" y="329"/>
                  </a:lnTo>
                  <a:lnTo>
                    <a:pt x="293" y="25"/>
                  </a:lnTo>
                  <a:lnTo>
                    <a:pt x="293" y="25"/>
                  </a:lnTo>
                  <a:lnTo>
                    <a:pt x="244" y="18"/>
                  </a:lnTo>
                  <a:lnTo>
                    <a:pt x="142" y="2"/>
                  </a:lnTo>
                  <a:lnTo>
                    <a:pt x="142" y="2"/>
                  </a:lnTo>
                  <a:lnTo>
                    <a:pt x="129" y="1"/>
                  </a:lnTo>
                  <a:lnTo>
                    <a:pt x="117" y="0"/>
                  </a:lnTo>
                  <a:lnTo>
                    <a:pt x="105" y="0"/>
                  </a:lnTo>
                  <a:lnTo>
                    <a:pt x="94" y="1"/>
                  </a:lnTo>
                  <a:lnTo>
                    <a:pt x="84" y="3"/>
                  </a:lnTo>
                  <a:lnTo>
                    <a:pt x="75" y="6"/>
                  </a:lnTo>
                  <a:lnTo>
                    <a:pt x="66" y="9"/>
                  </a:lnTo>
                  <a:lnTo>
                    <a:pt x="59" y="13"/>
                  </a:lnTo>
                  <a:lnTo>
                    <a:pt x="51" y="17"/>
                  </a:lnTo>
                  <a:lnTo>
                    <a:pt x="44" y="22"/>
                  </a:lnTo>
                  <a:lnTo>
                    <a:pt x="38" y="27"/>
                  </a:lnTo>
                  <a:lnTo>
                    <a:pt x="33" y="32"/>
                  </a:lnTo>
                  <a:lnTo>
                    <a:pt x="24" y="45"/>
                  </a:lnTo>
                  <a:lnTo>
                    <a:pt x="17" y="57"/>
                  </a:lnTo>
                  <a:lnTo>
                    <a:pt x="11" y="70"/>
                  </a:lnTo>
                  <a:lnTo>
                    <a:pt x="6" y="83"/>
                  </a:lnTo>
                  <a:lnTo>
                    <a:pt x="3" y="96"/>
                  </a:lnTo>
                  <a:lnTo>
                    <a:pt x="1" y="106"/>
                  </a:lnTo>
                  <a:lnTo>
                    <a:pt x="0" y="123"/>
                  </a:lnTo>
                  <a:lnTo>
                    <a:pt x="0" y="129"/>
                  </a:lnTo>
                  <a:lnTo>
                    <a:pt x="4" y="213"/>
                  </a:lnTo>
                  <a:lnTo>
                    <a:pt x="4" y="213"/>
                  </a:lnTo>
                  <a:lnTo>
                    <a:pt x="4" y="219"/>
                  </a:lnTo>
                  <a:lnTo>
                    <a:pt x="6" y="235"/>
                  </a:lnTo>
                  <a:lnTo>
                    <a:pt x="11" y="256"/>
                  </a:lnTo>
                  <a:lnTo>
                    <a:pt x="15" y="268"/>
                  </a:lnTo>
                  <a:lnTo>
                    <a:pt x="19" y="282"/>
                  </a:lnTo>
                  <a:lnTo>
                    <a:pt x="24" y="294"/>
                  </a:lnTo>
                  <a:lnTo>
                    <a:pt x="31" y="306"/>
                  </a:lnTo>
                  <a:lnTo>
                    <a:pt x="39" y="319"/>
                  </a:lnTo>
                  <a:lnTo>
                    <a:pt x="48" y="329"/>
                  </a:lnTo>
                  <a:lnTo>
                    <a:pt x="53" y="333"/>
                  </a:lnTo>
                  <a:lnTo>
                    <a:pt x="60" y="337"/>
                  </a:lnTo>
                  <a:lnTo>
                    <a:pt x="66" y="341"/>
                  </a:lnTo>
                  <a:lnTo>
                    <a:pt x="72" y="344"/>
                  </a:lnTo>
                  <a:lnTo>
                    <a:pt x="79" y="346"/>
                  </a:lnTo>
                  <a:lnTo>
                    <a:pt x="86" y="348"/>
                  </a:lnTo>
                  <a:lnTo>
                    <a:pt x="94" y="349"/>
                  </a:lnTo>
                  <a:lnTo>
                    <a:pt x="103" y="3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1" name="Freeform 34"/>
            <p:cNvSpPr>
              <a:spLocks/>
            </p:cNvSpPr>
            <p:nvPr userDrawn="1"/>
          </p:nvSpPr>
          <p:spPr bwMode="auto">
            <a:xfrm>
              <a:off x="5829546" y="438318"/>
              <a:ext cx="60325" cy="57150"/>
            </a:xfrm>
            <a:custGeom>
              <a:avLst/>
              <a:gdLst>
                <a:gd name="T0" fmla="*/ 450 w 450"/>
                <a:gd name="T1" fmla="*/ 290 h 425"/>
                <a:gd name="T2" fmla="*/ 450 w 450"/>
                <a:gd name="T3" fmla="*/ 225 h 425"/>
                <a:gd name="T4" fmla="*/ 449 w 450"/>
                <a:gd name="T5" fmla="*/ 54 h 425"/>
                <a:gd name="T6" fmla="*/ 444 w 450"/>
                <a:gd name="T7" fmla="*/ 20 h 425"/>
                <a:gd name="T8" fmla="*/ 436 w 450"/>
                <a:gd name="T9" fmla="*/ 3 h 425"/>
                <a:gd name="T10" fmla="*/ 429 w 450"/>
                <a:gd name="T11" fmla="*/ 0 h 425"/>
                <a:gd name="T12" fmla="*/ 367 w 450"/>
                <a:gd name="T13" fmla="*/ 2 h 425"/>
                <a:gd name="T14" fmla="*/ 362 w 450"/>
                <a:gd name="T15" fmla="*/ 14 h 425"/>
                <a:gd name="T16" fmla="*/ 347 w 450"/>
                <a:gd name="T17" fmla="*/ 59 h 425"/>
                <a:gd name="T18" fmla="*/ 325 w 450"/>
                <a:gd name="T19" fmla="*/ 2 h 425"/>
                <a:gd name="T20" fmla="*/ 261 w 450"/>
                <a:gd name="T21" fmla="*/ 2 h 425"/>
                <a:gd name="T22" fmla="*/ 242 w 450"/>
                <a:gd name="T23" fmla="*/ 16 h 425"/>
                <a:gd name="T24" fmla="*/ 224 w 450"/>
                <a:gd name="T25" fmla="*/ 64 h 425"/>
                <a:gd name="T26" fmla="*/ 192 w 450"/>
                <a:gd name="T27" fmla="*/ 4 h 425"/>
                <a:gd name="T28" fmla="*/ 135 w 450"/>
                <a:gd name="T29" fmla="*/ 6 h 425"/>
                <a:gd name="T30" fmla="*/ 127 w 450"/>
                <a:gd name="T31" fmla="*/ 11 h 425"/>
                <a:gd name="T32" fmla="*/ 110 w 450"/>
                <a:gd name="T33" fmla="*/ 53 h 425"/>
                <a:gd name="T34" fmla="*/ 86 w 450"/>
                <a:gd name="T35" fmla="*/ 6 h 425"/>
                <a:gd name="T36" fmla="*/ 38 w 450"/>
                <a:gd name="T37" fmla="*/ 6 h 425"/>
                <a:gd name="T38" fmla="*/ 25 w 450"/>
                <a:gd name="T39" fmla="*/ 10 h 425"/>
                <a:gd name="T40" fmla="*/ 10 w 450"/>
                <a:gd name="T41" fmla="*/ 28 h 425"/>
                <a:gd name="T42" fmla="*/ 1 w 450"/>
                <a:gd name="T43" fmla="*/ 55 h 425"/>
                <a:gd name="T44" fmla="*/ 1 w 450"/>
                <a:gd name="T45" fmla="*/ 141 h 425"/>
                <a:gd name="T46" fmla="*/ 5 w 450"/>
                <a:gd name="T47" fmla="*/ 324 h 425"/>
                <a:gd name="T48" fmla="*/ 27 w 450"/>
                <a:gd name="T49" fmla="*/ 401 h 425"/>
                <a:gd name="T50" fmla="*/ 54 w 450"/>
                <a:gd name="T51" fmla="*/ 396 h 425"/>
                <a:gd name="T52" fmla="*/ 74 w 450"/>
                <a:gd name="T53" fmla="*/ 384 h 425"/>
                <a:gd name="T54" fmla="*/ 83 w 450"/>
                <a:gd name="T55" fmla="*/ 374 h 425"/>
                <a:gd name="T56" fmla="*/ 100 w 450"/>
                <a:gd name="T57" fmla="*/ 341 h 425"/>
                <a:gd name="T58" fmla="*/ 105 w 450"/>
                <a:gd name="T59" fmla="*/ 317 h 425"/>
                <a:gd name="T60" fmla="*/ 105 w 450"/>
                <a:gd name="T61" fmla="*/ 367 h 425"/>
                <a:gd name="T62" fmla="*/ 108 w 450"/>
                <a:gd name="T63" fmla="*/ 420 h 425"/>
                <a:gd name="T64" fmla="*/ 116 w 450"/>
                <a:gd name="T65" fmla="*/ 424 h 425"/>
                <a:gd name="T66" fmla="*/ 150 w 450"/>
                <a:gd name="T67" fmla="*/ 423 h 425"/>
                <a:gd name="T68" fmla="*/ 176 w 450"/>
                <a:gd name="T69" fmla="*/ 412 h 425"/>
                <a:gd name="T70" fmla="*/ 189 w 450"/>
                <a:gd name="T71" fmla="*/ 402 h 425"/>
                <a:gd name="T72" fmla="*/ 209 w 450"/>
                <a:gd name="T73" fmla="*/ 368 h 425"/>
                <a:gd name="T74" fmla="*/ 224 w 450"/>
                <a:gd name="T75" fmla="*/ 317 h 425"/>
                <a:gd name="T76" fmla="*/ 225 w 450"/>
                <a:gd name="T77" fmla="*/ 381 h 425"/>
                <a:gd name="T78" fmla="*/ 229 w 450"/>
                <a:gd name="T79" fmla="*/ 419 h 425"/>
                <a:gd name="T80" fmla="*/ 237 w 450"/>
                <a:gd name="T81" fmla="*/ 421 h 425"/>
                <a:gd name="T82" fmla="*/ 266 w 450"/>
                <a:gd name="T83" fmla="*/ 418 h 425"/>
                <a:gd name="T84" fmla="*/ 300 w 450"/>
                <a:gd name="T85" fmla="*/ 405 h 425"/>
                <a:gd name="T86" fmla="*/ 309 w 450"/>
                <a:gd name="T87" fmla="*/ 397 h 425"/>
                <a:gd name="T88" fmla="*/ 331 w 450"/>
                <a:gd name="T89" fmla="*/ 367 h 425"/>
                <a:gd name="T90" fmla="*/ 342 w 450"/>
                <a:gd name="T91" fmla="*/ 334 h 425"/>
                <a:gd name="T92" fmla="*/ 345 w 450"/>
                <a:gd name="T93" fmla="*/ 346 h 425"/>
                <a:gd name="T94" fmla="*/ 348 w 450"/>
                <a:gd name="T95" fmla="*/ 391 h 425"/>
                <a:gd name="T96" fmla="*/ 379 w 450"/>
                <a:gd name="T97" fmla="*/ 386 h 425"/>
                <a:gd name="T98" fmla="*/ 404 w 450"/>
                <a:gd name="T99" fmla="*/ 375 h 425"/>
                <a:gd name="T100" fmla="*/ 425 w 450"/>
                <a:gd name="T101" fmla="*/ 360 h 425"/>
                <a:gd name="T102" fmla="*/ 439 w 450"/>
                <a:gd name="T103" fmla="*/ 342 h 425"/>
                <a:gd name="T104" fmla="*/ 448 w 450"/>
                <a:gd name="T105" fmla="*/ 31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0" h="425">
                  <a:moveTo>
                    <a:pt x="448" y="311"/>
                  </a:moveTo>
                  <a:lnTo>
                    <a:pt x="448" y="311"/>
                  </a:lnTo>
                  <a:lnTo>
                    <a:pt x="450" y="290"/>
                  </a:lnTo>
                  <a:lnTo>
                    <a:pt x="450" y="268"/>
                  </a:lnTo>
                  <a:lnTo>
                    <a:pt x="450" y="225"/>
                  </a:lnTo>
                  <a:lnTo>
                    <a:pt x="450" y="225"/>
                  </a:lnTo>
                  <a:lnTo>
                    <a:pt x="449" y="64"/>
                  </a:lnTo>
                  <a:lnTo>
                    <a:pt x="449" y="64"/>
                  </a:lnTo>
                  <a:lnTo>
                    <a:pt x="449" y="54"/>
                  </a:lnTo>
                  <a:lnTo>
                    <a:pt x="448" y="44"/>
                  </a:lnTo>
                  <a:lnTo>
                    <a:pt x="447" y="33"/>
                  </a:lnTo>
                  <a:lnTo>
                    <a:pt x="444" y="20"/>
                  </a:lnTo>
                  <a:lnTo>
                    <a:pt x="441" y="10"/>
                  </a:lnTo>
                  <a:lnTo>
                    <a:pt x="439" y="6"/>
                  </a:lnTo>
                  <a:lnTo>
                    <a:pt x="436" y="3"/>
                  </a:lnTo>
                  <a:lnTo>
                    <a:pt x="433" y="1"/>
                  </a:lnTo>
                  <a:lnTo>
                    <a:pt x="429" y="0"/>
                  </a:lnTo>
                  <a:lnTo>
                    <a:pt x="429" y="0"/>
                  </a:lnTo>
                  <a:lnTo>
                    <a:pt x="396" y="0"/>
                  </a:lnTo>
                  <a:lnTo>
                    <a:pt x="378" y="1"/>
                  </a:lnTo>
                  <a:lnTo>
                    <a:pt x="367" y="2"/>
                  </a:lnTo>
                  <a:lnTo>
                    <a:pt x="367" y="2"/>
                  </a:lnTo>
                  <a:lnTo>
                    <a:pt x="364" y="7"/>
                  </a:lnTo>
                  <a:lnTo>
                    <a:pt x="362" y="14"/>
                  </a:lnTo>
                  <a:lnTo>
                    <a:pt x="356" y="33"/>
                  </a:lnTo>
                  <a:lnTo>
                    <a:pt x="350" y="52"/>
                  </a:lnTo>
                  <a:lnTo>
                    <a:pt x="347" y="59"/>
                  </a:lnTo>
                  <a:lnTo>
                    <a:pt x="345" y="64"/>
                  </a:lnTo>
                  <a:lnTo>
                    <a:pt x="325" y="2"/>
                  </a:lnTo>
                  <a:lnTo>
                    <a:pt x="325" y="2"/>
                  </a:lnTo>
                  <a:lnTo>
                    <a:pt x="309" y="1"/>
                  </a:lnTo>
                  <a:lnTo>
                    <a:pt x="286" y="1"/>
                  </a:lnTo>
                  <a:lnTo>
                    <a:pt x="261" y="2"/>
                  </a:lnTo>
                  <a:lnTo>
                    <a:pt x="247" y="4"/>
                  </a:lnTo>
                  <a:lnTo>
                    <a:pt x="247" y="4"/>
                  </a:lnTo>
                  <a:lnTo>
                    <a:pt x="242" y="16"/>
                  </a:lnTo>
                  <a:lnTo>
                    <a:pt x="236" y="34"/>
                  </a:lnTo>
                  <a:lnTo>
                    <a:pt x="229" y="52"/>
                  </a:lnTo>
                  <a:lnTo>
                    <a:pt x="224" y="64"/>
                  </a:lnTo>
                  <a:lnTo>
                    <a:pt x="205" y="5"/>
                  </a:lnTo>
                  <a:lnTo>
                    <a:pt x="205" y="5"/>
                  </a:lnTo>
                  <a:lnTo>
                    <a:pt x="192" y="4"/>
                  </a:lnTo>
                  <a:lnTo>
                    <a:pt x="168" y="4"/>
                  </a:lnTo>
                  <a:lnTo>
                    <a:pt x="144" y="5"/>
                  </a:lnTo>
                  <a:lnTo>
                    <a:pt x="135" y="6"/>
                  </a:lnTo>
                  <a:lnTo>
                    <a:pt x="131" y="6"/>
                  </a:lnTo>
                  <a:lnTo>
                    <a:pt x="131" y="6"/>
                  </a:lnTo>
                  <a:lnTo>
                    <a:pt x="127" y="11"/>
                  </a:lnTo>
                  <a:lnTo>
                    <a:pt x="124" y="18"/>
                  </a:lnTo>
                  <a:lnTo>
                    <a:pt x="117" y="36"/>
                  </a:lnTo>
                  <a:lnTo>
                    <a:pt x="110" y="53"/>
                  </a:lnTo>
                  <a:lnTo>
                    <a:pt x="105" y="64"/>
                  </a:lnTo>
                  <a:lnTo>
                    <a:pt x="86" y="6"/>
                  </a:lnTo>
                  <a:lnTo>
                    <a:pt x="86" y="6"/>
                  </a:lnTo>
                  <a:lnTo>
                    <a:pt x="69" y="6"/>
                  </a:lnTo>
                  <a:lnTo>
                    <a:pt x="38" y="6"/>
                  </a:lnTo>
                  <a:lnTo>
                    <a:pt x="38" y="6"/>
                  </a:lnTo>
                  <a:lnTo>
                    <a:pt x="33" y="7"/>
                  </a:lnTo>
                  <a:lnTo>
                    <a:pt x="29" y="8"/>
                  </a:lnTo>
                  <a:lnTo>
                    <a:pt x="25" y="10"/>
                  </a:lnTo>
                  <a:lnTo>
                    <a:pt x="21" y="12"/>
                  </a:lnTo>
                  <a:lnTo>
                    <a:pt x="15" y="19"/>
                  </a:lnTo>
                  <a:lnTo>
                    <a:pt x="10" y="28"/>
                  </a:lnTo>
                  <a:lnTo>
                    <a:pt x="5" y="36"/>
                  </a:lnTo>
                  <a:lnTo>
                    <a:pt x="2" y="46"/>
                  </a:lnTo>
                  <a:lnTo>
                    <a:pt x="1" y="55"/>
                  </a:lnTo>
                  <a:lnTo>
                    <a:pt x="0" y="63"/>
                  </a:lnTo>
                  <a:lnTo>
                    <a:pt x="0" y="63"/>
                  </a:lnTo>
                  <a:lnTo>
                    <a:pt x="1" y="141"/>
                  </a:lnTo>
                  <a:lnTo>
                    <a:pt x="2" y="220"/>
                  </a:lnTo>
                  <a:lnTo>
                    <a:pt x="2" y="220"/>
                  </a:lnTo>
                  <a:lnTo>
                    <a:pt x="5" y="324"/>
                  </a:lnTo>
                  <a:lnTo>
                    <a:pt x="8" y="402"/>
                  </a:lnTo>
                  <a:lnTo>
                    <a:pt x="8" y="402"/>
                  </a:lnTo>
                  <a:lnTo>
                    <a:pt x="27" y="401"/>
                  </a:lnTo>
                  <a:lnTo>
                    <a:pt x="37" y="399"/>
                  </a:lnTo>
                  <a:lnTo>
                    <a:pt x="45" y="398"/>
                  </a:lnTo>
                  <a:lnTo>
                    <a:pt x="54" y="396"/>
                  </a:lnTo>
                  <a:lnTo>
                    <a:pt x="62" y="393"/>
                  </a:lnTo>
                  <a:lnTo>
                    <a:pt x="68" y="388"/>
                  </a:lnTo>
                  <a:lnTo>
                    <a:pt x="74" y="384"/>
                  </a:lnTo>
                  <a:lnTo>
                    <a:pt x="74" y="384"/>
                  </a:lnTo>
                  <a:lnTo>
                    <a:pt x="79" y="379"/>
                  </a:lnTo>
                  <a:lnTo>
                    <a:pt x="83" y="374"/>
                  </a:lnTo>
                  <a:lnTo>
                    <a:pt x="90" y="363"/>
                  </a:lnTo>
                  <a:lnTo>
                    <a:pt x="95" y="352"/>
                  </a:lnTo>
                  <a:lnTo>
                    <a:pt x="100" y="341"/>
                  </a:lnTo>
                  <a:lnTo>
                    <a:pt x="103" y="331"/>
                  </a:lnTo>
                  <a:lnTo>
                    <a:pt x="104" y="324"/>
                  </a:lnTo>
                  <a:lnTo>
                    <a:pt x="105" y="317"/>
                  </a:lnTo>
                  <a:lnTo>
                    <a:pt x="105" y="317"/>
                  </a:lnTo>
                  <a:lnTo>
                    <a:pt x="105" y="337"/>
                  </a:lnTo>
                  <a:lnTo>
                    <a:pt x="105" y="367"/>
                  </a:lnTo>
                  <a:lnTo>
                    <a:pt x="106" y="397"/>
                  </a:lnTo>
                  <a:lnTo>
                    <a:pt x="108" y="420"/>
                  </a:lnTo>
                  <a:lnTo>
                    <a:pt x="108" y="420"/>
                  </a:lnTo>
                  <a:lnTo>
                    <a:pt x="108" y="421"/>
                  </a:lnTo>
                  <a:lnTo>
                    <a:pt x="110" y="422"/>
                  </a:lnTo>
                  <a:lnTo>
                    <a:pt x="116" y="424"/>
                  </a:lnTo>
                  <a:lnTo>
                    <a:pt x="125" y="425"/>
                  </a:lnTo>
                  <a:lnTo>
                    <a:pt x="136" y="425"/>
                  </a:lnTo>
                  <a:lnTo>
                    <a:pt x="150" y="423"/>
                  </a:lnTo>
                  <a:lnTo>
                    <a:pt x="163" y="418"/>
                  </a:lnTo>
                  <a:lnTo>
                    <a:pt x="169" y="415"/>
                  </a:lnTo>
                  <a:lnTo>
                    <a:pt x="176" y="412"/>
                  </a:lnTo>
                  <a:lnTo>
                    <a:pt x="182" y="407"/>
                  </a:lnTo>
                  <a:lnTo>
                    <a:pt x="189" y="402"/>
                  </a:lnTo>
                  <a:lnTo>
                    <a:pt x="189" y="402"/>
                  </a:lnTo>
                  <a:lnTo>
                    <a:pt x="197" y="392"/>
                  </a:lnTo>
                  <a:lnTo>
                    <a:pt x="204" y="380"/>
                  </a:lnTo>
                  <a:lnTo>
                    <a:pt x="209" y="368"/>
                  </a:lnTo>
                  <a:lnTo>
                    <a:pt x="213" y="356"/>
                  </a:lnTo>
                  <a:lnTo>
                    <a:pt x="220" y="333"/>
                  </a:lnTo>
                  <a:lnTo>
                    <a:pt x="224" y="317"/>
                  </a:lnTo>
                  <a:lnTo>
                    <a:pt x="224" y="317"/>
                  </a:lnTo>
                  <a:lnTo>
                    <a:pt x="224" y="348"/>
                  </a:lnTo>
                  <a:lnTo>
                    <a:pt x="225" y="381"/>
                  </a:lnTo>
                  <a:lnTo>
                    <a:pt x="227" y="408"/>
                  </a:lnTo>
                  <a:lnTo>
                    <a:pt x="228" y="417"/>
                  </a:lnTo>
                  <a:lnTo>
                    <a:pt x="229" y="419"/>
                  </a:lnTo>
                  <a:lnTo>
                    <a:pt x="230" y="420"/>
                  </a:lnTo>
                  <a:lnTo>
                    <a:pt x="230" y="420"/>
                  </a:lnTo>
                  <a:lnTo>
                    <a:pt x="237" y="421"/>
                  </a:lnTo>
                  <a:lnTo>
                    <a:pt x="245" y="421"/>
                  </a:lnTo>
                  <a:lnTo>
                    <a:pt x="255" y="420"/>
                  </a:lnTo>
                  <a:lnTo>
                    <a:pt x="266" y="418"/>
                  </a:lnTo>
                  <a:lnTo>
                    <a:pt x="277" y="415"/>
                  </a:lnTo>
                  <a:lnTo>
                    <a:pt x="289" y="411"/>
                  </a:lnTo>
                  <a:lnTo>
                    <a:pt x="300" y="405"/>
                  </a:lnTo>
                  <a:lnTo>
                    <a:pt x="305" y="401"/>
                  </a:lnTo>
                  <a:lnTo>
                    <a:pt x="309" y="397"/>
                  </a:lnTo>
                  <a:lnTo>
                    <a:pt x="309" y="397"/>
                  </a:lnTo>
                  <a:lnTo>
                    <a:pt x="317" y="387"/>
                  </a:lnTo>
                  <a:lnTo>
                    <a:pt x="325" y="377"/>
                  </a:lnTo>
                  <a:lnTo>
                    <a:pt x="331" y="367"/>
                  </a:lnTo>
                  <a:lnTo>
                    <a:pt x="336" y="356"/>
                  </a:lnTo>
                  <a:lnTo>
                    <a:pt x="339" y="345"/>
                  </a:lnTo>
                  <a:lnTo>
                    <a:pt x="342" y="334"/>
                  </a:lnTo>
                  <a:lnTo>
                    <a:pt x="345" y="317"/>
                  </a:lnTo>
                  <a:lnTo>
                    <a:pt x="345" y="317"/>
                  </a:lnTo>
                  <a:lnTo>
                    <a:pt x="345" y="346"/>
                  </a:lnTo>
                  <a:lnTo>
                    <a:pt x="346" y="370"/>
                  </a:lnTo>
                  <a:lnTo>
                    <a:pt x="348" y="391"/>
                  </a:lnTo>
                  <a:lnTo>
                    <a:pt x="348" y="391"/>
                  </a:lnTo>
                  <a:lnTo>
                    <a:pt x="362" y="390"/>
                  </a:lnTo>
                  <a:lnTo>
                    <a:pt x="371" y="388"/>
                  </a:lnTo>
                  <a:lnTo>
                    <a:pt x="379" y="386"/>
                  </a:lnTo>
                  <a:lnTo>
                    <a:pt x="379" y="386"/>
                  </a:lnTo>
                  <a:lnTo>
                    <a:pt x="393" y="380"/>
                  </a:lnTo>
                  <a:lnTo>
                    <a:pt x="404" y="375"/>
                  </a:lnTo>
                  <a:lnTo>
                    <a:pt x="415" y="368"/>
                  </a:lnTo>
                  <a:lnTo>
                    <a:pt x="415" y="368"/>
                  </a:lnTo>
                  <a:lnTo>
                    <a:pt x="425" y="360"/>
                  </a:lnTo>
                  <a:lnTo>
                    <a:pt x="430" y="355"/>
                  </a:lnTo>
                  <a:lnTo>
                    <a:pt x="435" y="349"/>
                  </a:lnTo>
                  <a:lnTo>
                    <a:pt x="439" y="342"/>
                  </a:lnTo>
                  <a:lnTo>
                    <a:pt x="443" y="333"/>
                  </a:lnTo>
                  <a:lnTo>
                    <a:pt x="446" y="323"/>
                  </a:lnTo>
                  <a:lnTo>
                    <a:pt x="448" y="3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2" name="Freeform 35"/>
            <p:cNvSpPr>
              <a:spLocks/>
            </p:cNvSpPr>
            <p:nvPr userDrawn="1"/>
          </p:nvSpPr>
          <p:spPr bwMode="auto">
            <a:xfrm>
              <a:off x="5837484" y="441492"/>
              <a:ext cx="73026" cy="80964"/>
            </a:xfrm>
            <a:custGeom>
              <a:avLst/>
              <a:gdLst>
                <a:gd name="T0" fmla="*/ 554 w 554"/>
                <a:gd name="T1" fmla="*/ 356 h 620"/>
                <a:gd name="T2" fmla="*/ 549 w 554"/>
                <a:gd name="T3" fmla="*/ 350 h 620"/>
                <a:gd name="T4" fmla="*/ 535 w 554"/>
                <a:gd name="T5" fmla="*/ 331 h 620"/>
                <a:gd name="T6" fmla="*/ 525 w 554"/>
                <a:gd name="T7" fmla="*/ 306 h 620"/>
                <a:gd name="T8" fmla="*/ 520 w 554"/>
                <a:gd name="T9" fmla="*/ 285 h 620"/>
                <a:gd name="T10" fmla="*/ 516 w 554"/>
                <a:gd name="T11" fmla="*/ 258 h 620"/>
                <a:gd name="T12" fmla="*/ 515 w 554"/>
                <a:gd name="T13" fmla="*/ 243 h 620"/>
                <a:gd name="T14" fmla="*/ 516 w 554"/>
                <a:gd name="T15" fmla="*/ 222 h 620"/>
                <a:gd name="T16" fmla="*/ 520 w 554"/>
                <a:gd name="T17" fmla="*/ 202 h 620"/>
                <a:gd name="T18" fmla="*/ 532 w 554"/>
                <a:gd name="T19" fmla="*/ 167 h 620"/>
                <a:gd name="T20" fmla="*/ 546 w 554"/>
                <a:gd name="T21" fmla="*/ 142 h 620"/>
                <a:gd name="T22" fmla="*/ 551 w 554"/>
                <a:gd name="T23" fmla="*/ 43 h 620"/>
                <a:gd name="T24" fmla="*/ 542 w 554"/>
                <a:gd name="T25" fmla="*/ 36 h 620"/>
                <a:gd name="T26" fmla="*/ 504 w 554"/>
                <a:gd name="T27" fmla="*/ 13 h 620"/>
                <a:gd name="T28" fmla="*/ 482 w 554"/>
                <a:gd name="T29" fmla="*/ 2 h 620"/>
                <a:gd name="T30" fmla="*/ 470 w 554"/>
                <a:gd name="T31" fmla="*/ 0 h 620"/>
                <a:gd name="T32" fmla="*/ 465 w 554"/>
                <a:gd name="T33" fmla="*/ 327 h 620"/>
                <a:gd name="T34" fmla="*/ 465 w 554"/>
                <a:gd name="T35" fmla="*/ 339 h 620"/>
                <a:gd name="T36" fmla="*/ 458 w 554"/>
                <a:gd name="T37" fmla="*/ 360 h 620"/>
                <a:gd name="T38" fmla="*/ 444 w 554"/>
                <a:gd name="T39" fmla="*/ 382 h 620"/>
                <a:gd name="T40" fmla="*/ 426 w 554"/>
                <a:gd name="T41" fmla="*/ 402 h 620"/>
                <a:gd name="T42" fmla="*/ 405 w 554"/>
                <a:gd name="T43" fmla="*/ 421 h 620"/>
                <a:gd name="T44" fmla="*/ 380 w 554"/>
                <a:gd name="T45" fmla="*/ 437 h 620"/>
                <a:gd name="T46" fmla="*/ 353 w 554"/>
                <a:gd name="T47" fmla="*/ 449 h 620"/>
                <a:gd name="T48" fmla="*/ 327 w 554"/>
                <a:gd name="T49" fmla="*/ 458 h 620"/>
                <a:gd name="T50" fmla="*/ 314 w 554"/>
                <a:gd name="T51" fmla="*/ 461 h 620"/>
                <a:gd name="T52" fmla="*/ 255 w 554"/>
                <a:gd name="T53" fmla="*/ 471 h 620"/>
                <a:gd name="T54" fmla="*/ 199 w 554"/>
                <a:gd name="T55" fmla="*/ 477 h 620"/>
                <a:gd name="T56" fmla="*/ 98 w 554"/>
                <a:gd name="T57" fmla="*/ 482 h 620"/>
                <a:gd name="T58" fmla="*/ 27 w 554"/>
                <a:gd name="T59" fmla="*/ 482 h 620"/>
                <a:gd name="T60" fmla="*/ 0 w 554"/>
                <a:gd name="T61" fmla="*/ 481 h 620"/>
                <a:gd name="T62" fmla="*/ 4 w 554"/>
                <a:gd name="T63" fmla="*/ 508 h 620"/>
                <a:gd name="T64" fmla="*/ 13 w 554"/>
                <a:gd name="T65" fmla="*/ 550 h 620"/>
                <a:gd name="T66" fmla="*/ 18 w 554"/>
                <a:gd name="T67" fmla="*/ 566 h 620"/>
                <a:gd name="T68" fmla="*/ 29 w 554"/>
                <a:gd name="T69" fmla="*/ 586 h 620"/>
                <a:gd name="T70" fmla="*/ 44 w 554"/>
                <a:gd name="T71" fmla="*/ 604 h 620"/>
                <a:gd name="T72" fmla="*/ 62 w 554"/>
                <a:gd name="T73" fmla="*/ 620 h 620"/>
                <a:gd name="T74" fmla="*/ 554 w 554"/>
                <a:gd name="T75" fmla="*/ 45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4" h="620">
                  <a:moveTo>
                    <a:pt x="554" y="450"/>
                  </a:moveTo>
                  <a:lnTo>
                    <a:pt x="554" y="356"/>
                  </a:lnTo>
                  <a:lnTo>
                    <a:pt x="554" y="356"/>
                  </a:lnTo>
                  <a:lnTo>
                    <a:pt x="549" y="350"/>
                  </a:lnTo>
                  <a:lnTo>
                    <a:pt x="543" y="342"/>
                  </a:lnTo>
                  <a:lnTo>
                    <a:pt x="535" y="331"/>
                  </a:lnTo>
                  <a:lnTo>
                    <a:pt x="528" y="315"/>
                  </a:lnTo>
                  <a:lnTo>
                    <a:pt x="525" y="306"/>
                  </a:lnTo>
                  <a:lnTo>
                    <a:pt x="522" y="296"/>
                  </a:lnTo>
                  <a:lnTo>
                    <a:pt x="520" y="285"/>
                  </a:lnTo>
                  <a:lnTo>
                    <a:pt x="517" y="271"/>
                  </a:lnTo>
                  <a:lnTo>
                    <a:pt x="516" y="258"/>
                  </a:lnTo>
                  <a:lnTo>
                    <a:pt x="515" y="243"/>
                  </a:lnTo>
                  <a:lnTo>
                    <a:pt x="515" y="243"/>
                  </a:lnTo>
                  <a:lnTo>
                    <a:pt x="515" y="232"/>
                  </a:lnTo>
                  <a:lnTo>
                    <a:pt x="516" y="222"/>
                  </a:lnTo>
                  <a:lnTo>
                    <a:pt x="517" y="212"/>
                  </a:lnTo>
                  <a:lnTo>
                    <a:pt x="520" y="202"/>
                  </a:lnTo>
                  <a:lnTo>
                    <a:pt x="526" y="183"/>
                  </a:lnTo>
                  <a:lnTo>
                    <a:pt x="532" y="167"/>
                  </a:lnTo>
                  <a:lnTo>
                    <a:pt x="540" y="154"/>
                  </a:lnTo>
                  <a:lnTo>
                    <a:pt x="546" y="142"/>
                  </a:lnTo>
                  <a:lnTo>
                    <a:pt x="552" y="133"/>
                  </a:lnTo>
                  <a:lnTo>
                    <a:pt x="551" y="43"/>
                  </a:lnTo>
                  <a:lnTo>
                    <a:pt x="551" y="43"/>
                  </a:lnTo>
                  <a:lnTo>
                    <a:pt x="542" y="36"/>
                  </a:lnTo>
                  <a:lnTo>
                    <a:pt x="518" y="21"/>
                  </a:lnTo>
                  <a:lnTo>
                    <a:pt x="504" y="13"/>
                  </a:lnTo>
                  <a:lnTo>
                    <a:pt x="489" y="5"/>
                  </a:lnTo>
                  <a:lnTo>
                    <a:pt x="482" y="2"/>
                  </a:lnTo>
                  <a:lnTo>
                    <a:pt x="476" y="1"/>
                  </a:lnTo>
                  <a:lnTo>
                    <a:pt x="470" y="0"/>
                  </a:lnTo>
                  <a:lnTo>
                    <a:pt x="464" y="0"/>
                  </a:lnTo>
                  <a:lnTo>
                    <a:pt x="465" y="327"/>
                  </a:lnTo>
                  <a:lnTo>
                    <a:pt x="465" y="327"/>
                  </a:lnTo>
                  <a:lnTo>
                    <a:pt x="465" y="339"/>
                  </a:lnTo>
                  <a:lnTo>
                    <a:pt x="462" y="349"/>
                  </a:lnTo>
                  <a:lnTo>
                    <a:pt x="458" y="360"/>
                  </a:lnTo>
                  <a:lnTo>
                    <a:pt x="452" y="370"/>
                  </a:lnTo>
                  <a:lnTo>
                    <a:pt x="444" y="382"/>
                  </a:lnTo>
                  <a:lnTo>
                    <a:pt x="436" y="392"/>
                  </a:lnTo>
                  <a:lnTo>
                    <a:pt x="426" y="402"/>
                  </a:lnTo>
                  <a:lnTo>
                    <a:pt x="416" y="411"/>
                  </a:lnTo>
                  <a:lnTo>
                    <a:pt x="405" y="421"/>
                  </a:lnTo>
                  <a:lnTo>
                    <a:pt x="392" y="429"/>
                  </a:lnTo>
                  <a:lnTo>
                    <a:pt x="380" y="437"/>
                  </a:lnTo>
                  <a:lnTo>
                    <a:pt x="367" y="443"/>
                  </a:lnTo>
                  <a:lnTo>
                    <a:pt x="353" y="449"/>
                  </a:lnTo>
                  <a:lnTo>
                    <a:pt x="340" y="454"/>
                  </a:lnTo>
                  <a:lnTo>
                    <a:pt x="327" y="458"/>
                  </a:lnTo>
                  <a:lnTo>
                    <a:pt x="314" y="461"/>
                  </a:lnTo>
                  <a:lnTo>
                    <a:pt x="314" y="461"/>
                  </a:lnTo>
                  <a:lnTo>
                    <a:pt x="284" y="467"/>
                  </a:lnTo>
                  <a:lnTo>
                    <a:pt x="255" y="471"/>
                  </a:lnTo>
                  <a:lnTo>
                    <a:pt x="227" y="474"/>
                  </a:lnTo>
                  <a:lnTo>
                    <a:pt x="199" y="477"/>
                  </a:lnTo>
                  <a:lnTo>
                    <a:pt x="146" y="480"/>
                  </a:lnTo>
                  <a:lnTo>
                    <a:pt x="98" y="482"/>
                  </a:lnTo>
                  <a:lnTo>
                    <a:pt x="58" y="482"/>
                  </a:lnTo>
                  <a:lnTo>
                    <a:pt x="27" y="482"/>
                  </a:lnTo>
                  <a:lnTo>
                    <a:pt x="0" y="481"/>
                  </a:lnTo>
                  <a:lnTo>
                    <a:pt x="0" y="481"/>
                  </a:lnTo>
                  <a:lnTo>
                    <a:pt x="1" y="488"/>
                  </a:lnTo>
                  <a:lnTo>
                    <a:pt x="4" y="508"/>
                  </a:lnTo>
                  <a:lnTo>
                    <a:pt x="10" y="535"/>
                  </a:lnTo>
                  <a:lnTo>
                    <a:pt x="13" y="550"/>
                  </a:lnTo>
                  <a:lnTo>
                    <a:pt x="18" y="566"/>
                  </a:lnTo>
                  <a:lnTo>
                    <a:pt x="18" y="566"/>
                  </a:lnTo>
                  <a:lnTo>
                    <a:pt x="23" y="576"/>
                  </a:lnTo>
                  <a:lnTo>
                    <a:pt x="29" y="586"/>
                  </a:lnTo>
                  <a:lnTo>
                    <a:pt x="36" y="595"/>
                  </a:lnTo>
                  <a:lnTo>
                    <a:pt x="44" y="604"/>
                  </a:lnTo>
                  <a:lnTo>
                    <a:pt x="57" y="616"/>
                  </a:lnTo>
                  <a:lnTo>
                    <a:pt x="62" y="620"/>
                  </a:lnTo>
                  <a:lnTo>
                    <a:pt x="451" y="620"/>
                  </a:lnTo>
                  <a:lnTo>
                    <a:pt x="554" y="4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3" name="Freeform 36"/>
            <p:cNvSpPr>
              <a:spLocks/>
            </p:cNvSpPr>
            <p:nvPr userDrawn="1"/>
          </p:nvSpPr>
          <p:spPr bwMode="auto">
            <a:xfrm>
              <a:off x="5843835" y="533568"/>
              <a:ext cx="57150" cy="17463"/>
            </a:xfrm>
            <a:custGeom>
              <a:avLst/>
              <a:gdLst>
                <a:gd name="T0" fmla="*/ 20 w 435"/>
                <a:gd name="T1" fmla="*/ 142 h 142"/>
                <a:gd name="T2" fmla="*/ 411 w 435"/>
                <a:gd name="T3" fmla="*/ 142 h 142"/>
                <a:gd name="T4" fmla="*/ 411 w 435"/>
                <a:gd name="T5" fmla="*/ 142 h 142"/>
                <a:gd name="T6" fmla="*/ 422 w 435"/>
                <a:gd name="T7" fmla="*/ 109 h 142"/>
                <a:gd name="T8" fmla="*/ 430 w 435"/>
                <a:gd name="T9" fmla="*/ 83 h 142"/>
                <a:gd name="T10" fmla="*/ 433 w 435"/>
                <a:gd name="T11" fmla="*/ 72 h 142"/>
                <a:gd name="T12" fmla="*/ 435 w 435"/>
                <a:gd name="T13" fmla="*/ 63 h 142"/>
                <a:gd name="T14" fmla="*/ 417 w 435"/>
                <a:gd name="T15" fmla="*/ 0 h 142"/>
                <a:gd name="T16" fmla="*/ 22 w 435"/>
                <a:gd name="T17" fmla="*/ 0 h 142"/>
                <a:gd name="T18" fmla="*/ 0 w 435"/>
                <a:gd name="T19" fmla="*/ 65 h 142"/>
                <a:gd name="T20" fmla="*/ 20 w 435"/>
                <a:gd name="T2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42">
                  <a:moveTo>
                    <a:pt x="20" y="142"/>
                  </a:moveTo>
                  <a:lnTo>
                    <a:pt x="411" y="142"/>
                  </a:lnTo>
                  <a:lnTo>
                    <a:pt x="411" y="142"/>
                  </a:lnTo>
                  <a:lnTo>
                    <a:pt x="422" y="109"/>
                  </a:lnTo>
                  <a:lnTo>
                    <a:pt x="430" y="83"/>
                  </a:lnTo>
                  <a:lnTo>
                    <a:pt x="433" y="72"/>
                  </a:lnTo>
                  <a:lnTo>
                    <a:pt x="435" y="63"/>
                  </a:lnTo>
                  <a:lnTo>
                    <a:pt x="417" y="0"/>
                  </a:lnTo>
                  <a:lnTo>
                    <a:pt x="22" y="0"/>
                  </a:lnTo>
                  <a:lnTo>
                    <a:pt x="0" y="65"/>
                  </a:lnTo>
                  <a:lnTo>
                    <a:pt x="20"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4" name="Freeform 37"/>
            <p:cNvSpPr>
              <a:spLocks/>
            </p:cNvSpPr>
            <p:nvPr userDrawn="1"/>
          </p:nvSpPr>
          <p:spPr bwMode="auto">
            <a:xfrm>
              <a:off x="5847009" y="562141"/>
              <a:ext cx="57150" cy="66675"/>
            </a:xfrm>
            <a:custGeom>
              <a:avLst/>
              <a:gdLst>
                <a:gd name="T0" fmla="*/ 384 w 436"/>
                <a:gd name="T1" fmla="*/ 0 h 514"/>
                <a:gd name="T2" fmla="*/ 2 w 436"/>
                <a:gd name="T3" fmla="*/ 0 h 514"/>
                <a:gd name="T4" fmla="*/ 0 w 436"/>
                <a:gd name="T5" fmla="*/ 505 h 514"/>
                <a:gd name="T6" fmla="*/ 331 w 436"/>
                <a:gd name="T7" fmla="*/ 514 h 514"/>
                <a:gd name="T8" fmla="*/ 436 w 436"/>
                <a:gd name="T9" fmla="*/ 431 h 514"/>
                <a:gd name="T10" fmla="*/ 384 w 436"/>
                <a:gd name="T11" fmla="*/ 0 h 514"/>
              </a:gdLst>
              <a:ahLst/>
              <a:cxnLst>
                <a:cxn ang="0">
                  <a:pos x="T0" y="T1"/>
                </a:cxn>
                <a:cxn ang="0">
                  <a:pos x="T2" y="T3"/>
                </a:cxn>
                <a:cxn ang="0">
                  <a:pos x="T4" y="T5"/>
                </a:cxn>
                <a:cxn ang="0">
                  <a:pos x="T6" y="T7"/>
                </a:cxn>
                <a:cxn ang="0">
                  <a:pos x="T8" y="T9"/>
                </a:cxn>
                <a:cxn ang="0">
                  <a:pos x="T10" y="T11"/>
                </a:cxn>
              </a:cxnLst>
              <a:rect l="0" t="0" r="r" b="b"/>
              <a:pathLst>
                <a:path w="436" h="514">
                  <a:moveTo>
                    <a:pt x="384" y="0"/>
                  </a:moveTo>
                  <a:lnTo>
                    <a:pt x="2" y="0"/>
                  </a:lnTo>
                  <a:lnTo>
                    <a:pt x="0" y="505"/>
                  </a:lnTo>
                  <a:lnTo>
                    <a:pt x="331" y="514"/>
                  </a:lnTo>
                  <a:lnTo>
                    <a:pt x="436" y="431"/>
                  </a:lnTo>
                  <a:lnTo>
                    <a:pt x="3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5" name="Freeform 38"/>
            <p:cNvSpPr>
              <a:spLocks/>
            </p:cNvSpPr>
            <p:nvPr userDrawn="1"/>
          </p:nvSpPr>
          <p:spPr bwMode="auto">
            <a:xfrm>
              <a:off x="5843835" y="627230"/>
              <a:ext cx="77787" cy="68263"/>
            </a:xfrm>
            <a:custGeom>
              <a:avLst/>
              <a:gdLst>
                <a:gd name="T0" fmla="*/ 586 w 586"/>
                <a:gd name="T1" fmla="*/ 139 h 523"/>
                <a:gd name="T2" fmla="*/ 586 w 586"/>
                <a:gd name="T3" fmla="*/ 139 h 523"/>
                <a:gd name="T4" fmla="*/ 552 w 586"/>
                <a:gd name="T5" fmla="*/ 115 h 523"/>
                <a:gd name="T6" fmla="*/ 527 w 586"/>
                <a:gd name="T7" fmla="*/ 97 h 523"/>
                <a:gd name="T8" fmla="*/ 519 w 586"/>
                <a:gd name="T9" fmla="*/ 90 h 523"/>
                <a:gd name="T10" fmla="*/ 514 w 586"/>
                <a:gd name="T11" fmla="*/ 85 h 523"/>
                <a:gd name="T12" fmla="*/ 514 w 586"/>
                <a:gd name="T13" fmla="*/ 85 h 523"/>
                <a:gd name="T14" fmla="*/ 512 w 586"/>
                <a:gd name="T15" fmla="*/ 79 h 523"/>
                <a:gd name="T16" fmla="*/ 510 w 586"/>
                <a:gd name="T17" fmla="*/ 69 h 523"/>
                <a:gd name="T18" fmla="*/ 506 w 586"/>
                <a:gd name="T19" fmla="*/ 40 h 523"/>
                <a:gd name="T20" fmla="*/ 503 w 586"/>
                <a:gd name="T21" fmla="*/ 0 h 523"/>
                <a:gd name="T22" fmla="*/ 381 w 586"/>
                <a:gd name="T23" fmla="*/ 98 h 523"/>
                <a:gd name="T24" fmla="*/ 8 w 586"/>
                <a:gd name="T25" fmla="*/ 97 h 523"/>
                <a:gd name="T26" fmla="*/ 8 w 586"/>
                <a:gd name="T27" fmla="*/ 97 h 523"/>
                <a:gd name="T28" fmla="*/ 8 w 586"/>
                <a:gd name="T29" fmla="*/ 98 h 523"/>
                <a:gd name="T30" fmla="*/ 7 w 586"/>
                <a:gd name="T31" fmla="*/ 100 h 523"/>
                <a:gd name="T32" fmla="*/ 5 w 586"/>
                <a:gd name="T33" fmla="*/ 108 h 523"/>
                <a:gd name="T34" fmla="*/ 3 w 586"/>
                <a:gd name="T35" fmla="*/ 139 h 523"/>
                <a:gd name="T36" fmla="*/ 2 w 586"/>
                <a:gd name="T37" fmla="*/ 183 h 523"/>
                <a:gd name="T38" fmla="*/ 1 w 586"/>
                <a:gd name="T39" fmla="*/ 233 h 523"/>
                <a:gd name="T40" fmla="*/ 0 w 586"/>
                <a:gd name="T41" fmla="*/ 327 h 523"/>
                <a:gd name="T42" fmla="*/ 0 w 586"/>
                <a:gd name="T43" fmla="*/ 369 h 523"/>
                <a:gd name="T44" fmla="*/ 0 w 586"/>
                <a:gd name="T45" fmla="*/ 369 h 523"/>
                <a:gd name="T46" fmla="*/ 29 w 586"/>
                <a:gd name="T47" fmla="*/ 395 h 523"/>
                <a:gd name="T48" fmla="*/ 95 w 586"/>
                <a:gd name="T49" fmla="*/ 448 h 523"/>
                <a:gd name="T50" fmla="*/ 131 w 586"/>
                <a:gd name="T51" fmla="*/ 477 h 523"/>
                <a:gd name="T52" fmla="*/ 162 w 586"/>
                <a:gd name="T53" fmla="*/ 501 h 523"/>
                <a:gd name="T54" fmla="*/ 186 w 586"/>
                <a:gd name="T55" fmla="*/ 517 h 523"/>
                <a:gd name="T56" fmla="*/ 193 w 586"/>
                <a:gd name="T57" fmla="*/ 522 h 523"/>
                <a:gd name="T58" fmla="*/ 195 w 586"/>
                <a:gd name="T59" fmla="*/ 523 h 523"/>
                <a:gd name="T60" fmla="*/ 197 w 586"/>
                <a:gd name="T61" fmla="*/ 523 h 523"/>
                <a:gd name="T62" fmla="*/ 448 w 586"/>
                <a:gd name="T63" fmla="*/ 206 h 523"/>
                <a:gd name="T64" fmla="*/ 586 w 586"/>
                <a:gd name="T65" fmla="*/ 13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6" h="523">
                  <a:moveTo>
                    <a:pt x="586" y="139"/>
                  </a:moveTo>
                  <a:lnTo>
                    <a:pt x="586" y="139"/>
                  </a:lnTo>
                  <a:lnTo>
                    <a:pt x="552" y="115"/>
                  </a:lnTo>
                  <a:lnTo>
                    <a:pt x="527" y="97"/>
                  </a:lnTo>
                  <a:lnTo>
                    <a:pt x="519" y="90"/>
                  </a:lnTo>
                  <a:lnTo>
                    <a:pt x="514" y="85"/>
                  </a:lnTo>
                  <a:lnTo>
                    <a:pt x="514" y="85"/>
                  </a:lnTo>
                  <a:lnTo>
                    <a:pt x="512" y="79"/>
                  </a:lnTo>
                  <a:lnTo>
                    <a:pt x="510" y="69"/>
                  </a:lnTo>
                  <a:lnTo>
                    <a:pt x="506" y="40"/>
                  </a:lnTo>
                  <a:lnTo>
                    <a:pt x="503" y="0"/>
                  </a:lnTo>
                  <a:lnTo>
                    <a:pt x="381" y="98"/>
                  </a:lnTo>
                  <a:lnTo>
                    <a:pt x="8" y="97"/>
                  </a:lnTo>
                  <a:lnTo>
                    <a:pt x="8" y="97"/>
                  </a:lnTo>
                  <a:lnTo>
                    <a:pt x="8" y="98"/>
                  </a:lnTo>
                  <a:lnTo>
                    <a:pt x="7" y="100"/>
                  </a:lnTo>
                  <a:lnTo>
                    <a:pt x="5" y="108"/>
                  </a:lnTo>
                  <a:lnTo>
                    <a:pt x="3" y="139"/>
                  </a:lnTo>
                  <a:lnTo>
                    <a:pt x="2" y="183"/>
                  </a:lnTo>
                  <a:lnTo>
                    <a:pt x="1" y="233"/>
                  </a:lnTo>
                  <a:lnTo>
                    <a:pt x="0" y="327"/>
                  </a:lnTo>
                  <a:lnTo>
                    <a:pt x="0" y="369"/>
                  </a:lnTo>
                  <a:lnTo>
                    <a:pt x="0" y="369"/>
                  </a:lnTo>
                  <a:lnTo>
                    <a:pt x="29" y="395"/>
                  </a:lnTo>
                  <a:lnTo>
                    <a:pt x="95" y="448"/>
                  </a:lnTo>
                  <a:lnTo>
                    <a:pt x="131" y="477"/>
                  </a:lnTo>
                  <a:lnTo>
                    <a:pt x="162" y="501"/>
                  </a:lnTo>
                  <a:lnTo>
                    <a:pt x="186" y="517"/>
                  </a:lnTo>
                  <a:lnTo>
                    <a:pt x="193" y="522"/>
                  </a:lnTo>
                  <a:lnTo>
                    <a:pt x="195" y="523"/>
                  </a:lnTo>
                  <a:lnTo>
                    <a:pt x="197" y="523"/>
                  </a:lnTo>
                  <a:lnTo>
                    <a:pt x="448" y="206"/>
                  </a:lnTo>
                  <a:lnTo>
                    <a:pt x="586" y="1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6" name="Freeform 39"/>
            <p:cNvSpPr>
              <a:spLocks/>
            </p:cNvSpPr>
            <p:nvPr userDrawn="1"/>
          </p:nvSpPr>
          <p:spPr bwMode="auto">
            <a:xfrm>
              <a:off x="5880346" y="652630"/>
              <a:ext cx="115888" cy="66675"/>
            </a:xfrm>
            <a:custGeom>
              <a:avLst/>
              <a:gdLst>
                <a:gd name="T0" fmla="*/ 226 w 879"/>
                <a:gd name="T1" fmla="*/ 65 h 509"/>
                <a:gd name="T2" fmla="*/ 0 w 879"/>
                <a:gd name="T3" fmla="*/ 355 h 509"/>
                <a:gd name="T4" fmla="*/ 369 w 879"/>
                <a:gd name="T5" fmla="*/ 509 h 509"/>
                <a:gd name="T6" fmla="*/ 369 w 879"/>
                <a:gd name="T7" fmla="*/ 509 h 509"/>
                <a:gd name="T8" fmla="*/ 409 w 879"/>
                <a:gd name="T9" fmla="*/ 487 h 509"/>
                <a:gd name="T10" fmla="*/ 452 w 879"/>
                <a:gd name="T11" fmla="*/ 464 h 509"/>
                <a:gd name="T12" fmla="*/ 495 w 879"/>
                <a:gd name="T13" fmla="*/ 439 h 509"/>
                <a:gd name="T14" fmla="*/ 538 w 879"/>
                <a:gd name="T15" fmla="*/ 413 h 509"/>
                <a:gd name="T16" fmla="*/ 623 w 879"/>
                <a:gd name="T17" fmla="*/ 361 h 509"/>
                <a:gd name="T18" fmla="*/ 703 w 879"/>
                <a:gd name="T19" fmla="*/ 311 h 509"/>
                <a:gd name="T20" fmla="*/ 773 w 879"/>
                <a:gd name="T21" fmla="*/ 266 h 509"/>
                <a:gd name="T22" fmla="*/ 829 w 879"/>
                <a:gd name="T23" fmla="*/ 229 h 509"/>
                <a:gd name="T24" fmla="*/ 879 w 879"/>
                <a:gd name="T25" fmla="*/ 196 h 509"/>
                <a:gd name="T26" fmla="*/ 359 w 879"/>
                <a:gd name="T27" fmla="*/ 0 h 509"/>
                <a:gd name="T28" fmla="*/ 226 w 879"/>
                <a:gd name="T29" fmla="*/ 6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9" h="509">
                  <a:moveTo>
                    <a:pt x="226" y="65"/>
                  </a:moveTo>
                  <a:lnTo>
                    <a:pt x="0" y="355"/>
                  </a:lnTo>
                  <a:lnTo>
                    <a:pt x="369" y="509"/>
                  </a:lnTo>
                  <a:lnTo>
                    <a:pt x="369" y="509"/>
                  </a:lnTo>
                  <a:lnTo>
                    <a:pt x="409" y="487"/>
                  </a:lnTo>
                  <a:lnTo>
                    <a:pt x="452" y="464"/>
                  </a:lnTo>
                  <a:lnTo>
                    <a:pt x="495" y="439"/>
                  </a:lnTo>
                  <a:lnTo>
                    <a:pt x="538" y="413"/>
                  </a:lnTo>
                  <a:lnTo>
                    <a:pt x="623" y="361"/>
                  </a:lnTo>
                  <a:lnTo>
                    <a:pt x="703" y="311"/>
                  </a:lnTo>
                  <a:lnTo>
                    <a:pt x="773" y="266"/>
                  </a:lnTo>
                  <a:lnTo>
                    <a:pt x="829" y="229"/>
                  </a:lnTo>
                  <a:lnTo>
                    <a:pt x="879" y="196"/>
                  </a:lnTo>
                  <a:lnTo>
                    <a:pt x="359" y="0"/>
                  </a:lnTo>
                  <a:lnTo>
                    <a:pt x="226"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7" name="Freeform 40"/>
            <p:cNvSpPr>
              <a:spLocks/>
            </p:cNvSpPr>
            <p:nvPr userDrawn="1"/>
          </p:nvSpPr>
          <p:spPr bwMode="auto">
            <a:xfrm>
              <a:off x="5915272" y="408154"/>
              <a:ext cx="26988" cy="123826"/>
            </a:xfrm>
            <a:custGeom>
              <a:avLst/>
              <a:gdLst>
                <a:gd name="T0" fmla="*/ 170 w 211"/>
                <a:gd name="T1" fmla="*/ 388 h 928"/>
                <a:gd name="T2" fmla="*/ 169 w 211"/>
                <a:gd name="T3" fmla="*/ 133 h 928"/>
                <a:gd name="T4" fmla="*/ 171 w 211"/>
                <a:gd name="T5" fmla="*/ 84 h 928"/>
                <a:gd name="T6" fmla="*/ 172 w 211"/>
                <a:gd name="T7" fmla="*/ 79 h 928"/>
                <a:gd name="T8" fmla="*/ 182 w 211"/>
                <a:gd name="T9" fmla="*/ 64 h 928"/>
                <a:gd name="T10" fmla="*/ 188 w 211"/>
                <a:gd name="T11" fmla="*/ 53 h 928"/>
                <a:gd name="T12" fmla="*/ 192 w 211"/>
                <a:gd name="T13" fmla="*/ 36 h 928"/>
                <a:gd name="T14" fmla="*/ 191 w 211"/>
                <a:gd name="T15" fmla="*/ 18 h 928"/>
                <a:gd name="T16" fmla="*/ 188 w 211"/>
                <a:gd name="T17" fmla="*/ 0 h 928"/>
                <a:gd name="T18" fmla="*/ 6 w 211"/>
                <a:gd name="T19" fmla="*/ 0 h 928"/>
                <a:gd name="T20" fmla="*/ 4 w 211"/>
                <a:gd name="T21" fmla="*/ 8 h 928"/>
                <a:gd name="T22" fmla="*/ 5 w 211"/>
                <a:gd name="T23" fmla="*/ 33 h 928"/>
                <a:gd name="T24" fmla="*/ 7 w 211"/>
                <a:gd name="T25" fmla="*/ 43 h 928"/>
                <a:gd name="T26" fmla="*/ 17 w 211"/>
                <a:gd name="T27" fmla="*/ 65 h 928"/>
                <a:gd name="T28" fmla="*/ 28 w 211"/>
                <a:gd name="T29" fmla="*/ 80 h 928"/>
                <a:gd name="T30" fmla="*/ 33 w 211"/>
                <a:gd name="T31" fmla="*/ 388 h 928"/>
                <a:gd name="T32" fmla="*/ 29 w 211"/>
                <a:gd name="T33" fmla="*/ 395 h 928"/>
                <a:gd name="T34" fmla="*/ 19 w 211"/>
                <a:gd name="T35" fmla="*/ 412 h 928"/>
                <a:gd name="T36" fmla="*/ 9 w 211"/>
                <a:gd name="T37" fmla="*/ 443 h 928"/>
                <a:gd name="T38" fmla="*/ 0 w 211"/>
                <a:gd name="T39" fmla="*/ 487 h 928"/>
                <a:gd name="T40" fmla="*/ 0 w 211"/>
                <a:gd name="T41" fmla="*/ 498 h 928"/>
                <a:gd name="T42" fmla="*/ 1 w 211"/>
                <a:gd name="T43" fmla="*/ 518 h 928"/>
                <a:gd name="T44" fmla="*/ 10 w 211"/>
                <a:gd name="T45" fmla="*/ 546 h 928"/>
                <a:gd name="T46" fmla="*/ 23 w 211"/>
                <a:gd name="T47" fmla="*/ 576 h 928"/>
                <a:gd name="T48" fmla="*/ 35 w 211"/>
                <a:gd name="T49" fmla="*/ 594 h 928"/>
                <a:gd name="T50" fmla="*/ 31 w 211"/>
                <a:gd name="T51" fmla="*/ 850 h 928"/>
                <a:gd name="T52" fmla="*/ 23 w 211"/>
                <a:gd name="T53" fmla="*/ 859 h 928"/>
                <a:gd name="T54" fmla="*/ 18 w 211"/>
                <a:gd name="T55" fmla="*/ 871 h 928"/>
                <a:gd name="T56" fmla="*/ 14 w 211"/>
                <a:gd name="T57" fmla="*/ 888 h 928"/>
                <a:gd name="T58" fmla="*/ 14 w 211"/>
                <a:gd name="T59" fmla="*/ 898 h 928"/>
                <a:gd name="T60" fmla="*/ 15 w 211"/>
                <a:gd name="T61" fmla="*/ 919 h 928"/>
                <a:gd name="T62" fmla="*/ 18 w 211"/>
                <a:gd name="T63" fmla="*/ 928 h 928"/>
                <a:gd name="T64" fmla="*/ 188 w 211"/>
                <a:gd name="T65" fmla="*/ 928 h 928"/>
                <a:gd name="T66" fmla="*/ 191 w 211"/>
                <a:gd name="T67" fmla="*/ 906 h 928"/>
                <a:gd name="T68" fmla="*/ 190 w 211"/>
                <a:gd name="T69" fmla="*/ 881 h 928"/>
                <a:gd name="T70" fmla="*/ 188 w 211"/>
                <a:gd name="T71" fmla="*/ 873 h 928"/>
                <a:gd name="T72" fmla="*/ 179 w 211"/>
                <a:gd name="T73" fmla="*/ 857 h 928"/>
                <a:gd name="T74" fmla="*/ 169 w 211"/>
                <a:gd name="T75" fmla="*/ 846 h 928"/>
                <a:gd name="T76" fmla="*/ 168 w 211"/>
                <a:gd name="T77" fmla="*/ 594 h 928"/>
                <a:gd name="T78" fmla="*/ 190 w 211"/>
                <a:gd name="T79" fmla="*/ 561 h 928"/>
                <a:gd name="T80" fmla="*/ 202 w 211"/>
                <a:gd name="T81" fmla="*/ 537 h 928"/>
                <a:gd name="T82" fmla="*/ 210 w 211"/>
                <a:gd name="T83" fmla="*/ 507 h 928"/>
                <a:gd name="T84" fmla="*/ 211 w 211"/>
                <a:gd name="T85" fmla="*/ 491 h 928"/>
                <a:gd name="T86" fmla="*/ 211 w 211"/>
                <a:gd name="T87" fmla="*/ 482 h 928"/>
                <a:gd name="T88" fmla="*/ 206 w 211"/>
                <a:gd name="T89" fmla="*/ 458 h 928"/>
                <a:gd name="T90" fmla="*/ 195 w 211"/>
                <a:gd name="T91" fmla="*/ 428 h 928"/>
                <a:gd name="T92" fmla="*/ 181 w 211"/>
                <a:gd name="T93" fmla="*/ 40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928">
                  <a:moveTo>
                    <a:pt x="170" y="388"/>
                  </a:moveTo>
                  <a:lnTo>
                    <a:pt x="170" y="388"/>
                  </a:lnTo>
                  <a:lnTo>
                    <a:pt x="169" y="238"/>
                  </a:lnTo>
                  <a:lnTo>
                    <a:pt x="169" y="133"/>
                  </a:lnTo>
                  <a:lnTo>
                    <a:pt x="170" y="96"/>
                  </a:lnTo>
                  <a:lnTo>
                    <a:pt x="171" y="84"/>
                  </a:lnTo>
                  <a:lnTo>
                    <a:pt x="172" y="79"/>
                  </a:lnTo>
                  <a:lnTo>
                    <a:pt x="172" y="79"/>
                  </a:lnTo>
                  <a:lnTo>
                    <a:pt x="177" y="71"/>
                  </a:lnTo>
                  <a:lnTo>
                    <a:pt x="182" y="64"/>
                  </a:lnTo>
                  <a:lnTo>
                    <a:pt x="188" y="53"/>
                  </a:lnTo>
                  <a:lnTo>
                    <a:pt x="188" y="53"/>
                  </a:lnTo>
                  <a:lnTo>
                    <a:pt x="191" y="45"/>
                  </a:lnTo>
                  <a:lnTo>
                    <a:pt x="192" y="36"/>
                  </a:lnTo>
                  <a:lnTo>
                    <a:pt x="192" y="28"/>
                  </a:lnTo>
                  <a:lnTo>
                    <a:pt x="191" y="18"/>
                  </a:lnTo>
                  <a:lnTo>
                    <a:pt x="189" y="5"/>
                  </a:lnTo>
                  <a:lnTo>
                    <a:pt x="188" y="0"/>
                  </a:lnTo>
                  <a:lnTo>
                    <a:pt x="6" y="0"/>
                  </a:lnTo>
                  <a:lnTo>
                    <a:pt x="6" y="0"/>
                  </a:lnTo>
                  <a:lnTo>
                    <a:pt x="5" y="4"/>
                  </a:lnTo>
                  <a:lnTo>
                    <a:pt x="4" y="8"/>
                  </a:lnTo>
                  <a:lnTo>
                    <a:pt x="4" y="20"/>
                  </a:lnTo>
                  <a:lnTo>
                    <a:pt x="5" y="33"/>
                  </a:lnTo>
                  <a:lnTo>
                    <a:pt x="7" y="43"/>
                  </a:lnTo>
                  <a:lnTo>
                    <a:pt x="7" y="43"/>
                  </a:lnTo>
                  <a:lnTo>
                    <a:pt x="11" y="54"/>
                  </a:lnTo>
                  <a:lnTo>
                    <a:pt x="17" y="65"/>
                  </a:lnTo>
                  <a:lnTo>
                    <a:pt x="24" y="76"/>
                  </a:lnTo>
                  <a:lnTo>
                    <a:pt x="28" y="80"/>
                  </a:lnTo>
                  <a:lnTo>
                    <a:pt x="33" y="83"/>
                  </a:lnTo>
                  <a:lnTo>
                    <a:pt x="33" y="388"/>
                  </a:lnTo>
                  <a:lnTo>
                    <a:pt x="33" y="388"/>
                  </a:lnTo>
                  <a:lnTo>
                    <a:pt x="29" y="395"/>
                  </a:lnTo>
                  <a:lnTo>
                    <a:pt x="24" y="402"/>
                  </a:lnTo>
                  <a:lnTo>
                    <a:pt x="19" y="412"/>
                  </a:lnTo>
                  <a:lnTo>
                    <a:pt x="14" y="426"/>
                  </a:lnTo>
                  <a:lnTo>
                    <a:pt x="9" y="443"/>
                  </a:lnTo>
                  <a:lnTo>
                    <a:pt x="4" y="463"/>
                  </a:lnTo>
                  <a:lnTo>
                    <a:pt x="0" y="487"/>
                  </a:lnTo>
                  <a:lnTo>
                    <a:pt x="0" y="487"/>
                  </a:lnTo>
                  <a:lnTo>
                    <a:pt x="0" y="498"/>
                  </a:lnTo>
                  <a:lnTo>
                    <a:pt x="0" y="508"/>
                  </a:lnTo>
                  <a:lnTo>
                    <a:pt x="1" y="518"/>
                  </a:lnTo>
                  <a:lnTo>
                    <a:pt x="4" y="529"/>
                  </a:lnTo>
                  <a:lnTo>
                    <a:pt x="10" y="546"/>
                  </a:lnTo>
                  <a:lnTo>
                    <a:pt x="16" y="562"/>
                  </a:lnTo>
                  <a:lnTo>
                    <a:pt x="23" y="576"/>
                  </a:lnTo>
                  <a:lnTo>
                    <a:pt x="29" y="585"/>
                  </a:lnTo>
                  <a:lnTo>
                    <a:pt x="35" y="594"/>
                  </a:lnTo>
                  <a:lnTo>
                    <a:pt x="31" y="850"/>
                  </a:lnTo>
                  <a:lnTo>
                    <a:pt x="31" y="850"/>
                  </a:lnTo>
                  <a:lnTo>
                    <a:pt x="29" y="852"/>
                  </a:lnTo>
                  <a:lnTo>
                    <a:pt x="23" y="859"/>
                  </a:lnTo>
                  <a:lnTo>
                    <a:pt x="20" y="864"/>
                  </a:lnTo>
                  <a:lnTo>
                    <a:pt x="18" y="871"/>
                  </a:lnTo>
                  <a:lnTo>
                    <a:pt x="15" y="879"/>
                  </a:lnTo>
                  <a:lnTo>
                    <a:pt x="14" y="888"/>
                  </a:lnTo>
                  <a:lnTo>
                    <a:pt x="14" y="888"/>
                  </a:lnTo>
                  <a:lnTo>
                    <a:pt x="14" y="898"/>
                  </a:lnTo>
                  <a:lnTo>
                    <a:pt x="14" y="906"/>
                  </a:lnTo>
                  <a:lnTo>
                    <a:pt x="15" y="919"/>
                  </a:lnTo>
                  <a:lnTo>
                    <a:pt x="17" y="926"/>
                  </a:lnTo>
                  <a:lnTo>
                    <a:pt x="18" y="928"/>
                  </a:lnTo>
                  <a:lnTo>
                    <a:pt x="188" y="928"/>
                  </a:lnTo>
                  <a:lnTo>
                    <a:pt x="188" y="928"/>
                  </a:lnTo>
                  <a:lnTo>
                    <a:pt x="190" y="920"/>
                  </a:lnTo>
                  <a:lnTo>
                    <a:pt x="191" y="906"/>
                  </a:lnTo>
                  <a:lnTo>
                    <a:pt x="190" y="889"/>
                  </a:lnTo>
                  <a:lnTo>
                    <a:pt x="190" y="881"/>
                  </a:lnTo>
                  <a:lnTo>
                    <a:pt x="188" y="873"/>
                  </a:lnTo>
                  <a:lnTo>
                    <a:pt x="188" y="873"/>
                  </a:lnTo>
                  <a:lnTo>
                    <a:pt x="185" y="864"/>
                  </a:lnTo>
                  <a:lnTo>
                    <a:pt x="179" y="857"/>
                  </a:lnTo>
                  <a:lnTo>
                    <a:pt x="174" y="851"/>
                  </a:lnTo>
                  <a:lnTo>
                    <a:pt x="169" y="846"/>
                  </a:lnTo>
                  <a:lnTo>
                    <a:pt x="168" y="594"/>
                  </a:lnTo>
                  <a:lnTo>
                    <a:pt x="168" y="594"/>
                  </a:lnTo>
                  <a:lnTo>
                    <a:pt x="181" y="573"/>
                  </a:lnTo>
                  <a:lnTo>
                    <a:pt x="190" y="561"/>
                  </a:lnTo>
                  <a:lnTo>
                    <a:pt x="196" y="550"/>
                  </a:lnTo>
                  <a:lnTo>
                    <a:pt x="202" y="537"/>
                  </a:lnTo>
                  <a:lnTo>
                    <a:pt x="207" y="522"/>
                  </a:lnTo>
                  <a:lnTo>
                    <a:pt x="210" y="507"/>
                  </a:lnTo>
                  <a:lnTo>
                    <a:pt x="211" y="499"/>
                  </a:lnTo>
                  <a:lnTo>
                    <a:pt x="211" y="491"/>
                  </a:lnTo>
                  <a:lnTo>
                    <a:pt x="211" y="491"/>
                  </a:lnTo>
                  <a:lnTo>
                    <a:pt x="211" y="482"/>
                  </a:lnTo>
                  <a:lnTo>
                    <a:pt x="210" y="473"/>
                  </a:lnTo>
                  <a:lnTo>
                    <a:pt x="206" y="458"/>
                  </a:lnTo>
                  <a:lnTo>
                    <a:pt x="201" y="443"/>
                  </a:lnTo>
                  <a:lnTo>
                    <a:pt x="195" y="428"/>
                  </a:lnTo>
                  <a:lnTo>
                    <a:pt x="189" y="416"/>
                  </a:lnTo>
                  <a:lnTo>
                    <a:pt x="181" y="405"/>
                  </a:lnTo>
                  <a:lnTo>
                    <a:pt x="170" y="3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8" name="Freeform 41"/>
            <p:cNvSpPr>
              <a:spLocks/>
            </p:cNvSpPr>
            <p:nvPr userDrawn="1"/>
          </p:nvSpPr>
          <p:spPr bwMode="auto">
            <a:xfrm>
              <a:off x="5943847" y="444667"/>
              <a:ext cx="80964" cy="58737"/>
            </a:xfrm>
            <a:custGeom>
              <a:avLst/>
              <a:gdLst>
                <a:gd name="T0" fmla="*/ 617 w 617"/>
                <a:gd name="T1" fmla="*/ 73 h 442"/>
                <a:gd name="T2" fmla="*/ 433 w 617"/>
                <a:gd name="T3" fmla="*/ 70 h 442"/>
                <a:gd name="T4" fmla="*/ 202 w 617"/>
                <a:gd name="T5" fmla="*/ 68 h 442"/>
                <a:gd name="T6" fmla="*/ 195 w 617"/>
                <a:gd name="T7" fmla="*/ 67 h 442"/>
                <a:gd name="T8" fmla="*/ 174 w 617"/>
                <a:gd name="T9" fmla="*/ 61 h 442"/>
                <a:gd name="T10" fmla="*/ 137 w 617"/>
                <a:gd name="T11" fmla="*/ 44 h 442"/>
                <a:gd name="T12" fmla="*/ 84 w 617"/>
                <a:gd name="T13" fmla="*/ 16 h 442"/>
                <a:gd name="T14" fmla="*/ 53 w 617"/>
                <a:gd name="T15" fmla="*/ 2 h 442"/>
                <a:gd name="T16" fmla="*/ 40 w 617"/>
                <a:gd name="T17" fmla="*/ 0 h 442"/>
                <a:gd name="T18" fmla="*/ 37 w 617"/>
                <a:gd name="T19" fmla="*/ 2 h 442"/>
                <a:gd name="T20" fmla="*/ 22 w 617"/>
                <a:gd name="T21" fmla="*/ 38 h 442"/>
                <a:gd name="T22" fmla="*/ 1 w 617"/>
                <a:gd name="T23" fmla="*/ 91 h 442"/>
                <a:gd name="T24" fmla="*/ 19 w 617"/>
                <a:gd name="T25" fmla="*/ 113 h 442"/>
                <a:gd name="T26" fmla="*/ 38 w 617"/>
                <a:gd name="T27" fmla="*/ 147 h 442"/>
                <a:gd name="T28" fmla="*/ 47 w 617"/>
                <a:gd name="T29" fmla="*/ 169 h 442"/>
                <a:gd name="T30" fmla="*/ 52 w 617"/>
                <a:gd name="T31" fmla="*/ 191 h 442"/>
                <a:gd name="T32" fmla="*/ 55 w 617"/>
                <a:gd name="T33" fmla="*/ 216 h 442"/>
                <a:gd name="T34" fmla="*/ 53 w 617"/>
                <a:gd name="T35" fmla="*/ 235 h 442"/>
                <a:gd name="T36" fmla="*/ 48 w 617"/>
                <a:gd name="T37" fmla="*/ 265 h 442"/>
                <a:gd name="T38" fmla="*/ 42 w 617"/>
                <a:gd name="T39" fmla="*/ 283 h 442"/>
                <a:gd name="T40" fmla="*/ 32 w 617"/>
                <a:gd name="T41" fmla="*/ 304 h 442"/>
                <a:gd name="T42" fmla="*/ 19 w 617"/>
                <a:gd name="T43" fmla="*/ 324 h 442"/>
                <a:gd name="T44" fmla="*/ 0 w 617"/>
                <a:gd name="T45" fmla="*/ 345 h 442"/>
                <a:gd name="T46" fmla="*/ 23 w 617"/>
                <a:gd name="T47" fmla="*/ 391 h 442"/>
                <a:gd name="T48" fmla="*/ 47 w 617"/>
                <a:gd name="T49" fmla="*/ 435 h 442"/>
                <a:gd name="T50" fmla="*/ 52 w 617"/>
                <a:gd name="T51" fmla="*/ 442 h 442"/>
                <a:gd name="T52" fmla="*/ 84 w 617"/>
                <a:gd name="T53" fmla="*/ 423 h 442"/>
                <a:gd name="T54" fmla="*/ 129 w 617"/>
                <a:gd name="T55" fmla="*/ 400 h 442"/>
                <a:gd name="T56" fmla="*/ 183 w 617"/>
                <a:gd name="T57" fmla="*/ 378 h 442"/>
                <a:gd name="T58" fmla="*/ 211 w 617"/>
                <a:gd name="T59" fmla="*/ 371 h 442"/>
                <a:gd name="T60" fmla="*/ 224 w 617"/>
                <a:gd name="T61" fmla="*/ 369 h 442"/>
                <a:gd name="T62" fmla="*/ 330 w 617"/>
                <a:gd name="T63" fmla="*/ 36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7" h="442">
                  <a:moveTo>
                    <a:pt x="330" y="363"/>
                  </a:moveTo>
                  <a:lnTo>
                    <a:pt x="617" y="73"/>
                  </a:lnTo>
                  <a:lnTo>
                    <a:pt x="617" y="73"/>
                  </a:lnTo>
                  <a:lnTo>
                    <a:pt x="433" y="70"/>
                  </a:lnTo>
                  <a:lnTo>
                    <a:pt x="324" y="69"/>
                  </a:lnTo>
                  <a:lnTo>
                    <a:pt x="202" y="68"/>
                  </a:lnTo>
                  <a:lnTo>
                    <a:pt x="202" y="68"/>
                  </a:lnTo>
                  <a:lnTo>
                    <a:pt x="195" y="67"/>
                  </a:lnTo>
                  <a:lnTo>
                    <a:pt x="185" y="65"/>
                  </a:lnTo>
                  <a:lnTo>
                    <a:pt x="174" y="61"/>
                  </a:lnTo>
                  <a:lnTo>
                    <a:pt x="163" y="56"/>
                  </a:lnTo>
                  <a:lnTo>
                    <a:pt x="137" y="44"/>
                  </a:lnTo>
                  <a:lnTo>
                    <a:pt x="110" y="30"/>
                  </a:lnTo>
                  <a:lnTo>
                    <a:pt x="84" y="16"/>
                  </a:lnTo>
                  <a:lnTo>
                    <a:pt x="63" y="6"/>
                  </a:lnTo>
                  <a:lnTo>
                    <a:pt x="53" y="2"/>
                  </a:lnTo>
                  <a:lnTo>
                    <a:pt x="45" y="1"/>
                  </a:lnTo>
                  <a:lnTo>
                    <a:pt x="40" y="0"/>
                  </a:lnTo>
                  <a:lnTo>
                    <a:pt x="38" y="1"/>
                  </a:lnTo>
                  <a:lnTo>
                    <a:pt x="37" y="2"/>
                  </a:lnTo>
                  <a:lnTo>
                    <a:pt x="37" y="2"/>
                  </a:lnTo>
                  <a:lnTo>
                    <a:pt x="22" y="38"/>
                  </a:lnTo>
                  <a:lnTo>
                    <a:pt x="1" y="91"/>
                  </a:lnTo>
                  <a:lnTo>
                    <a:pt x="1" y="91"/>
                  </a:lnTo>
                  <a:lnTo>
                    <a:pt x="10" y="101"/>
                  </a:lnTo>
                  <a:lnTo>
                    <a:pt x="19" y="113"/>
                  </a:lnTo>
                  <a:lnTo>
                    <a:pt x="29" y="129"/>
                  </a:lnTo>
                  <a:lnTo>
                    <a:pt x="38" y="147"/>
                  </a:lnTo>
                  <a:lnTo>
                    <a:pt x="43" y="157"/>
                  </a:lnTo>
                  <a:lnTo>
                    <a:pt x="47" y="169"/>
                  </a:lnTo>
                  <a:lnTo>
                    <a:pt x="50" y="180"/>
                  </a:lnTo>
                  <a:lnTo>
                    <a:pt x="52" y="191"/>
                  </a:lnTo>
                  <a:lnTo>
                    <a:pt x="55" y="203"/>
                  </a:lnTo>
                  <a:lnTo>
                    <a:pt x="55" y="216"/>
                  </a:lnTo>
                  <a:lnTo>
                    <a:pt x="55" y="216"/>
                  </a:lnTo>
                  <a:lnTo>
                    <a:pt x="53" y="235"/>
                  </a:lnTo>
                  <a:lnTo>
                    <a:pt x="51" y="248"/>
                  </a:lnTo>
                  <a:lnTo>
                    <a:pt x="48" y="265"/>
                  </a:lnTo>
                  <a:lnTo>
                    <a:pt x="45" y="274"/>
                  </a:lnTo>
                  <a:lnTo>
                    <a:pt x="42" y="283"/>
                  </a:lnTo>
                  <a:lnTo>
                    <a:pt x="38" y="293"/>
                  </a:lnTo>
                  <a:lnTo>
                    <a:pt x="32" y="304"/>
                  </a:lnTo>
                  <a:lnTo>
                    <a:pt x="26" y="313"/>
                  </a:lnTo>
                  <a:lnTo>
                    <a:pt x="19" y="324"/>
                  </a:lnTo>
                  <a:lnTo>
                    <a:pt x="11" y="334"/>
                  </a:lnTo>
                  <a:lnTo>
                    <a:pt x="0" y="345"/>
                  </a:lnTo>
                  <a:lnTo>
                    <a:pt x="0" y="345"/>
                  </a:lnTo>
                  <a:lnTo>
                    <a:pt x="23" y="391"/>
                  </a:lnTo>
                  <a:lnTo>
                    <a:pt x="40" y="423"/>
                  </a:lnTo>
                  <a:lnTo>
                    <a:pt x="47" y="435"/>
                  </a:lnTo>
                  <a:lnTo>
                    <a:pt x="52" y="442"/>
                  </a:lnTo>
                  <a:lnTo>
                    <a:pt x="52" y="442"/>
                  </a:lnTo>
                  <a:lnTo>
                    <a:pt x="67" y="433"/>
                  </a:lnTo>
                  <a:lnTo>
                    <a:pt x="84" y="423"/>
                  </a:lnTo>
                  <a:lnTo>
                    <a:pt x="105" y="412"/>
                  </a:lnTo>
                  <a:lnTo>
                    <a:pt x="129" y="400"/>
                  </a:lnTo>
                  <a:lnTo>
                    <a:pt x="156" y="388"/>
                  </a:lnTo>
                  <a:lnTo>
                    <a:pt x="183" y="378"/>
                  </a:lnTo>
                  <a:lnTo>
                    <a:pt x="198" y="374"/>
                  </a:lnTo>
                  <a:lnTo>
                    <a:pt x="211" y="371"/>
                  </a:lnTo>
                  <a:lnTo>
                    <a:pt x="211" y="371"/>
                  </a:lnTo>
                  <a:lnTo>
                    <a:pt x="224" y="369"/>
                  </a:lnTo>
                  <a:lnTo>
                    <a:pt x="248" y="367"/>
                  </a:lnTo>
                  <a:lnTo>
                    <a:pt x="330" y="36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89" name="Freeform 42"/>
            <p:cNvSpPr>
              <a:spLocks/>
            </p:cNvSpPr>
            <p:nvPr userDrawn="1"/>
          </p:nvSpPr>
          <p:spPr bwMode="auto">
            <a:xfrm>
              <a:off x="6045446" y="366879"/>
              <a:ext cx="158749" cy="127000"/>
            </a:xfrm>
            <a:custGeom>
              <a:avLst/>
              <a:gdLst>
                <a:gd name="T0" fmla="*/ 1179 w 1207"/>
                <a:gd name="T1" fmla="*/ 480 h 962"/>
                <a:gd name="T2" fmla="*/ 1115 w 1207"/>
                <a:gd name="T3" fmla="*/ 496 h 962"/>
                <a:gd name="T4" fmla="*/ 1079 w 1207"/>
                <a:gd name="T5" fmla="*/ 532 h 962"/>
                <a:gd name="T6" fmla="*/ 1057 w 1207"/>
                <a:gd name="T7" fmla="*/ 600 h 962"/>
                <a:gd name="T8" fmla="*/ 1046 w 1207"/>
                <a:gd name="T9" fmla="*/ 585 h 962"/>
                <a:gd name="T10" fmla="*/ 1007 w 1207"/>
                <a:gd name="T11" fmla="*/ 556 h 962"/>
                <a:gd name="T12" fmla="*/ 935 w 1207"/>
                <a:gd name="T13" fmla="*/ 562 h 962"/>
                <a:gd name="T14" fmla="*/ 930 w 1207"/>
                <a:gd name="T15" fmla="*/ 613 h 962"/>
                <a:gd name="T16" fmla="*/ 935 w 1207"/>
                <a:gd name="T17" fmla="*/ 696 h 962"/>
                <a:gd name="T18" fmla="*/ 890 w 1207"/>
                <a:gd name="T19" fmla="*/ 725 h 962"/>
                <a:gd name="T20" fmla="*/ 842 w 1207"/>
                <a:gd name="T21" fmla="*/ 709 h 962"/>
                <a:gd name="T22" fmla="*/ 816 w 1207"/>
                <a:gd name="T23" fmla="*/ 658 h 962"/>
                <a:gd name="T24" fmla="*/ 805 w 1207"/>
                <a:gd name="T25" fmla="*/ 643 h 962"/>
                <a:gd name="T26" fmla="*/ 749 w 1207"/>
                <a:gd name="T27" fmla="*/ 659 h 962"/>
                <a:gd name="T28" fmla="*/ 701 w 1207"/>
                <a:gd name="T29" fmla="*/ 634 h 962"/>
                <a:gd name="T30" fmla="*/ 694 w 1207"/>
                <a:gd name="T31" fmla="*/ 581 h 962"/>
                <a:gd name="T32" fmla="*/ 754 w 1207"/>
                <a:gd name="T33" fmla="*/ 540 h 962"/>
                <a:gd name="T34" fmla="*/ 824 w 1207"/>
                <a:gd name="T35" fmla="*/ 520 h 962"/>
                <a:gd name="T36" fmla="*/ 805 w 1207"/>
                <a:gd name="T37" fmla="*/ 460 h 962"/>
                <a:gd name="T38" fmla="*/ 764 w 1207"/>
                <a:gd name="T39" fmla="*/ 421 h 962"/>
                <a:gd name="T40" fmla="*/ 698 w 1207"/>
                <a:gd name="T41" fmla="*/ 414 h 962"/>
                <a:gd name="T42" fmla="*/ 672 w 1207"/>
                <a:gd name="T43" fmla="*/ 415 h 962"/>
                <a:gd name="T44" fmla="*/ 712 w 1207"/>
                <a:gd name="T45" fmla="*/ 360 h 962"/>
                <a:gd name="T46" fmla="*/ 709 w 1207"/>
                <a:gd name="T47" fmla="*/ 285 h 962"/>
                <a:gd name="T48" fmla="*/ 668 w 1207"/>
                <a:gd name="T49" fmla="*/ 214 h 962"/>
                <a:gd name="T50" fmla="*/ 606 w 1207"/>
                <a:gd name="T51" fmla="*/ 224 h 962"/>
                <a:gd name="T52" fmla="*/ 535 w 1207"/>
                <a:gd name="T53" fmla="*/ 272 h 962"/>
                <a:gd name="T54" fmla="*/ 516 w 1207"/>
                <a:gd name="T55" fmla="*/ 334 h 962"/>
                <a:gd name="T56" fmla="*/ 508 w 1207"/>
                <a:gd name="T57" fmla="*/ 341 h 962"/>
                <a:gd name="T58" fmla="*/ 458 w 1207"/>
                <a:gd name="T59" fmla="*/ 287 h 962"/>
                <a:gd name="T60" fmla="*/ 404 w 1207"/>
                <a:gd name="T61" fmla="*/ 278 h 962"/>
                <a:gd name="T62" fmla="*/ 345 w 1207"/>
                <a:gd name="T63" fmla="*/ 300 h 962"/>
                <a:gd name="T64" fmla="*/ 362 w 1207"/>
                <a:gd name="T65" fmla="*/ 357 h 962"/>
                <a:gd name="T66" fmla="*/ 382 w 1207"/>
                <a:gd name="T67" fmla="*/ 432 h 962"/>
                <a:gd name="T68" fmla="*/ 347 w 1207"/>
                <a:gd name="T69" fmla="*/ 472 h 962"/>
                <a:gd name="T70" fmla="*/ 292 w 1207"/>
                <a:gd name="T71" fmla="*/ 462 h 962"/>
                <a:gd name="T72" fmla="*/ 262 w 1207"/>
                <a:gd name="T73" fmla="*/ 417 h 962"/>
                <a:gd name="T74" fmla="*/ 249 w 1207"/>
                <a:gd name="T75" fmla="*/ 398 h 962"/>
                <a:gd name="T76" fmla="*/ 194 w 1207"/>
                <a:gd name="T77" fmla="*/ 421 h 962"/>
                <a:gd name="T78" fmla="*/ 147 w 1207"/>
                <a:gd name="T79" fmla="*/ 404 h 962"/>
                <a:gd name="T80" fmla="*/ 128 w 1207"/>
                <a:gd name="T81" fmla="*/ 354 h 962"/>
                <a:gd name="T82" fmla="*/ 178 w 1207"/>
                <a:gd name="T83" fmla="*/ 300 h 962"/>
                <a:gd name="T84" fmla="*/ 233 w 1207"/>
                <a:gd name="T85" fmla="*/ 262 h 962"/>
                <a:gd name="T86" fmla="*/ 195 w 1207"/>
                <a:gd name="T87" fmla="*/ 203 h 962"/>
                <a:gd name="T88" fmla="*/ 145 w 1207"/>
                <a:gd name="T89" fmla="*/ 185 h 962"/>
                <a:gd name="T90" fmla="*/ 115 w 1207"/>
                <a:gd name="T91" fmla="*/ 191 h 962"/>
                <a:gd name="T92" fmla="*/ 153 w 1207"/>
                <a:gd name="T93" fmla="*/ 136 h 962"/>
                <a:gd name="T94" fmla="*/ 157 w 1207"/>
                <a:gd name="T95" fmla="*/ 76 h 962"/>
                <a:gd name="T96" fmla="*/ 134 w 1207"/>
                <a:gd name="T97" fmla="*/ 28 h 962"/>
                <a:gd name="T98" fmla="*/ 269 w 1207"/>
                <a:gd name="T99" fmla="*/ 712 h 962"/>
                <a:gd name="T100" fmla="*/ 354 w 1207"/>
                <a:gd name="T101" fmla="*/ 656 h 962"/>
                <a:gd name="T102" fmla="*/ 437 w 1207"/>
                <a:gd name="T103" fmla="*/ 636 h 962"/>
                <a:gd name="T104" fmla="*/ 517 w 1207"/>
                <a:gd name="T105" fmla="*/ 643 h 962"/>
                <a:gd name="T106" fmla="*/ 610 w 1207"/>
                <a:gd name="T107" fmla="*/ 683 h 962"/>
                <a:gd name="T108" fmla="*/ 658 w 1207"/>
                <a:gd name="T109" fmla="*/ 735 h 962"/>
                <a:gd name="T110" fmla="*/ 673 w 1207"/>
                <a:gd name="T111" fmla="*/ 793 h 962"/>
                <a:gd name="T112" fmla="*/ 646 w 1207"/>
                <a:gd name="T113" fmla="*/ 877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7" h="962">
                  <a:moveTo>
                    <a:pt x="841" y="962"/>
                  </a:moveTo>
                  <a:lnTo>
                    <a:pt x="1207" y="484"/>
                  </a:lnTo>
                  <a:lnTo>
                    <a:pt x="1207" y="484"/>
                  </a:lnTo>
                  <a:lnTo>
                    <a:pt x="1200" y="482"/>
                  </a:lnTo>
                  <a:lnTo>
                    <a:pt x="1190" y="481"/>
                  </a:lnTo>
                  <a:lnTo>
                    <a:pt x="1179" y="480"/>
                  </a:lnTo>
                  <a:lnTo>
                    <a:pt x="1166" y="480"/>
                  </a:lnTo>
                  <a:lnTo>
                    <a:pt x="1149" y="483"/>
                  </a:lnTo>
                  <a:lnTo>
                    <a:pt x="1141" y="485"/>
                  </a:lnTo>
                  <a:lnTo>
                    <a:pt x="1133" y="488"/>
                  </a:lnTo>
                  <a:lnTo>
                    <a:pt x="1124" y="492"/>
                  </a:lnTo>
                  <a:lnTo>
                    <a:pt x="1115" y="496"/>
                  </a:lnTo>
                  <a:lnTo>
                    <a:pt x="1115" y="496"/>
                  </a:lnTo>
                  <a:lnTo>
                    <a:pt x="1106" y="502"/>
                  </a:lnTo>
                  <a:lnTo>
                    <a:pt x="1097" y="508"/>
                  </a:lnTo>
                  <a:lnTo>
                    <a:pt x="1090" y="515"/>
                  </a:lnTo>
                  <a:lnTo>
                    <a:pt x="1084" y="523"/>
                  </a:lnTo>
                  <a:lnTo>
                    <a:pt x="1079" y="532"/>
                  </a:lnTo>
                  <a:lnTo>
                    <a:pt x="1074" y="540"/>
                  </a:lnTo>
                  <a:lnTo>
                    <a:pt x="1070" y="548"/>
                  </a:lnTo>
                  <a:lnTo>
                    <a:pt x="1067" y="557"/>
                  </a:lnTo>
                  <a:lnTo>
                    <a:pt x="1062" y="574"/>
                  </a:lnTo>
                  <a:lnTo>
                    <a:pt x="1058" y="589"/>
                  </a:lnTo>
                  <a:lnTo>
                    <a:pt x="1057" y="600"/>
                  </a:lnTo>
                  <a:lnTo>
                    <a:pt x="1058" y="605"/>
                  </a:lnTo>
                  <a:lnTo>
                    <a:pt x="1059" y="608"/>
                  </a:lnTo>
                  <a:lnTo>
                    <a:pt x="1059" y="608"/>
                  </a:lnTo>
                  <a:lnTo>
                    <a:pt x="1055" y="599"/>
                  </a:lnTo>
                  <a:lnTo>
                    <a:pt x="1051" y="592"/>
                  </a:lnTo>
                  <a:lnTo>
                    <a:pt x="1046" y="585"/>
                  </a:lnTo>
                  <a:lnTo>
                    <a:pt x="1041" y="579"/>
                  </a:lnTo>
                  <a:lnTo>
                    <a:pt x="1036" y="574"/>
                  </a:lnTo>
                  <a:lnTo>
                    <a:pt x="1031" y="568"/>
                  </a:lnTo>
                  <a:lnTo>
                    <a:pt x="1025" y="564"/>
                  </a:lnTo>
                  <a:lnTo>
                    <a:pt x="1020" y="561"/>
                  </a:lnTo>
                  <a:lnTo>
                    <a:pt x="1007" y="556"/>
                  </a:lnTo>
                  <a:lnTo>
                    <a:pt x="994" y="554"/>
                  </a:lnTo>
                  <a:lnTo>
                    <a:pt x="982" y="553"/>
                  </a:lnTo>
                  <a:lnTo>
                    <a:pt x="970" y="554"/>
                  </a:lnTo>
                  <a:lnTo>
                    <a:pt x="957" y="556"/>
                  </a:lnTo>
                  <a:lnTo>
                    <a:pt x="946" y="558"/>
                  </a:lnTo>
                  <a:lnTo>
                    <a:pt x="935" y="562"/>
                  </a:lnTo>
                  <a:lnTo>
                    <a:pt x="927" y="565"/>
                  </a:lnTo>
                  <a:lnTo>
                    <a:pt x="913" y="572"/>
                  </a:lnTo>
                  <a:lnTo>
                    <a:pt x="908" y="574"/>
                  </a:lnTo>
                  <a:lnTo>
                    <a:pt x="908" y="574"/>
                  </a:lnTo>
                  <a:lnTo>
                    <a:pt x="920" y="594"/>
                  </a:lnTo>
                  <a:lnTo>
                    <a:pt x="930" y="613"/>
                  </a:lnTo>
                  <a:lnTo>
                    <a:pt x="936" y="632"/>
                  </a:lnTo>
                  <a:lnTo>
                    <a:pt x="940" y="647"/>
                  </a:lnTo>
                  <a:lnTo>
                    <a:pt x="941" y="663"/>
                  </a:lnTo>
                  <a:lnTo>
                    <a:pt x="941" y="675"/>
                  </a:lnTo>
                  <a:lnTo>
                    <a:pt x="939" y="687"/>
                  </a:lnTo>
                  <a:lnTo>
                    <a:pt x="935" y="696"/>
                  </a:lnTo>
                  <a:lnTo>
                    <a:pt x="930" y="705"/>
                  </a:lnTo>
                  <a:lnTo>
                    <a:pt x="924" y="712"/>
                  </a:lnTo>
                  <a:lnTo>
                    <a:pt x="915" y="718"/>
                  </a:lnTo>
                  <a:lnTo>
                    <a:pt x="907" y="722"/>
                  </a:lnTo>
                  <a:lnTo>
                    <a:pt x="899" y="724"/>
                  </a:lnTo>
                  <a:lnTo>
                    <a:pt x="890" y="725"/>
                  </a:lnTo>
                  <a:lnTo>
                    <a:pt x="881" y="725"/>
                  </a:lnTo>
                  <a:lnTo>
                    <a:pt x="871" y="724"/>
                  </a:lnTo>
                  <a:lnTo>
                    <a:pt x="871" y="724"/>
                  </a:lnTo>
                  <a:lnTo>
                    <a:pt x="859" y="720"/>
                  </a:lnTo>
                  <a:lnTo>
                    <a:pt x="850" y="715"/>
                  </a:lnTo>
                  <a:lnTo>
                    <a:pt x="842" y="709"/>
                  </a:lnTo>
                  <a:lnTo>
                    <a:pt x="835" y="702"/>
                  </a:lnTo>
                  <a:lnTo>
                    <a:pt x="829" y="695"/>
                  </a:lnTo>
                  <a:lnTo>
                    <a:pt x="825" y="688"/>
                  </a:lnTo>
                  <a:lnTo>
                    <a:pt x="821" y="680"/>
                  </a:lnTo>
                  <a:lnTo>
                    <a:pt x="819" y="673"/>
                  </a:lnTo>
                  <a:lnTo>
                    <a:pt x="816" y="658"/>
                  </a:lnTo>
                  <a:lnTo>
                    <a:pt x="816" y="646"/>
                  </a:lnTo>
                  <a:lnTo>
                    <a:pt x="816" y="638"/>
                  </a:lnTo>
                  <a:lnTo>
                    <a:pt x="816" y="635"/>
                  </a:lnTo>
                  <a:lnTo>
                    <a:pt x="816" y="635"/>
                  </a:lnTo>
                  <a:lnTo>
                    <a:pt x="813" y="637"/>
                  </a:lnTo>
                  <a:lnTo>
                    <a:pt x="805" y="643"/>
                  </a:lnTo>
                  <a:lnTo>
                    <a:pt x="793" y="650"/>
                  </a:lnTo>
                  <a:lnTo>
                    <a:pt x="785" y="653"/>
                  </a:lnTo>
                  <a:lnTo>
                    <a:pt x="777" y="656"/>
                  </a:lnTo>
                  <a:lnTo>
                    <a:pt x="768" y="658"/>
                  </a:lnTo>
                  <a:lnTo>
                    <a:pt x="759" y="659"/>
                  </a:lnTo>
                  <a:lnTo>
                    <a:pt x="749" y="659"/>
                  </a:lnTo>
                  <a:lnTo>
                    <a:pt x="739" y="658"/>
                  </a:lnTo>
                  <a:lnTo>
                    <a:pt x="729" y="655"/>
                  </a:lnTo>
                  <a:lnTo>
                    <a:pt x="720" y="650"/>
                  </a:lnTo>
                  <a:lnTo>
                    <a:pt x="710" y="643"/>
                  </a:lnTo>
                  <a:lnTo>
                    <a:pt x="701" y="634"/>
                  </a:lnTo>
                  <a:lnTo>
                    <a:pt x="701" y="634"/>
                  </a:lnTo>
                  <a:lnTo>
                    <a:pt x="694" y="625"/>
                  </a:lnTo>
                  <a:lnTo>
                    <a:pt x="690" y="616"/>
                  </a:lnTo>
                  <a:lnTo>
                    <a:pt x="688" y="607"/>
                  </a:lnTo>
                  <a:lnTo>
                    <a:pt x="689" y="598"/>
                  </a:lnTo>
                  <a:lnTo>
                    <a:pt x="690" y="589"/>
                  </a:lnTo>
                  <a:lnTo>
                    <a:pt x="694" y="581"/>
                  </a:lnTo>
                  <a:lnTo>
                    <a:pt x="701" y="572"/>
                  </a:lnTo>
                  <a:lnTo>
                    <a:pt x="708" y="564"/>
                  </a:lnTo>
                  <a:lnTo>
                    <a:pt x="717" y="557"/>
                  </a:lnTo>
                  <a:lnTo>
                    <a:pt x="727" y="550"/>
                  </a:lnTo>
                  <a:lnTo>
                    <a:pt x="740" y="544"/>
                  </a:lnTo>
                  <a:lnTo>
                    <a:pt x="754" y="540"/>
                  </a:lnTo>
                  <a:lnTo>
                    <a:pt x="769" y="536"/>
                  </a:lnTo>
                  <a:lnTo>
                    <a:pt x="786" y="533"/>
                  </a:lnTo>
                  <a:lnTo>
                    <a:pt x="804" y="532"/>
                  </a:lnTo>
                  <a:lnTo>
                    <a:pt x="823" y="531"/>
                  </a:lnTo>
                  <a:lnTo>
                    <a:pt x="823" y="531"/>
                  </a:lnTo>
                  <a:lnTo>
                    <a:pt x="824" y="520"/>
                  </a:lnTo>
                  <a:lnTo>
                    <a:pt x="823" y="509"/>
                  </a:lnTo>
                  <a:lnTo>
                    <a:pt x="820" y="494"/>
                  </a:lnTo>
                  <a:lnTo>
                    <a:pt x="817" y="486"/>
                  </a:lnTo>
                  <a:lnTo>
                    <a:pt x="814" y="477"/>
                  </a:lnTo>
                  <a:lnTo>
                    <a:pt x="810" y="469"/>
                  </a:lnTo>
                  <a:lnTo>
                    <a:pt x="805" y="460"/>
                  </a:lnTo>
                  <a:lnTo>
                    <a:pt x="799" y="451"/>
                  </a:lnTo>
                  <a:lnTo>
                    <a:pt x="792" y="443"/>
                  </a:lnTo>
                  <a:lnTo>
                    <a:pt x="782" y="435"/>
                  </a:lnTo>
                  <a:lnTo>
                    <a:pt x="772" y="426"/>
                  </a:lnTo>
                  <a:lnTo>
                    <a:pt x="772" y="426"/>
                  </a:lnTo>
                  <a:lnTo>
                    <a:pt x="764" y="421"/>
                  </a:lnTo>
                  <a:lnTo>
                    <a:pt x="755" y="417"/>
                  </a:lnTo>
                  <a:lnTo>
                    <a:pt x="745" y="415"/>
                  </a:lnTo>
                  <a:lnTo>
                    <a:pt x="735" y="413"/>
                  </a:lnTo>
                  <a:lnTo>
                    <a:pt x="725" y="412"/>
                  </a:lnTo>
                  <a:lnTo>
                    <a:pt x="716" y="412"/>
                  </a:lnTo>
                  <a:lnTo>
                    <a:pt x="698" y="414"/>
                  </a:lnTo>
                  <a:lnTo>
                    <a:pt x="681" y="418"/>
                  </a:lnTo>
                  <a:lnTo>
                    <a:pt x="668" y="421"/>
                  </a:lnTo>
                  <a:lnTo>
                    <a:pt x="657" y="425"/>
                  </a:lnTo>
                  <a:lnTo>
                    <a:pt x="657" y="425"/>
                  </a:lnTo>
                  <a:lnTo>
                    <a:pt x="664" y="421"/>
                  </a:lnTo>
                  <a:lnTo>
                    <a:pt x="672" y="415"/>
                  </a:lnTo>
                  <a:lnTo>
                    <a:pt x="681" y="408"/>
                  </a:lnTo>
                  <a:lnTo>
                    <a:pt x="691" y="397"/>
                  </a:lnTo>
                  <a:lnTo>
                    <a:pt x="701" y="384"/>
                  </a:lnTo>
                  <a:lnTo>
                    <a:pt x="705" y="376"/>
                  </a:lnTo>
                  <a:lnTo>
                    <a:pt x="709" y="369"/>
                  </a:lnTo>
                  <a:lnTo>
                    <a:pt x="712" y="360"/>
                  </a:lnTo>
                  <a:lnTo>
                    <a:pt x="714" y="351"/>
                  </a:lnTo>
                  <a:lnTo>
                    <a:pt x="714" y="351"/>
                  </a:lnTo>
                  <a:lnTo>
                    <a:pt x="716" y="336"/>
                  </a:lnTo>
                  <a:lnTo>
                    <a:pt x="715" y="320"/>
                  </a:lnTo>
                  <a:lnTo>
                    <a:pt x="713" y="303"/>
                  </a:lnTo>
                  <a:lnTo>
                    <a:pt x="709" y="285"/>
                  </a:lnTo>
                  <a:lnTo>
                    <a:pt x="702" y="267"/>
                  </a:lnTo>
                  <a:lnTo>
                    <a:pt x="693" y="249"/>
                  </a:lnTo>
                  <a:lnTo>
                    <a:pt x="682" y="232"/>
                  </a:lnTo>
                  <a:lnTo>
                    <a:pt x="676" y="223"/>
                  </a:lnTo>
                  <a:lnTo>
                    <a:pt x="669" y="216"/>
                  </a:lnTo>
                  <a:lnTo>
                    <a:pt x="668" y="214"/>
                  </a:lnTo>
                  <a:lnTo>
                    <a:pt x="665" y="214"/>
                  </a:lnTo>
                  <a:lnTo>
                    <a:pt x="665" y="214"/>
                  </a:lnTo>
                  <a:lnTo>
                    <a:pt x="655" y="214"/>
                  </a:lnTo>
                  <a:lnTo>
                    <a:pt x="644" y="215"/>
                  </a:lnTo>
                  <a:lnTo>
                    <a:pt x="624" y="219"/>
                  </a:lnTo>
                  <a:lnTo>
                    <a:pt x="606" y="224"/>
                  </a:lnTo>
                  <a:lnTo>
                    <a:pt x="587" y="232"/>
                  </a:lnTo>
                  <a:lnTo>
                    <a:pt x="572" y="240"/>
                  </a:lnTo>
                  <a:lnTo>
                    <a:pt x="557" y="250"/>
                  </a:lnTo>
                  <a:lnTo>
                    <a:pt x="545" y="261"/>
                  </a:lnTo>
                  <a:lnTo>
                    <a:pt x="535" y="272"/>
                  </a:lnTo>
                  <a:lnTo>
                    <a:pt x="535" y="272"/>
                  </a:lnTo>
                  <a:lnTo>
                    <a:pt x="530" y="280"/>
                  </a:lnTo>
                  <a:lnTo>
                    <a:pt x="526" y="288"/>
                  </a:lnTo>
                  <a:lnTo>
                    <a:pt x="523" y="297"/>
                  </a:lnTo>
                  <a:lnTo>
                    <a:pt x="520" y="305"/>
                  </a:lnTo>
                  <a:lnTo>
                    <a:pt x="517" y="320"/>
                  </a:lnTo>
                  <a:lnTo>
                    <a:pt x="516" y="334"/>
                  </a:lnTo>
                  <a:lnTo>
                    <a:pt x="516" y="347"/>
                  </a:lnTo>
                  <a:lnTo>
                    <a:pt x="517" y="357"/>
                  </a:lnTo>
                  <a:lnTo>
                    <a:pt x="519" y="365"/>
                  </a:lnTo>
                  <a:lnTo>
                    <a:pt x="519" y="365"/>
                  </a:lnTo>
                  <a:lnTo>
                    <a:pt x="513" y="354"/>
                  </a:lnTo>
                  <a:lnTo>
                    <a:pt x="508" y="341"/>
                  </a:lnTo>
                  <a:lnTo>
                    <a:pt x="499" y="327"/>
                  </a:lnTo>
                  <a:lnTo>
                    <a:pt x="488" y="313"/>
                  </a:lnTo>
                  <a:lnTo>
                    <a:pt x="482" y="306"/>
                  </a:lnTo>
                  <a:lnTo>
                    <a:pt x="475" y="299"/>
                  </a:lnTo>
                  <a:lnTo>
                    <a:pt x="467" y="292"/>
                  </a:lnTo>
                  <a:lnTo>
                    <a:pt x="458" y="287"/>
                  </a:lnTo>
                  <a:lnTo>
                    <a:pt x="450" y="283"/>
                  </a:lnTo>
                  <a:lnTo>
                    <a:pt x="440" y="281"/>
                  </a:lnTo>
                  <a:lnTo>
                    <a:pt x="440" y="281"/>
                  </a:lnTo>
                  <a:lnTo>
                    <a:pt x="428" y="278"/>
                  </a:lnTo>
                  <a:lnTo>
                    <a:pt x="415" y="278"/>
                  </a:lnTo>
                  <a:lnTo>
                    <a:pt x="404" y="278"/>
                  </a:lnTo>
                  <a:lnTo>
                    <a:pt x="393" y="279"/>
                  </a:lnTo>
                  <a:lnTo>
                    <a:pt x="384" y="281"/>
                  </a:lnTo>
                  <a:lnTo>
                    <a:pt x="374" y="284"/>
                  </a:lnTo>
                  <a:lnTo>
                    <a:pt x="365" y="287"/>
                  </a:lnTo>
                  <a:lnTo>
                    <a:pt x="358" y="291"/>
                  </a:lnTo>
                  <a:lnTo>
                    <a:pt x="345" y="300"/>
                  </a:lnTo>
                  <a:lnTo>
                    <a:pt x="336" y="307"/>
                  </a:lnTo>
                  <a:lnTo>
                    <a:pt x="328" y="314"/>
                  </a:lnTo>
                  <a:lnTo>
                    <a:pt x="328" y="314"/>
                  </a:lnTo>
                  <a:lnTo>
                    <a:pt x="342" y="328"/>
                  </a:lnTo>
                  <a:lnTo>
                    <a:pt x="353" y="343"/>
                  </a:lnTo>
                  <a:lnTo>
                    <a:pt x="362" y="357"/>
                  </a:lnTo>
                  <a:lnTo>
                    <a:pt x="369" y="371"/>
                  </a:lnTo>
                  <a:lnTo>
                    <a:pt x="375" y="384"/>
                  </a:lnTo>
                  <a:lnTo>
                    <a:pt x="380" y="398"/>
                  </a:lnTo>
                  <a:lnTo>
                    <a:pt x="382" y="410"/>
                  </a:lnTo>
                  <a:lnTo>
                    <a:pt x="383" y="421"/>
                  </a:lnTo>
                  <a:lnTo>
                    <a:pt x="382" y="432"/>
                  </a:lnTo>
                  <a:lnTo>
                    <a:pt x="380" y="442"/>
                  </a:lnTo>
                  <a:lnTo>
                    <a:pt x="375" y="451"/>
                  </a:lnTo>
                  <a:lnTo>
                    <a:pt x="370" y="458"/>
                  </a:lnTo>
                  <a:lnTo>
                    <a:pt x="363" y="464"/>
                  </a:lnTo>
                  <a:lnTo>
                    <a:pt x="356" y="469"/>
                  </a:lnTo>
                  <a:lnTo>
                    <a:pt x="347" y="472"/>
                  </a:lnTo>
                  <a:lnTo>
                    <a:pt x="337" y="473"/>
                  </a:lnTo>
                  <a:lnTo>
                    <a:pt x="337" y="473"/>
                  </a:lnTo>
                  <a:lnTo>
                    <a:pt x="322" y="473"/>
                  </a:lnTo>
                  <a:lnTo>
                    <a:pt x="311" y="471"/>
                  </a:lnTo>
                  <a:lnTo>
                    <a:pt x="301" y="467"/>
                  </a:lnTo>
                  <a:lnTo>
                    <a:pt x="292" y="462"/>
                  </a:lnTo>
                  <a:lnTo>
                    <a:pt x="283" y="456"/>
                  </a:lnTo>
                  <a:lnTo>
                    <a:pt x="277" y="449"/>
                  </a:lnTo>
                  <a:lnTo>
                    <a:pt x="272" y="441"/>
                  </a:lnTo>
                  <a:lnTo>
                    <a:pt x="268" y="432"/>
                  </a:lnTo>
                  <a:lnTo>
                    <a:pt x="264" y="424"/>
                  </a:lnTo>
                  <a:lnTo>
                    <a:pt x="262" y="417"/>
                  </a:lnTo>
                  <a:lnTo>
                    <a:pt x="259" y="403"/>
                  </a:lnTo>
                  <a:lnTo>
                    <a:pt x="257" y="393"/>
                  </a:lnTo>
                  <a:lnTo>
                    <a:pt x="257" y="390"/>
                  </a:lnTo>
                  <a:lnTo>
                    <a:pt x="257" y="390"/>
                  </a:lnTo>
                  <a:lnTo>
                    <a:pt x="255" y="392"/>
                  </a:lnTo>
                  <a:lnTo>
                    <a:pt x="249" y="398"/>
                  </a:lnTo>
                  <a:lnTo>
                    <a:pt x="239" y="405"/>
                  </a:lnTo>
                  <a:lnTo>
                    <a:pt x="227" y="413"/>
                  </a:lnTo>
                  <a:lnTo>
                    <a:pt x="220" y="416"/>
                  </a:lnTo>
                  <a:lnTo>
                    <a:pt x="212" y="419"/>
                  </a:lnTo>
                  <a:lnTo>
                    <a:pt x="204" y="420"/>
                  </a:lnTo>
                  <a:lnTo>
                    <a:pt x="194" y="421"/>
                  </a:lnTo>
                  <a:lnTo>
                    <a:pt x="185" y="421"/>
                  </a:lnTo>
                  <a:lnTo>
                    <a:pt x="175" y="419"/>
                  </a:lnTo>
                  <a:lnTo>
                    <a:pt x="165" y="415"/>
                  </a:lnTo>
                  <a:lnTo>
                    <a:pt x="155" y="409"/>
                  </a:lnTo>
                  <a:lnTo>
                    <a:pt x="155" y="409"/>
                  </a:lnTo>
                  <a:lnTo>
                    <a:pt x="147" y="404"/>
                  </a:lnTo>
                  <a:lnTo>
                    <a:pt x="140" y="397"/>
                  </a:lnTo>
                  <a:lnTo>
                    <a:pt x="135" y="390"/>
                  </a:lnTo>
                  <a:lnTo>
                    <a:pt x="131" y="381"/>
                  </a:lnTo>
                  <a:lnTo>
                    <a:pt x="129" y="372"/>
                  </a:lnTo>
                  <a:lnTo>
                    <a:pt x="128" y="363"/>
                  </a:lnTo>
                  <a:lnTo>
                    <a:pt x="128" y="354"/>
                  </a:lnTo>
                  <a:lnTo>
                    <a:pt x="131" y="345"/>
                  </a:lnTo>
                  <a:lnTo>
                    <a:pt x="136" y="334"/>
                  </a:lnTo>
                  <a:lnTo>
                    <a:pt x="142" y="325"/>
                  </a:lnTo>
                  <a:lnTo>
                    <a:pt x="153" y="316"/>
                  </a:lnTo>
                  <a:lnTo>
                    <a:pt x="164" y="308"/>
                  </a:lnTo>
                  <a:lnTo>
                    <a:pt x="178" y="300"/>
                  </a:lnTo>
                  <a:lnTo>
                    <a:pt x="195" y="292"/>
                  </a:lnTo>
                  <a:lnTo>
                    <a:pt x="216" y="286"/>
                  </a:lnTo>
                  <a:lnTo>
                    <a:pt x="239" y="280"/>
                  </a:lnTo>
                  <a:lnTo>
                    <a:pt x="239" y="280"/>
                  </a:lnTo>
                  <a:lnTo>
                    <a:pt x="238" y="275"/>
                  </a:lnTo>
                  <a:lnTo>
                    <a:pt x="233" y="262"/>
                  </a:lnTo>
                  <a:lnTo>
                    <a:pt x="230" y="253"/>
                  </a:lnTo>
                  <a:lnTo>
                    <a:pt x="225" y="242"/>
                  </a:lnTo>
                  <a:lnTo>
                    <a:pt x="220" y="232"/>
                  </a:lnTo>
                  <a:lnTo>
                    <a:pt x="213" y="222"/>
                  </a:lnTo>
                  <a:lnTo>
                    <a:pt x="205" y="213"/>
                  </a:lnTo>
                  <a:lnTo>
                    <a:pt x="195" y="203"/>
                  </a:lnTo>
                  <a:lnTo>
                    <a:pt x="185" y="196"/>
                  </a:lnTo>
                  <a:lnTo>
                    <a:pt x="173" y="190"/>
                  </a:lnTo>
                  <a:lnTo>
                    <a:pt x="167" y="188"/>
                  </a:lnTo>
                  <a:lnTo>
                    <a:pt x="161" y="187"/>
                  </a:lnTo>
                  <a:lnTo>
                    <a:pt x="154" y="186"/>
                  </a:lnTo>
                  <a:lnTo>
                    <a:pt x="145" y="185"/>
                  </a:lnTo>
                  <a:lnTo>
                    <a:pt x="138" y="186"/>
                  </a:lnTo>
                  <a:lnTo>
                    <a:pt x="129" y="187"/>
                  </a:lnTo>
                  <a:lnTo>
                    <a:pt x="121" y="190"/>
                  </a:lnTo>
                  <a:lnTo>
                    <a:pt x="112" y="193"/>
                  </a:lnTo>
                  <a:lnTo>
                    <a:pt x="112" y="193"/>
                  </a:lnTo>
                  <a:lnTo>
                    <a:pt x="115" y="191"/>
                  </a:lnTo>
                  <a:lnTo>
                    <a:pt x="119" y="188"/>
                  </a:lnTo>
                  <a:lnTo>
                    <a:pt x="127" y="180"/>
                  </a:lnTo>
                  <a:lnTo>
                    <a:pt x="136" y="168"/>
                  </a:lnTo>
                  <a:lnTo>
                    <a:pt x="144" y="153"/>
                  </a:lnTo>
                  <a:lnTo>
                    <a:pt x="148" y="144"/>
                  </a:lnTo>
                  <a:lnTo>
                    <a:pt x="153" y="136"/>
                  </a:lnTo>
                  <a:lnTo>
                    <a:pt x="156" y="127"/>
                  </a:lnTo>
                  <a:lnTo>
                    <a:pt x="158" y="117"/>
                  </a:lnTo>
                  <a:lnTo>
                    <a:pt x="159" y="106"/>
                  </a:lnTo>
                  <a:lnTo>
                    <a:pt x="160" y="97"/>
                  </a:lnTo>
                  <a:lnTo>
                    <a:pt x="159" y="86"/>
                  </a:lnTo>
                  <a:lnTo>
                    <a:pt x="157" y="76"/>
                  </a:lnTo>
                  <a:lnTo>
                    <a:pt x="157" y="76"/>
                  </a:lnTo>
                  <a:lnTo>
                    <a:pt x="155" y="66"/>
                  </a:lnTo>
                  <a:lnTo>
                    <a:pt x="150" y="57"/>
                  </a:lnTo>
                  <a:lnTo>
                    <a:pt x="147" y="49"/>
                  </a:lnTo>
                  <a:lnTo>
                    <a:pt x="143" y="41"/>
                  </a:lnTo>
                  <a:lnTo>
                    <a:pt x="134" y="28"/>
                  </a:lnTo>
                  <a:lnTo>
                    <a:pt x="125" y="17"/>
                  </a:lnTo>
                  <a:lnTo>
                    <a:pt x="117" y="9"/>
                  </a:lnTo>
                  <a:lnTo>
                    <a:pt x="110" y="4"/>
                  </a:lnTo>
                  <a:lnTo>
                    <a:pt x="103" y="0"/>
                  </a:lnTo>
                  <a:lnTo>
                    <a:pt x="0" y="593"/>
                  </a:lnTo>
                  <a:lnTo>
                    <a:pt x="269" y="712"/>
                  </a:lnTo>
                  <a:lnTo>
                    <a:pt x="269" y="712"/>
                  </a:lnTo>
                  <a:lnTo>
                    <a:pt x="293" y="693"/>
                  </a:lnTo>
                  <a:lnTo>
                    <a:pt x="315" y="677"/>
                  </a:lnTo>
                  <a:lnTo>
                    <a:pt x="336" y="665"/>
                  </a:lnTo>
                  <a:lnTo>
                    <a:pt x="354" y="656"/>
                  </a:lnTo>
                  <a:lnTo>
                    <a:pt x="354" y="656"/>
                  </a:lnTo>
                  <a:lnTo>
                    <a:pt x="367" y="650"/>
                  </a:lnTo>
                  <a:lnTo>
                    <a:pt x="382" y="646"/>
                  </a:lnTo>
                  <a:lnTo>
                    <a:pt x="396" y="642"/>
                  </a:lnTo>
                  <a:lnTo>
                    <a:pt x="409" y="639"/>
                  </a:lnTo>
                  <a:lnTo>
                    <a:pt x="423" y="637"/>
                  </a:lnTo>
                  <a:lnTo>
                    <a:pt x="437" y="636"/>
                  </a:lnTo>
                  <a:lnTo>
                    <a:pt x="450" y="635"/>
                  </a:lnTo>
                  <a:lnTo>
                    <a:pt x="464" y="635"/>
                  </a:lnTo>
                  <a:lnTo>
                    <a:pt x="478" y="636"/>
                  </a:lnTo>
                  <a:lnTo>
                    <a:pt x="491" y="638"/>
                  </a:lnTo>
                  <a:lnTo>
                    <a:pt x="504" y="640"/>
                  </a:lnTo>
                  <a:lnTo>
                    <a:pt x="517" y="643"/>
                  </a:lnTo>
                  <a:lnTo>
                    <a:pt x="542" y="650"/>
                  </a:lnTo>
                  <a:lnTo>
                    <a:pt x="566" y="658"/>
                  </a:lnTo>
                  <a:lnTo>
                    <a:pt x="566" y="658"/>
                  </a:lnTo>
                  <a:lnTo>
                    <a:pt x="582" y="667"/>
                  </a:lnTo>
                  <a:lnTo>
                    <a:pt x="596" y="675"/>
                  </a:lnTo>
                  <a:lnTo>
                    <a:pt x="610" y="683"/>
                  </a:lnTo>
                  <a:lnTo>
                    <a:pt x="621" y="691"/>
                  </a:lnTo>
                  <a:lnTo>
                    <a:pt x="631" y="699"/>
                  </a:lnTo>
                  <a:lnTo>
                    <a:pt x="639" y="709"/>
                  </a:lnTo>
                  <a:lnTo>
                    <a:pt x="646" y="717"/>
                  </a:lnTo>
                  <a:lnTo>
                    <a:pt x="653" y="726"/>
                  </a:lnTo>
                  <a:lnTo>
                    <a:pt x="658" y="735"/>
                  </a:lnTo>
                  <a:lnTo>
                    <a:pt x="662" y="743"/>
                  </a:lnTo>
                  <a:lnTo>
                    <a:pt x="665" y="753"/>
                  </a:lnTo>
                  <a:lnTo>
                    <a:pt x="668" y="761"/>
                  </a:lnTo>
                  <a:lnTo>
                    <a:pt x="671" y="778"/>
                  </a:lnTo>
                  <a:lnTo>
                    <a:pt x="673" y="793"/>
                  </a:lnTo>
                  <a:lnTo>
                    <a:pt x="673" y="793"/>
                  </a:lnTo>
                  <a:lnTo>
                    <a:pt x="672" y="804"/>
                  </a:lnTo>
                  <a:lnTo>
                    <a:pt x="670" y="815"/>
                  </a:lnTo>
                  <a:lnTo>
                    <a:pt x="667" y="827"/>
                  </a:lnTo>
                  <a:lnTo>
                    <a:pt x="663" y="839"/>
                  </a:lnTo>
                  <a:lnTo>
                    <a:pt x="654" y="863"/>
                  </a:lnTo>
                  <a:lnTo>
                    <a:pt x="646" y="877"/>
                  </a:lnTo>
                  <a:lnTo>
                    <a:pt x="841" y="9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90" name="Freeform 43"/>
            <p:cNvSpPr>
              <a:spLocks/>
            </p:cNvSpPr>
            <p:nvPr userDrawn="1"/>
          </p:nvSpPr>
          <p:spPr bwMode="auto">
            <a:xfrm>
              <a:off x="6174034" y="454192"/>
              <a:ext cx="193675" cy="33339"/>
            </a:xfrm>
            <a:custGeom>
              <a:avLst/>
              <a:gdLst>
                <a:gd name="T0" fmla="*/ 1228 w 1463"/>
                <a:gd name="T1" fmla="*/ 227 h 256"/>
                <a:gd name="T2" fmla="*/ 1463 w 1463"/>
                <a:gd name="T3" fmla="*/ 113 h 256"/>
                <a:gd name="T4" fmla="*/ 1225 w 1463"/>
                <a:gd name="T5" fmla="*/ 14 h 256"/>
                <a:gd name="T6" fmla="*/ 1225 w 1463"/>
                <a:gd name="T7" fmla="*/ 14 h 256"/>
                <a:gd name="T8" fmla="*/ 1152 w 1463"/>
                <a:gd name="T9" fmla="*/ 15 h 256"/>
                <a:gd name="T10" fmla="*/ 1060 w 1463"/>
                <a:gd name="T11" fmla="*/ 16 h 256"/>
                <a:gd name="T12" fmla="*/ 949 w 1463"/>
                <a:gd name="T13" fmla="*/ 15 h 256"/>
                <a:gd name="T14" fmla="*/ 824 w 1463"/>
                <a:gd name="T15" fmla="*/ 13 h 256"/>
                <a:gd name="T16" fmla="*/ 531 w 1463"/>
                <a:gd name="T17" fmla="*/ 7 h 256"/>
                <a:gd name="T18" fmla="*/ 197 w 1463"/>
                <a:gd name="T19" fmla="*/ 0 h 256"/>
                <a:gd name="T20" fmla="*/ 0 w 1463"/>
                <a:gd name="T21" fmla="*/ 256 h 256"/>
                <a:gd name="T22" fmla="*/ 0 w 1463"/>
                <a:gd name="T23" fmla="*/ 256 h 256"/>
                <a:gd name="T24" fmla="*/ 734 w 1463"/>
                <a:gd name="T25" fmla="*/ 240 h 256"/>
                <a:gd name="T26" fmla="*/ 1024 w 1463"/>
                <a:gd name="T27" fmla="*/ 234 h 256"/>
                <a:gd name="T28" fmla="*/ 1228 w 1463"/>
                <a:gd name="T29" fmla="*/ 22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3" h="256">
                  <a:moveTo>
                    <a:pt x="1228" y="227"/>
                  </a:moveTo>
                  <a:lnTo>
                    <a:pt x="1463" y="113"/>
                  </a:lnTo>
                  <a:lnTo>
                    <a:pt x="1225" y="14"/>
                  </a:lnTo>
                  <a:lnTo>
                    <a:pt x="1225" y="14"/>
                  </a:lnTo>
                  <a:lnTo>
                    <a:pt x="1152" y="15"/>
                  </a:lnTo>
                  <a:lnTo>
                    <a:pt x="1060" y="16"/>
                  </a:lnTo>
                  <a:lnTo>
                    <a:pt x="949" y="15"/>
                  </a:lnTo>
                  <a:lnTo>
                    <a:pt x="824" y="13"/>
                  </a:lnTo>
                  <a:lnTo>
                    <a:pt x="531" y="7"/>
                  </a:lnTo>
                  <a:lnTo>
                    <a:pt x="197" y="0"/>
                  </a:lnTo>
                  <a:lnTo>
                    <a:pt x="0" y="256"/>
                  </a:lnTo>
                  <a:lnTo>
                    <a:pt x="0" y="256"/>
                  </a:lnTo>
                  <a:lnTo>
                    <a:pt x="734" y="240"/>
                  </a:lnTo>
                  <a:lnTo>
                    <a:pt x="1024" y="234"/>
                  </a:lnTo>
                  <a:lnTo>
                    <a:pt x="1228" y="2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91" name="Freeform 44"/>
            <p:cNvSpPr>
              <a:spLocks/>
            </p:cNvSpPr>
            <p:nvPr userDrawn="1"/>
          </p:nvSpPr>
          <p:spPr bwMode="auto">
            <a:xfrm>
              <a:off x="6235946" y="536743"/>
              <a:ext cx="114300" cy="112713"/>
            </a:xfrm>
            <a:custGeom>
              <a:avLst/>
              <a:gdLst>
                <a:gd name="T0" fmla="*/ 386 w 869"/>
                <a:gd name="T1" fmla="*/ 818 h 851"/>
                <a:gd name="T2" fmla="*/ 235 w 869"/>
                <a:gd name="T3" fmla="*/ 737 h 851"/>
                <a:gd name="T4" fmla="*/ 156 w 869"/>
                <a:gd name="T5" fmla="*/ 685 h 851"/>
                <a:gd name="T6" fmla="*/ 90 w 869"/>
                <a:gd name="T7" fmla="*/ 626 h 851"/>
                <a:gd name="T8" fmla="*/ 37 w 869"/>
                <a:gd name="T9" fmla="*/ 557 h 851"/>
                <a:gd name="T10" fmla="*/ 24 w 869"/>
                <a:gd name="T11" fmla="*/ 531 h 851"/>
                <a:gd name="T12" fmla="*/ 10 w 869"/>
                <a:gd name="T13" fmla="*/ 487 h 851"/>
                <a:gd name="T14" fmla="*/ 2 w 869"/>
                <a:gd name="T15" fmla="*/ 439 h 851"/>
                <a:gd name="T16" fmla="*/ 0 w 869"/>
                <a:gd name="T17" fmla="*/ 389 h 851"/>
                <a:gd name="T18" fmla="*/ 5 w 869"/>
                <a:gd name="T19" fmla="*/ 336 h 851"/>
                <a:gd name="T20" fmla="*/ 15 w 869"/>
                <a:gd name="T21" fmla="*/ 283 h 851"/>
                <a:gd name="T22" fmla="*/ 34 w 869"/>
                <a:gd name="T23" fmla="*/ 231 h 851"/>
                <a:gd name="T24" fmla="*/ 59 w 869"/>
                <a:gd name="T25" fmla="*/ 182 h 851"/>
                <a:gd name="T26" fmla="*/ 93 w 869"/>
                <a:gd name="T27" fmla="*/ 136 h 851"/>
                <a:gd name="T28" fmla="*/ 134 w 869"/>
                <a:gd name="T29" fmla="*/ 94 h 851"/>
                <a:gd name="T30" fmla="*/ 183 w 869"/>
                <a:gd name="T31" fmla="*/ 59 h 851"/>
                <a:gd name="T32" fmla="*/ 198 w 869"/>
                <a:gd name="T33" fmla="*/ 75 h 851"/>
                <a:gd name="T34" fmla="*/ 217 w 869"/>
                <a:gd name="T35" fmla="*/ 106 h 851"/>
                <a:gd name="T36" fmla="*/ 227 w 869"/>
                <a:gd name="T37" fmla="*/ 141 h 851"/>
                <a:gd name="T38" fmla="*/ 247 w 869"/>
                <a:gd name="T39" fmla="*/ 150 h 851"/>
                <a:gd name="T40" fmla="*/ 379 w 869"/>
                <a:gd name="T41" fmla="*/ 144 h 851"/>
                <a:gd name="T42" fmla="*/ 424 w 869"/>
                <a:gd name="T43" fmla="*/ 143 h 851"/>
                <a:gd name="T44" fmla="*/ 424 w 869"/>
                <a:gd name="T45" fmla="*/ 94 h 851"/>
                <a:gd name="T46" fmla="*/ 414 w 869"/>
                <a:gd name="T47" fmla="*/ 37 h 851"/>
                <a:gd name="T48" fmla="*/ 397 w 869"/>
                <a:gd name="T49" fmla="*/ 0 h 851"/>
                <a:gd name="T50" fmla="*/ 431 w 869"/>
                <a:gd name="T51" fmla="*/ 27 h 851"/>
                <a:gd name="T52" fmla="*/ 459 w 869"/>
                <a:gd name="T53" fmla="*/ 55 h 851"/>
                <a:gd name="T54" fmla="*/ 475 w 869"/>
                <a:gd name="T55" fmla="*/ 82 h 851"/>
                <a:gd name="T56" fmla="*/ 487 w 869"/>
                <a:gd name="T57" fmla="*/ 116 h 851"/>
                <a:gd name="T58" fmla="*/ 493 w 869"/>
                <a:gd name="T59" fmla="*/ 143 h 851"/>
                <a:gd name="T60" fmla="*/ 671 w 869"/>
                <a:gd name="T61" fmla="*/ 133 h 851"/>
                <a:gd name="T62" fmla="*/ 662 w 869"/>
                <a:gd name="T63" fmla="*/ 88 h 851"/>
                <a:gd name="T64" fmla="*/ 643 w 869"/>
                <a:gd name="T65" fmla="*/ 50 h 851"/>
                <a:gd name="T66" fmla="*/ 651 w 869"/>
                <a:gd name="T67" fmla="*/ 46 h 851"/>
                <a:gd name="T68" fmla="*/ 699 w 869"/>
                <a:gd name="T69" fmla="*/ 73 h 851"/>
                <a:gd name="T70" fmla="*/ 740 w 869"/>
                <a:gd name="T71" fmla="*/ 104 h 851"/>
                <a:gd name="T72" fmla="*/ 775 w 869"/>
                <a:gd name="T73" fmla="*/ 138 h 851"/>
                <a:gd name="T74" fmla="*/ 803 w 869"/>
                <a:gd name="T75" fmla="*/ 175 h 851"/>
                <a:gd name="T76" fmla="*/ 837 w 869"/>
                <a:gd name="T77" fmla="*/ 238 h 851"/>
                <a:gd name="T78" fmla="*/ 861 w 869"/>
                <a:gd name="T79" fmla="*/ 312 h 851"/>
                <a:gd name="T80" fmla="*/ 869 w 869"/>
                <a:gd name="T81" fmla="*/ 379 h 851"/>
                <a:gd name="T82" fmla="*/ 869 w 869"/>
                <a:gd name="T83" fmla="*/ 423 h 851"/>
                <a:gd name="T84" fmla="*/ 859 w 869"/>
                <a:gd name="T85" fmla="*/ 499 h 851"/>
                <a:gd name="T86" fmla="*/ 834 w 869"/>
                <a:gd name="T87" fmla="*/ 569 h 851"/>
                <a:gd name="T88" fmla="*/ 796 w 869"/>
                <a:gd name="T89" fmla="*/ 631 h 851"/>
                <a:gd name="T90" fmla="*/ 749 w 869"/>
                <a:gd name="T91" fmla="*/ 684 h 851"/>
                <a:gd name="T92" fmla="*/ 693 w 869"/>
                <a:gd name="T93" fmla="*/ 727 h 851"/>
                <a:gd name="T94" fmla="*/ 626 w 869"/>
                <a:gd name="T95" fmla="*/ 766 h 851"/>
                <a:gd name="T96" fmla="*/ 506 w 869"/>
                <a:gd name="T97" fmla="*/ 82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9" h="851">
                  <a:moveTo>
                    <a:pt x="452" y="851"/>
                  </a:moveTo>
                  <a:lnTo>
                    <a:pt x="452" y="851"/>
                  </a:lnTo>
                  <a:lnTo>
                    <a:pt x="386" y="818"/>
                  </a:lnTo>
                  <a:lnTo>
                    <a:pt x="323" y="785"/>
                  </a:lnTo>
                  <a:lnTo>
                    <a:pt x="264" y="754"/>
                  </a:lnTo>
                  <a:lnTo>
                    <a:pt x="235" y="737"/>
                  </a:lnTo>
                  <a:lnTo>
                    <a:pt x="207" y="720"/>
                  </a:lnTo>
                  <a:lnTo>
                    <a:pt x="181" y="703"/>
                  </a:lnTo>
                  <a:lnTo>
                    <a:pt x="156" y="685"/>
                  </a:lnTo>
                  <a:lnTo>
                    <a:pt x="133" y="666"/>
                  </a:lnTo>
                  <a:lnTo>
                    <a:pt x="110" y="646"/>
                  </a:lnTo>
                  <a:lnTo>
                    <a:pt x="90" y="626"/>
                  </a:lnTo>
                  <a:lnTo>
                    <a:pt x="70" y="605"/>
                  </a:lnTo>
                  <a:lnTo>
                    <a:pt x="53" y="581"/>
                  </a:lnTo>
                  <a:lnTo>
                    <a:pt x="37" y="557"/>
                  </a:lnTo>
                  <a:lnTo>
                    <a:pt x="37" y="557"/>
                  </a:lnTo>
                  <a:lnTo>
                    <a:pt x="31" y="544"/>
                  </a:lnTo>
                  <a:lnTo>
                    <a:pt x="24" y="531"/>
                  </a:lnTo>
                  <a:lnTo>
                    <a:pt x="19" y="517"/>
                  </a:lnTo>
                  <a:lnTo>
                    <a:pt x="14" y="502"/>
                  </a:lnTo>
                  <a:lnTo>
                    <a:pt x="10" y="487"/>
                  </a:lnTo>
                  <a:lnTo>
                    <a:pt x="7" y="472"/>
                  </a:lnTo>
                  <a:lnTo>
                    <a:pt x="4" y="455"/>
                  </a:lnTo>
                  <a:lnTo>
                    <a:pt x="2" y="439"/>
                  </a:lnTo>
                  <a:lnTo>
                    <a:pt x="1" y="423"/>
                  </a:lnTo>
                  <a:lnTo>
                    <a:pt x="0" y="405"/>
                  </a:lnTo>
                  <a:lnTo>
                    <a:pt x="0" y="389"/>
                  </a:lnTo>
                  <a:lnTo>
                    <a:pt x="1" y="371"/>
                  </a:lnTo>
                  <a:lnTo>
                    <a:pt x="2" y="353"/>
                  </a:lnTo>
                  <a:lnTo>
                    <a:pt x="5" y="336"/>
                  </a:lnTo>
                  <a:lnTo>
                    <a:pt x="7" y="318"/>
                  </a:lnTo>
                  <a:lnTo>
                    <a:pt x="11" y="301"/>
                  </a:lnTo>
                  <a:lnTo>
                    <a:pt x="15" y="283"/>
                  </a:lnTo>
                  <a:lnTo>
                    <a:pt x="21" y="266"/>
                  </a:lnTo>
                  <a:lnTo>
                    <a:pt x="26" y="249"/>
                  </a:lnTo>
                  <a:lnTo>
                    <a:pt x="34" y="231"/>
                  </a:lnTo>
                  <a:lnTo>
                    <a:pt x="42" y="215"/>
                  </a:lnTo>
                  <a:lnTo>
                    <a:pt x="50" y="199"/>
                  </a:lnTo>
                  <a:lnTo>
                    <a:pt x="59" y="182"/>
                  </a:lnTo>
                  <a:lnTo>
                    <a:pt x="69" y="166"/>
                  </a:lnTo>
                  <a:lnTo>
                    <a:pt x="81" y="151"/>
                  </a:lnTo>
                  <a:lnTo>
                    <a:pt x="93" y="136"/>
                  </a:lnTo>
                  <a:lnTo>
                    <a:pt x="105" y="122"/>
                  </a:lnTo>
                  <a:lnTo>
                    <a:pt x="120" y="108"/>
                  </a:lnTo>
                  <a:lnTo>
                    <a:pt x="134" y="94"/>
                  </a:lnTo>
                  <a:lnTo>
                    <a:pt x="149" y="82"/>
                  </a:lnTo>
                  <a:lnTo>
                    <a:pt x="166" y="70"/>
                  </a:lnTo>
                  <a:lnTo>
                    <a:pt x="183" y="59"/>
                  </a:lnTo>
                  <a:lnTo>
                    <a:pt x="183" y="59"/>
                  </a:lnTo>
                  <a:lnTo>
                    <a:pt x="191" y="67"/>
                  </a:lnTo>
                  <a:lnTo>
                    <a:pt x="198" y="75"/>
                  </a:lnTo>
                  <a:lnTo>
                    <a:pt x="203" y="82"/>
                  </a:lnTo>
                  <a:lnTo>
                    <a:pt x="208" y="90"/>
                  </a:lnTo>
                  <a:lnTo>
                    <a:pt x="217" y="106"/>
                  </a:lnTo>
                  <a:lnTo>
                    <a:pt x="222" y="120"/>
                  </a:lnTo>
                  <a:lnTo>
                    <a:pt x="225" y="132"/>
                  </a:lnTo>
                  <a:lnTo>
                    <a:pt x="227" y="141"/>
                  </a:lnTo>
                  <a:lnTo>
                    <a:pt x="227" y="150"/>
                  </a:lnTo>
                  <a:lnTo>
                    <a:pt x="227" y="150"/>
                  </a:lnTo>
                  <a:lnTo>
                    <a:pt x="247" y="150"/>
                  </a:lnTo>
                  <a:lnTo>
                    <a:pt x="272" y="150"/>
                  </a:lnTo>
                  <a:lnTo>
                    <a:pt x="325" y="146"/>
                  </a:lnTo>
                  <a:lnTo>
                    <a:pt x="379" y="144"/>
                  </a:lnTo>
                  <a:lnTo>
                    <a:pt x="404" y="143"/>
                  </a:lnTo>
                  <a:lnTo>
                    <a:pt x="424" y="143"/>
                  </a:lnTo>
                  <a:lnTo>
                    <a:pt x="424" y="143"/>
                  </a:lnTo>
                  <a:lnTo>
                    <a:pt x="425" y="129"/>
                  </a:lnTo>
                  <a:lnTo>
                    <a:pt x="425" y="112"/>
                  </a:lnTo>
                  <a:lnTo>
                    <a:pt x="424" y="94"/>
                  </a:lnTo>
                  <a:lnTo>
                    <a:pt x="422" y="76"/>
                  </a:lnTo>
                  <a:lnTo>
                    <a:pt x="419" y="56"/>
                  </a:lnTo>
                  <a:lnTo>
                    <a:pt x="414" y="37"/>
                  </a:lnTo>
                  <a:lnTo>
                    <a:pt x="407" y="19"/>
                  </a:lnTo>
                  <a:lnTo>
                    <a:pt x="402" y="9"/>
                  </a:lnTo>
                  <a:lnTo>
                    <a:pt x="397" y="0"/>
                  </a:lnTo>
                  <a:lnTo>
                    <a:pt x="397" y="0"/>
                  </a:lnTo>
                  <a:lnTo>
                    <a:pt x="415" y="14"/>
                  </a:lnTo>
                  <a:lnTo>
                    <a:pt x="431" y="27"/>
                  </a:lnTo>
                  <a:lnTo>
                    <a:pt x="446" y="40"/>
                  </a:lnTo>
                  <a:lnTo>
                    <a:pt x="453" y="47"/>
                  </a:lnTo>
                  <a:lnTo>
                    <a:pt x="459" y="55"/>
                  </a:lnTo>
                  <a:lnTo>
                    <a:pt x="465" y="64"/>
                  </a:lnTo>
                  <a:lnTo>
                    <a:pt x="470" y="73"/>
                  </a:lnTo>
                  <a:lnTo>
                    <a:pt x="475" y="82"/>
                  </a:lnTo>
                  <a:lnTo>
                    <a:pt x="479" y="92"/>
                  </a:lnTo>
                  <a:lnTo>
                    <a:pt x="484" y="104"/>
                  </a:lnTo>
                  <a:lnTo>
                    <a:pt x="487" y="116"/>
                  </a:lnTo>
                  <a:lnTo>
                    <a:pt x="490" y="129"/>
                  </a:lnTo>
                  <a:lnTo>
                    <a:pt x="493" y="143"/>
                  </a:lnTo>
                  <a:lnTo>
                    <a:pt x="493" y="143"/>
                  </a:lnTo>
                  <a:lnTo>
                    <a:pt x="671" y="150"/>
                  </a:lnTo>
                  <a:lnTo>
                    <a:pt x="671" y="150"/>
                  </a:lnTo>
                  <a:lnTo>
                    <a:pt x="671" y="133"/>
                  </a:lnTo>
                  <a:lnTo>
                    <a:pt x="670" y="118"/>
                  </a:lnTo>
                  <a:lnTo>
                    <a:pt x="667" y="103"/>
                  </a:lnTo>
                  <a:lnTo>
                    <a:pt x="662" y="88"/>
                  </a:lnTo>
                  <a:lnTo>
                    <a:pt x="657" y="75"/>
                  </a:lnTo>
                  <a:lnTo>
                    <a:pt x="651" y="62"/>
                  </a:lnTo>
                  <a:lnTo>
                    <a:pt x="643" y="50"/>
                  </a:lnTo>
                  <a:lnTo>
                    <a:pt x="634" y="38"/>
                  </a:lnTo>
                  <a:lnTo>
                    <a:pt x="634" y="38"/>
                  </a:lnTo>
                  <a:lnTo>
                    <a:pt x="651" y="46"/>
                  </a:lnTo>
                  <a:lnTo>
                    <a:pt x="669" y="54"/>
                  </a:lnTo>
                  <a:lnTo>
                    <a:pt x="684" y="64"/>
                  </a:lnTo>
                  <a:lnTo>
                    <a:pt x="699" y="73"/>
                  </a:lnTo>
                  <a:lnTo>
                    <a:pt x="714" y="83"/>
                  </a:lnTo>
                  <a:lnTo>
                    <a:pt x="728" y="93"/>
                  </a:lnTo>
                  <a:lnTo>
                    <a:pt x="740" y="104"/>
                  </a:lnTo>
                  <a:lnTo>
                    <a:pt x="752" y="115"/>
                  </a:lnTo>
                  <a:lnTo>
                    <a:pt x="764" y="126"/>
                  </a:lnTo>
                  <a:lnTo>
                    <a:pt x="775" y="138"/>
                  </a:lnTo>
                  <a:lnTo>
                    <a:pt x="785" y="151"/>
                  </a:lnTo>
                  <a:lnTo>
                    <a:pt x="794" y="163"/>
                  </a:lnTo>
                  <a:lnTo>
                    <a:pt x="803" y="175"/>
                  </a:lnTo>
                  <a:lnTo>
                    <a:pt x="811" y="187"/>
                  </a:lnTo>
                  <a:lnTo>
                    <a:pt x="825" y="213"/>
                  </a:lnTo>
                  <a:lnTo>
                    <a:pt x="837" y="238"/>
                  </a:lnTo>
                  <a:lnTo>
                    <a:pt x="848" y="263"/>
                  </a:lnTo>
                  <a:lnTo>
                    <a:pt x="855" y="289"/>
                  </a:lnTo>
                  <a:lnTo>
                    <a:pt x="861" y="312"/>
                  </a:lnTo>
                  <a:lnTo>
                    <a:pt x="865" y="336"/>
                  </a:lnTo>
                  <a:lnTo>
                    <a:pt x="868" y="358"/>
                  </a:lnTo>
                  <a:lnTo>
                    <a:pt x="869" y="379"/>
                  </a:lnTo>
                  <a:lnTo>
                    <a:pt x="869" y="397"/>
                  </a:lnTo>
                  <a:lnTo>
                    <a:pt x="869" y="397"/>
                  </a:lnTo>
                  <a:lnTo>
                    <a:pt x="869" y="423"/>
                  </a:lnTo>
                  <a:lnTo>
                    <a:pt x="868" y="449"/>
                  </a:lnTo>
                  <a:lnTo>
                    <a:pt x="864" y="474"/>
                  </a:lnTo>
                  <a:lnTo>
                    <a:pt x="859" y="499"/>
                  </a:lnTo>
                  <a:lnTo>
                    <a:pt x="852" y="523"/>
                  </a:lnTo>
                  <a:lnTo>
                    <a:pt x="843" y="546"/>
                  </a:lnTo>
                  <a:lnTo>
                    <a:pt x="834" y="569"/>
                  </a:lnTo>
                  <a:lnTo>
                    <a:pt x="823" y="590"/>
                  </a:lnTo>
                  <a:lnTo>
                    <a:pt x="811" y="612"/>
                  </a:lnTo>
                  <a:lnTo>
                    <a:pt x="796" y="631"/>
                  </a:lnTo>
                  <a:lnTo>
                    <a:pt x="782" y="651"/>
                  </a:lnTo>
                  <a:lnTo>
                    <a:pt x="766" y="668"/>
                  </a:lnTo>
                  <a:lnTo>
                    <a:pt x="749" y="684"/>
                  </a:lnTo>
                  <a:lnTo>
                    <a:pt x="731" y="700"/>
                  </a:lnTo>
                  <a:lnTo>
                    <a:pt x="713" y="714"/>
                  </a:lnTo>
                  <a:lnTo>
                    <a:pt x="693" y="727"/>
                  </a:lnTo>
                  <a:lnTo>
                    <a:pt x="693" y="727"/>
                  </a:lnTo>
                  <a:lnTo>
                    <a:pt x="658" y="748"/>
                  </a:lnTo>
                  <a:lnTo>
                    <a:pt x="626" y="766"/>
                  </a:lnTo>
                  <a:lnTo>
                    <a:pt x="594" y="783"/>
                  </a:lnTo>
                  <a:lnTo>
                    <a:pt x="563" y="799"/>
                  </a:lnTo>
                  <a:lnTo>
                    <a:pt x="506" y="826"/>
                  </a:lnTo>
                  <a:lnTo>
                    <a:pt x="452" y="8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92" name="Freeform 45"/>
            <p:cNvSpPr>
              <a:spLocks/>
            </p:cNvSpPr>
            <p:nvPr userDrawn="1"/>
          </p:nvSpPr>
          <p:spPr bwMode="auto">
            <a:xfrm>
              <a:off x="6269285" y="814554"/>
              <a:ext cx="1587" cy="0"/>
            </a:xfrm>
            <a:custGeom>
              <a:avLst/>
              <a:gdLst>
                <a:gd name="T0" fmla="*/ 22 w 22"/>
                <a:gd name="T1" fmla="*/ 9 h 9"/>
                <a:gd name="T2" fmla="*/ 22 w 22"/>
                <a:gd name="T3" fmla="*/ 9 h 9"/>
                <a:gd name="T4" fmla="*/ 3 w 22"/>
                <a:gd name="T5" fmla="*/ 2 h 9"/>
                <a:gd name="T6" fmla="*/ 3 w 22"/>
                <a:gd name="T7" fmla="*/ 2 h 9"/>
                <a:gd name="T8" fmla="*/ 0 w 22"/>
                <a:gd name="T9" fmla="*/ 0 h 9"/>
                <a:gd name="T10" fmla="*/ 0 w 22"/>
                <a:gd name="T11" fmla="*/ 0 h 9"/>
                <a:gd name="T12" fmla="*/ 22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22" y="9"/>
                  </a:moveTo>
                  <a:lnTo>
                    <a:pt x="22" y="9"/>
                  </a:lnTo>
                  <a:lnTo>
                    <a:pt x="3" y="2"/>
                  </a:lnTo>
                  <a:lnTo>
                    <a:pt x="3" y="2"/>
                  </a:lnTo>
                  <a:lnTo>
                    <a:pt x="0" y="0"/>
                  </a:lnTo>
                  <a:lnTo>
                    <a:pt x="0" y="0"/>
                  </a:lnTo>
                  <a:lnTo>
                    <a:pt x="22"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93" name="Freeform 46"/>
            <p:cNvSpPr>
              <a:spLocks/>
            </p:cNvSpPr>
            <p:nvPr userDrawn="1"/>
          </p:nvSpPr>
          <p:spPr bwMode="auto">
            <a:xfrm>
              <a:off x="6021634" y="497054"/>
              <a:ext cx="20637" cy="12699"/>
            </a:xfrm>
            <a:custGeom>
              <a:avLst/>
              <a:gdLst>
                <a:gd name="T0" fmla="*/ 166 w 166"/>
                <a:gd name="T1" fmla="*/ 69 h 96"/>
                <a:gd name="T2" fmla="*/ 166 w 166"/>
                <a:gd name="T3" fmla="*/ 69 h 96"/>
                <a:gd name="T4" fmla="*/ 166 w 166"/>
                <a:gd name="T5" fmla="*/ 70 h 96"/>
                <a:gd name="T6" fmla="*/ 165 w 166"/>
                <a:gd name="T7" fmla="*/ 72 h 96"/>
                <a:gd name="T8" fmla="*/ 161 w 166"/>
                <a:gd name="T9" fmla="*/ 74 h 96"/>
                <a:gd name="T10" fmla="*/ 155 w 166"/>
                <a:gd name="T11" fmla="*/ 77 h 96"/>
                <a:gd name="T12" fmla="*/ 145 w 166"/>
                <a:gd name="T13" fmla="*/ 79 h 96"/>
                <a:gd name="T14" fmla="*/ 123 w 166"/>
                <a:gd name="T15" fmla="*/ 85 h 96"/>
                <a:gd name="T16" fmla="*/ 95 w 166"/>
                <a:gd name="T17" fmla="*/ 90 h 96"/>
                <a:gd name="T18" fmla="*/ 68 w 166"/>
                <a:gd name="T19" fmla="*/ 94 h 96"/>
                <a:gd name="T20" fmla="*/ 42 w 166"/>
                <a:gd name="T21" fmla="*/ 96 h 96"/>
                <a:gd name="T22" fmla="*/ 24 w 166"/>
                <a:gd name="T23" fmla="*/ 96 h 96"/>
                <a:gd name="T24" fmla="*/ 17 w 166"/>
                <a:gd name="T25" fmla="*/ 95 h 96"/>
                <a:gd name="T26" fmla="*/ 13 w 166"/>
                <a:gd name="T27" fmla="*/ 94 h 96"/>
                <a:gd name="T28" fmla="*/ 13 w 166"/>
                <a:gd name="T29" fmla="*/ 94 h 96"/>
                <a:gd name="T30" fmla="*/ 10 w 166"/>
                <a:gd name="T31" fmla="*/ 92 h 96"/>
                <a:gd name="T32" fmla="*/ 8 w 166"/>
                <a:gd name="T33" fmla="*/ 88 h 96"/>
                <a:gd name="T34" fmla="*/ 5 w 166"/>
                <a:gd name="T35" fmla="*/ 77 h 96"/>
                <a:gd name="T36" fmla="*/ 2 w 166"/>
                <a:gd name="T37" fmla="*/ 65 h 96"/>
                <a:gd name="T38" fmla="*/ 0 w 166"/>
                <a:gd name="T39" fmla="*/ 51 h 96"/>
                <a:gd name="T40" fmla="*/ 0 w 166"/>
                <a:gd name="T41" fmla="*/ 36 h 96"/>
                <a:gd name="T42" fmla="*/ 0 w 166"/>
                <a:gd name="T43" fmla="*/ 23 h 96"/>
                <a:gd name="T44" fmla="*/ 1 w 166"/>
                <a:gd name="T45" fmla="*/ 13 h 96"/>
                <a:gd name="T46" fmla="*/ 2 w 166"/>
                <a:gd name="T47" fmla="*/ 8 h 96"/>
                <a:gd name="T48" fmla="*/ 4 w 166"/>
                <a:gd name="T49" fmla="*/ 5 h 96"/>
                <a:gd name="T50" fmla="*/ 4 w 166"/>
                <a:gd name="T51" fmla="*/ 5 h 96"/>
                <a:gd name="T52" fmla="*/ 5 w 166"/>
                <a:gd name="T53" fmla="*/ 4 h 96"/>
                <a:gd name="T54" fmla="*/ 7 w 166"/>
                <a:gd name="T55" fmla="*/ 2 h 96"/>
                <a:gd name="T56" fmla="*/ 13 w 166"/>
                <a:gd name="T57" fmla="*/ 1 h 96"/>
                <a:gd name="T58" fmla="*/ 22 w 166"/>
                <a:gd name="T59" fmla="*/ 0 h 96"/>
                <a:gd name="T60" fmla="*/ 32 w 166"/>
                <a:gd name="T61" fmla="*/ 0 h 96"/>
                <a:gd name="T62" fmla="*/ 43 w 166"/>
                <a:gd name="T63" fmla="*/ 1 h 96"/>
                <a:gd name="T64" fmla="*/ 55 w 166"/>
                <a:gd name="T65" fmla="*/ 3 h 96"/>
                <a:gd name="T66" fmla="*/ 69 w 166"/>
                <a:gd name="T67" fmla="*/ 6 h 96"/>
                <a:gd name="T68" fmla="*/ 83 w 166"/>
                <a:gd name="T69" fmla="*/ 10 h 96"/>
                <a:gd name="T70" fmla="*/ 96 w 166"/>
                <a:gd name="T71" fmla="*/ 15 h 96"/>
                <a:gd name="T72" fmla="*/ 110 w 166"/>
                <a:gd name="T73" fmla="*/ 20 h 96"/>
                <a:gd name="T74" fmla="*/ 123 w 166"/>
                <a:gd name="T75" fmla="*/ 27 h 96"/>
                <a:gd name="T76" fmla="*/ 135 w 166"/>
                <a:gd name="T77" fmla="*/ 34 h 96"/>
                <a:gd name="T78" fmla="*/ 145 w 166"/>
                <a:gd name="T79" fmla="*/ 42 h 96"/>
                <a:gd name="T80" fmla="*/ 155 w 166"/>
                <a:gd name="T81" fmla="*/ 51 h 96"/>
                <a:gd name="T82" fmla="*/ 162 w 166"/>
                <a:gd name="T83" fmla="*/ 60 h 96"/>
                <a:gd name="T84" fmla="*/ 164 w 166"/>
                <a:gd name="T85" fmla="*/ 64 h 96"/>
                <a:gd name="T86" fmla="*/ 166 w 166"/>
                <a:gd name="T87" fmla="*/ 6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6" h="96">
                  <a:moveTo>
                    <a:pt x="166" y="69"/>
                  </a:moveTo>
                  <a:lnTo>
                    <a:pt x="166" y="69"/>
                  </a:lnTo>
                  <a:lnTo>
                    <a:pt x="166" y="70"/>
                  </a:lnTo>
                  <a:lnTo>
                    <a:pt x="165" y="72"/>
                  </a:lnTo>
                  <a:lnTo>
                    <a:pt x="161" y="74"/>
                  </a:lnTo>
                  <a:lnTo>
                    <a:pt x="155" y="77"/>
                  </a:lnTo>
                  <a:lnTo>
                    <a:pt x="145" y="79"/>
                  </a:lnTo>
                  <a:lnTo>
                    <a:pt x="123" y="85"/>
                  </a:lnTo>
                  <a:lnTo>
                    <a:pt x="95" y="90"/>
                  </a:lnTo>
                  <a:lnTo>
                    <a:pt x="68" y="94"/>
                  </a:lnTo>
                  <a:lnTo>
                    <a:pt x="42" y="96"/>
                  </a:lnTo>
                  <a:lnTo>
                    <a:pt x="24" y="96"/>
                  </a:lnTo>
                  <a:lnTo>
                    <a:pt x="17" y="95"/>
                  </a:lnTo>
                  <a:lnTo>
                    <a:pt x="13" y="94"/>
                  </a:lnTo>
                  <a:lnTo>
                    <a:pt x="13" y="94"/>
                  </a:lnTo>
                  <a:lnTo>
                    <a:pt x="10" y="92"/>
                  </a:lnTo>
                  <a:lnTo>
                    <a:pt x="8" y="88"/>
                  </a:lnTo>
                  <a:lnTo>
                    <a:pt x="5" y="77"/>
                  </a:lnTo>
                  <a:lnTo>
                    <a:pt x="2" y="65"/>
                  </a:lnTo>
                  <a:lnTo>
                    <a:pt x="0" y="51"/>
                  </a:lnTo>
                  <a:lnTo>
                    <a:pt x="0" y="36"/>
                  </a:lnTo>
                  <a:lnTo>
                    <a:pt x="0" y="23"/>
                  </a:lnTo>
                  <a:lnTo>
                    <a:pt x="1" y="13"/>
                  </a:lnTo>
                  <a:lnTo>
                    <a:pt x="2" y="8"/>
                  </a:lnTo>
                  <a:lnTo>
                    <a:pt x="4" y="5"/>
                  </a:lnTo>
                  <a:lnTo>
                    <a:pt x="4" y="5"/>
                  </a:lnTo>
                  <a:lnTo>
                    <a:pt x="5" y="4"/>
                  </a:lnTo>
                  <a:lnTo>
                    <a:pt x="7" y="2"/>
                  </a:lnTo>
                  <a:lnTo>
                    <a:pt x="13" y="1"/>
                  </a:lnTo>
                  <a:lnTo>
                    <a:pt x="22" y="0"/>
                  </a:lnTo>
                  <a:lnTo>
                    <a:pt x="32" y="0"/>
                  </a:lnTo>
                  <a:lnTo>
                    <a:pt x="43" y="1"/>
                  </a:lnTo>
                  <a:lnTo>
                    <a:pt x="55" y="3"/>
                  </a:lnTo>
                  <a:lnTo>
                    <a:pt x="69" y="6"/>
                  </a:lnTo>
                  <a:lnTo>
                    <a:pt x="83" y="10"/>
                  </a:lnTo>
                  <a:lnTo>
                    <a:pt x="96" y="15"/>
                  </a:lnTo>
                  <a:lnTo>
                    <a:pt x="110" y="20"/>
                  </a:lnTo>
                  <a:lnTo>
                    <a:pt x="123" y="27"/>
                  </a:lnTo>
                  <a:lnTo>
                    <a:pt x="135" y="34"/>
                  </a:lnTo>
                  <a:lnTo>
                    <a:pt x="145" y="42"/>
                  </a:lnTo>
                  <a:lnTo>
                    <a:pt x="155" y="51"/>
                  </a:lnTo>
                  <a:lnTo>
                    <a:pt x="162" y="60"/>
                  </a:lnTo>
                  <a:lnTo>
                    <a:pt x="164" y="64"/>
                  </a:lnTo>
                  <a:lnTo>
                    <a:pt x="16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sp>
          <p:nvSpPr>
            <p:cNvPr id="94" name="Freeform 47"/>
            <p:cNvSpPr>
              <a:spLocks/>
            </p:cNvSpPr>
            <p:nvPr userDrawn="1"/>
          </p:nvSpPr>
          <p:spPr bwMode="auto">
            <a:xfrm>
              <a:off x="5743823" y="454192"/>
              <a:ext cx="657225" cy="776290"/>
            </a:xfrm>
            <a:custGeom>
              <a:avLst/>
              <a:gdLst>
                <a:gd name="T0" fmla="*/ 4703 w 4973"/>
                <a:gd name="T1" fmla="*/ 1877 h 5865"/>
                <a:gd name="T2" fmla="*/ 4733 w 4973"/>
                <a:gd name="T3" fmla="*/ 1183 h 5865"/>
                <a:gd name="T4" fmla="*/ 4302 w 4973"/>
                <a:gd name="T5" fmla="*/ 476 h 5865"/>
                <a:gd name="T6" fmla="*/ 3581 w 4973"/>
                <a:gd name="T7" fmla="*/ 813 h 5865"/>
                <a:gd name="T8" fmla="*/ 3899 w 4973"/>
                <a:gd name="T9" fmla="*/ 1529 h 5865"/>
                <a:gd name="T10" fmla="*/ 3757 w 4973"/>
                <a:gd name="T11" fmla="*/ 2227 h 5865"/>
                <a:gd name="T12" fmla="*/ 3939 w 4973"/>
                <a:gd name="T13" fmla="*/ 2068 h 5865"/>
                <a:gd name="T14" fmla="*/ 4069 w 4973"/>
                <a:gd name="T15" fmla="*/ 1928 h 5865"/>
                <a:gd name="T16" fmla="*/ 4545 w 4973"/>
                <a:gd name="T17" fmla="*/ 1985 h 5865"/>
                <a:gd name="T18" fmla="*/ 4487 w 4973"/>
                <a:gd name="T19" fmla="*/ 2697 h 5865"/>
                <a:gd name="T20" fmla="*/ 3601 w 4973"/>
                <a:gd name="T21" fmla="*/ 2477 h 5865"/>
                <a:gd name="T22" fmla="*/ 3285 w 4973"/>
                <a:gd name="T23" fmla="*/ 1581 h 5865"/>
                <a:gd name="T24" fmla="*/ 3364 w 4973"/>
                <a:gd name="T25" fmla="*/ 1421 h 5865"/>
                <a:gd name="T26" fmla="*/ 3101 w 4973"/>
                <a:gd name="T27" fmla="*/ 996 h 5865"/>
                <a:gd name="T28" fmla="*/ 3251 w 4973"/>
                <a:gd name="T29" fmla="*/ 599 h 5865"/>
                <a:gd name="T30" fmla="*/ 2863 w 4973"/>
                <a:gd name="T31" fmla="*/ 144 h 5865"/>
                <a:gd name="T32" fmla="*/ 1960 w 4973"/>
                <a:gd name="T33" fmla="*/ 304 h 5865"/>
                <a:gd name="T34" fmla="*/ 1819 w 4973"/>
                <a:gd name="T35" fmla="*/ 748 h 5865"/>
                <a:gd name="T36" fmla="*/ 2202 w 4973"/>
                <a:gd name="T37" fmla="*/ 626 h 5865"/>
                <a:gd name="T38" fmla="*/ 2215 w 4973"/>
                <a:gd name="T39" fmla="*/ 803 h 5865"/>
                <a:gd name="T40" fmla="*/ 1623 w 4973"/>
                <a:gd name="T41" fmla="*/ 851 h 5865"/>
                <a:gd name="T42" fmla="*/ 1602 w 4973"/>
                <a:gd name="T43" fmla="*/ 1055 h 5865"/>
                <a:gd name="T44" fmla="*/ 2246 w 4973"/>
                <a:gd name="T45" fmla="*/ 924 h 5865"/>
                <a:gd name="T46" fmla="*/ 2036 w 4973"/>
                <a:gd name="T47" fmla="*/ 981 h 5865"/>
                <a:gd name="T48" fmla="*/ 1754 w 4973"/>
                <a:gd name="T49" fmla="*/ 1278 h 5865"/>
                <a:gd name="T50" fmla="*/ 2105 w 4973"/>
                <a:gd name="T51" fmla="*/ 1619 h 5865"/>
                <a:gd name="T52" fmla="*/ 863 w 4973"/>
                <a:gd name="T53" fmla="*/ 2239 h 5865"/>
                <a:gd name="T54" fmla="*/ 310 w 4973"/>
                <a:gd name="T55" fmla="*/ 2027 h 5865"/>
                <a:gd name="T56" fmla="*/ 319 w 4973"/>
                <a:gd name="T57" fmla="*/ 2172 h 5865"/>
                <a:gd name="T58" fmla="*/ 380 w 4973"/>
                <a:gd name="T59" fmla="*/ 2295 h 5865"/>
                <a:gd name="T60" fmla="*/ 39 w 4973"/>
                <a:gd name="T61" fmla="*/ 2396 h 5865"/>
                <a:gd name="T62" fmla="*/ 189 w 4973"/>
                <a:gd name="T63" fmla="*/ 2511 h 5865"/>
                <a:gd name="T64" fmla="*/ 322 w 4973"/>
                <a:gd name="T65" fmla="*/ 2588 h 5865"/>
                <a:gd name="T66" fmla="*/ 272 w 4973"/>
                <a:gd name="T67" fmla="*/ 2893 h 5865"/>
                <a:gd name="T68" fmla="*/ 630 w 4973"/>
                <a:gd name="T69" fmla="*/ 2730 h 5865"/>
                <a:gd name="T70" fmla="*/ 811 w 4973"/>
                <a:gd name="T71" fmla="*/ 2843 h 5865"/>
                <a:gd name="T72" fmla="*/ 1024 w 4973"/>
                <a:gd name="T73" fmla="*/ 2773 h 5865"/>
                <a:gd name="T74" fmla="*/ 1290 w 4973"/>
                <a:gd name="T75" fmla="*/ 2556 h 5865"/>
                <a:gd name="T76" fmla="*/ 1713 w 4973"/>
                <a:gd name="T77" fmla="*/ 2519 h 5865"/>
                <a:gd name="T78" fmla="*/ 2306 w 4973"/>
                <a:gd name="T79" fmla="*/ 2641 h 5865"/>
                <a:gd name="T80" fmla="*/ 3357 w 4973"/>
                <a:gd name="T81" fmla="*/ 3092 h 5865"/>
                <a:gd name="T82" fmla="*/ 3742 w 4973"/>
                <a:gd name="T83" fmla="*/ 3928 h 5865"/>
                <a:gd name="T84" fmla="*/ 3685 w 4973"/>
                <a:gd name="T85" fmla="*/ 4224 h 5865"/>
                <a:gd name="T86" fmla="*/ 4224 w 4973"/>
                <a:gd name="T87" fmla="*/ 4337 h 5865"/>
                <a:gd name="T88" fmla="*/ 4264 w 4973"/>
                <a:gd name="T89" fmla="*/ 5017 h 5865"/>
                <a:gd name="T90" fmla="*/ 3761 w 4973"/>
                <a:gd name="T91" fmla="*/ 5058 h 5865"/>
                <a:gd name="T92" fmla="*/ 3894 w 4973"/>
                <a:gd name="T93" fmla="*/ 5210 h 5865"/>
                <a:gd name="T94" fmla="*/ 3894 w 4973"/>
                <a:gd name="T95" fmla="*/ 5294 h 5865"/>
                <a:gd name="T96" fmla="*/ 3751 w 4973"/>
                <a:gd name="T97" fmla="*/ 5644 h 5865"/>
                <a:gd name="T98" fmla="*/ 3926 w 4973"/>
                <a:gd name="T99" fmla="*/ 5586 h 5865"/>
                <a:gd name="T100" fmla="*/ 4212 w 4973"/>
                <a:gd name="T101" fmla="*/ 5447 h 5865"/>
                <a:gd name="T102" fmla="*/ 4257 w 4973"/>
                <a:gd name="T103" fmla="*/ 5812 h 5865"/>
                <a:gd name="T104" fmla="*/ 4352 w 4973"/>
                <a:gd name="T105" fmla="*/ 5675 h 5865"/>
                <a:gd name="T106" fmla="*/ 4557 w 4973"/>
                <a:gd name="T107" fmla="*/ 5328 h 5865"/>
                <a:gd name="T108" fmla="*/ 4736 w 4973"/>
                <a:gd name="T109" fmla="*/ 5505 h 5865"/>
                <a:gd name="T110" fmla="*/ 4753 w 4973"/>
                <a:gd name="T111" fmla="*/ 5108 h 5865"/>
                <a:gd name="T112" fmla="*/ 4693 w 4973"/>
                <a:gd name="T113" fmla="*/ 4810 h 5865"/>
                <a:gd name="T114" fmla="*/ 4677 w 4973"/>
                <a:gd name="T115" fmla="*/ 4437 h 5865"/>
                <a:gd name="T116" fmla="*/ 4640 w 4973"/>
                <a:gd name="T117" fmla="*/ 4108 h 5865"/>
                <a:gd name="T118" fmla="*/ 4297 w 4973"/>
                <a:gd name="T119" fmla="*/ 3793 h 5865"/>
                <a:gd name="T120" fmla="*/ 4267 w 4973"/>
                <a:gd name="T121" fmla="*/ 3366 h 5865"/>
                <a:gd name="T122" fmla="*/ 4428 w 4973"/>
                <a:gd name="T123" fmla="*/ 2994 h 5865"/>
                <a:gd name="T124" fmla="*/ 4923 w 4973"/>
                <a:gd name="T125" fmla="*/ 2543 h 5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73" h="5865">
                  <a:moveTo>
                    <a:pt x="4842" y="2253"/>
                  </a:moveTo>
                  <a:lnTo>
                    <a:pt x="4842" y="2253"/>
                  </a:lnTo>
                  <a:lnTo>
                    <a:pt x="4862" y="2257"/>
                  </a:lnTo>
                  <a:lnTo>
                    <a:pt x="4881" y="2259"/>
                  </a:lnTo>
                  <a:lnTo>
                    <a:pt x="4900" y="2260"/>
                  </a:lnTo>
                  <a:lnTo>
                    <a:pt x="4916" y="2259"/>
                  </a:lnTo>
                  <a:lnTo>
                    <a:pt x="4932" y="2257"/>
                  </a:lnTo>
                  <a:lnTo>
                    <a:pt x="4946" y="2254"/>
                  </a:lnTo>
                  <a:lnTo>
                    <a:pt x="4958" y="2249"/>
                  </a:lnTo>
                  <a:lnTo>
                    <a:pt x="4969" y="2243"/>
                  </a:lnTo>
                  <a:lnTo>
                    <a:pt x="4969" y="2243"/>
                  </a:lnTo>
                  <a:lnTo>
                    <a:pt x="4967" y="2217"/>
                  </a:lnTo>
                  <a:lnTo>
                    <a:pt x="4960" y="2157"/>
                  </a:lnTo>
                  <a:lnTo>
                    <a:pt x="4951" y="2084"/>
                  </a:lnTo>
                  <a:lnTo>
                    <a:pt x="4946" y="2052"/>
                  </a:lnTo>
                  <a:lnTo>
                    <a:pt x="4940" y="2024"/>
                  </a:lnTo>
                  <a:lnTo>
                    <a:pt x="4940" y="2024"/>
                  </a:lnTo>
                  <a:lnTo>
                    <a:pt x="4922" y="2027"/>
                  </a:lnTo>
                  <a:lnTo>
                    <a:pt x="4902" y="2030"/>
                  </a:lnTo>
                  <a:lnTo>
                    <a:pt x="4891" y="2030"/>
                  </a:lnTo>
                  <a:lnTo>
                    <a:pt x="4879" y="2030"/>
                  </a:lnTo>
                  <a:lnTo>
                    <a:pt x="4867" y="2029"/>
                  </a:lnTo>
                  <a:lnTo>
                    <a:pt x="4855" y="2027"/>
                  </a:lnTo>
                  <a:lnTo>
                    <a:pt x="4843" y="2024"/>
                  </a:lnTo>
                  <a:lnTo>
                    <a:pt x="4830" y="2020"/>
                  </a:lnTo>
                  <a:lnTo>
                    <a:pt x="4818" y="2015"/>
                  </a:lnTo>
                  <a:lnTo>
                    <a:pt x="4806" y="2008"/>
                  </a:lnTo>
                  <a:lnTo>
                    <a:pt x="4794" y="1998"/>
                  </a:lnTo>
                  <a:lnTo>
                    <a:pt x="4782" y="1988"/>
                  </a:lnTo>
                  <a:lnTo>
                    <a:pt x="4771" y="1976"/>
                  </a:lnTo>
                  <a:lnTo>
                    <a:pt x="4761" y="1962"/>
                  </a:lnTo>
                  <a:lnTo>
                    <a:pt x="4761" y="1962"/>
                  </a:lnTo>
                  <a:lnTo>
                    <a:pt x="4743" y="1933"/>
                  </a:lnTo>
                  <a:lnTo>
                    <a:pt x="4724" y="1905"/>
                  </a:lnTo>
                  <a:lnTo>
                    <a:pt x="4724" y="1905"/>
                  </a:lnTo>
                  <a:lnTo>
                    <a:pt x="4703" y="1877"/>
                  </a:lnTo>
                  <a:lnTo>
                    <a:pt x="4680" y="1849"/>
                  </a:lnTo>
                  <a:lnTo>
                    <a:pt x="4658" y="1823"/>
                  </a:lnTo>
                  <a:lnTo>
                    <a:pt x="4634" y="1797"/>
                  </a:lnTo>
                  <a:lnTo>
                    <a:pt x="4611" y="1773"/>
                  </a:lnTo>
                  <a:lnTo>
                    <a:pt x="4586" y="1750"/>
                  </a:lnTo>
                  <a:lnTo>
                    <a:pt x="4562" y="1727"/>
                  </a:lnTo>
                  <a:lnTo>
                    <a:pt x="4538" y="1707"/>
                  </a:lnTo>
                  <a:lnTo>
                    <a:pt x="4513" y="1687"/>
                  </a:lnTo>
                  <a:lnTo>
                    <a:pt x="4489" y="1667"/>
                  </a:lnTo>
                  <a:lnTo>
                    <a:pt x="4463" y="1649"/>
                  </a:lnTo>
                  <a:lnTo>
                    <a:pt x="4439" y="1630"/>
                  </a:lnTo>
                  <a:lnTo>
                    <a:pt x="4413" y="1614"/>
                  </a:lnTo>
                  <a:lnTo>
                    <a:pt x="4389" y="1598"/>
                  </a:lnTo>
                  <a:lnTo>
                    <a:pt x="4337" y="1566"/>
                  </a:lnTo>
                  <a:lnTo>
                    <a:pt x="4337" y="1566"/>
                  </a:lnTo>
                  <a:lnTo>
                    <a:pt x="4381" y="1543"/>
                  </a:lnTo>
                  <a:lnTo>
                    <a:pt x="4422" y="1521"/>
                  </a:lnTo>
                  <a:lnTo>
                    <a:pt x="4459" y="1498"/>
                  </a:lnTo>
                  <a:lnTo>
                    <a:pt x="4492" y="1477"/>
                  </a:lnTo>
                  <a:lnTo>
                    <a:pt x="4523" y="1455"/>
                  </a:lnTo>
                  <a:lnTo>
                    <a:pt x="4549" y="1434"/>
                  </a:lnTo>
                  <a:lnTo>
                    <a:pt x="4574" y="1414"/>
                  </a:lnTo>
                  <a:lnTo>
                    <a:pt x="4595" y="1393"/>
                  </a:lnTo>
                  <a:lnTo>
                    <a:pt x="4615" y="1374"/>
                  </a:lnTo>
                  <a:lnTo>
                    <a:pt x="4632" y="1355"/>
                  </a:lnTo>
                  <a:lnTo>
                    <a:pt x="4647" y="1337"/>
                  </a:lnTo>
                  <a:lnTo>
                    <a:pt x="4661" y="1319"/>
                  </a:lnTo>
                  <a:lnTo>
                    <a:pt x="4673" y="1303"/>
                  </a:lnTo>
                  <a:lnTo>
                    <a:pt x="4683" y="1288"/>
                  </a:lnTo>
                  <a:lnTo>
                    <a:pt x="4700" y="1260"/>
                  </a:lnTo>
                  <a:lnTo>
                    <a:pt x="4700" y="1260"/>
                  </a:lnTo>
                  <a:lnTo>
                    <a:pt x="4708" y="1248"/>
                  </a:lnTo>
                  <a:lnTo>
                    <a:pt x="4714" y="1234"/>
                  </a:lnTo>
                  <a:lnTo>
                    <a:pt x="4721" y="1218"/>
                  </a:lnTo>
                  <a:lnTo>
                    <a:pt x="4727" y="1202"/>
                  </a:lnTo>
                  <a:lnTo>
                    <a:pt x="4733" y="1183"/>
                  </a:lnTo>
                  <a:lnTo>
                    <a:pt x="4739" y="1164"/>
                  </a:lnTo>
                  <a:lnTo>
                    <a:pt x="4743" y="1144"/>
                  </a:lnTo>
                  <a:lnTo>
                    <a:pt x="4749" y="1123"/>
                  </a:lnTo>
                  <a:lnTo>
                    <a:pt x="4753" y="1101"/>
                  </a:lnTo>
                  <a:lnTo>
                    <a:pt x="4756" y="1078"/>
                  </a:lnTo>
                  <a:lnTo>
                    <a:pt x="4758" y="1054"/>
                  </a:lnTo>
                  <a:lnTo>
                    <a:pt x="4759" y="1030"/>
                  </a:lnTo>
                  <a:lnTo>
                    <a:pt x="4760" y="1005"/>
                  </a:lnTo>
                  <a:lnTo>
                    <a:pt x="4759" y="980"/>
                  </a:lnTo>
                  <a:lnTo>
                    <a:pt x="4758" y="954"/>
                  </a:lnTo>
                  <a:lnTo>
                    <a:pt x="4755" y="928"/>
                  </a:lnTo>
                  <a:lnTo>
                    <a:pt x="4751" y="902"/>
                  </a:lnTo>
                  <a:lnTo>
                    <a:pt x="4745" y="876"/>
                  </a:lnTo>
                  <a:lnTo>
                    <a:pt x="4738" y="849"/>
                  </a:lnTo>
                  <a:lnTo>
                    <a:pt x="4730" y="824"/>
                  </a:lnTo>
                  <a:lnTo>
                    <a:pt x="4720" y="797"/>
                  </a:lnTo>
                  <a:lnTo>
                    <a:pt x="4709" y="771"/>
                  </a:lnTo>
                  <a:lnTo>
                    <a:pt x="4695" y="746"/>
                  </a:lnTo>
                  <a:lnTo>
                    <a:pt x="4681" y="721"/>
                  </a:lnTo>
                  <a:lnTo>
                    <a:pt x="4665" y="697"/>
                  </a:lnTo>
                  <a:lnTo>
                    <a:pt x="4646" y="672"/>
                  </a:lnTo>
                  <a:lnTo>
                    <a:pt x="4625" y="649"/>
                  </a:lnTo>
                  <a:lnTo>
                    <a:pt x="4602" y="626"/>
                  </a:lnTo>
                  <a:lnTo>
                    <a:pt x="4578" y="605"/>
                  </a:lnTo>
                  <a:lnTo>
                    <a:pt x="4551" y="584"/>
                  </a:lnTo>
                  <a:lnTo>
                    <a:pt x="4522" y="565"/>
                  </a:lnTo>
                  <a:lnTo>
                    <a:pt x="4490" y="545"/>
                  </a:lnTo>
                  <a:lnTo>
                    <a:pt x="4490" y="545"/>
                  </a:lnTo>
                  <a:lnTo>
                    <a:pt x="4466" y="533"/>
                  </a:lnTo>
                  <a:lnTo>
                    <a:pt x="4443" y="522"/>
                  </a:lnTo>
                  <a:lnTo>
                    <a:pt x="4419" y="512"/>
                  </a:lnTo>
                  <a:lnTo>
                    <a:pt x="4396" y="503"/>
                  </a:lnTo>
                  <a:lnTo>
                    <a:pt x="4372" y="494"/>
                  </a:lnTo>
                  <a:lnTo>
                    <a:pt x="4348" y="487"/>
                  </a:lnTo>
                  <a:lnTo>
                    <a:pt x="4325" y="481"/>
                  </a:lnTo>
                  <a:lnTo>
                    <a:pt x="4302" y="476"/>
                  </a:lnTo>
                  <a:lnTo>
                    <a:pt x="4278" y="471"/>
                  </a:lnTo>
                  <a:lnTo>
                    <a:pt x="4256" y="468"/>
                  </a:lnTo>
                  <a:lnTo>
                    <a:pt x="4233" y="465"/>
                  </a:lnTo>
                  <a:lnTo>
                    <a:pt x="4211" y="463"/>
                  </a:lnTo>
                  <a:lnTo>
                    <a:pt x="4188" y="461"/>
                  </a:lnTo>
                  <a:lnTo>
                    <a:pt x="4167" y="461"/>
                  </a:lnTo>
                  <a:lnTo>
                    <a:pt x="4145" y="461"/>
                  </a:lnTo>
                  <a:lnTo>
                    <a:pt x="4124" y="461"/>
                  </a:lnTo>
                  <a:lnTo>
                    <a:pt x="4083" y="464"/>
                  </a:lnTo>
                  <a:lnTo>
                    <a:pt x="4044" y="468"/>
                  </a:lnTo>
                  <a:lnTo>
                    <a:pt x="4007" y="474"/>
                  </a:lnTo>
                  <a:lnTo>
                    <a:pt x="3973" y="482"/>
                  </a:lnTo>
                  <a:lnTo>
                    <a:pt x="3941" y="490"/>
                  </a:lnTo>
                  <a:lnTo>
                    <a:pt x="3912" y="499"/>
                  </a:lnTo>
                  <a:lnTo>
                    <a:pt x="3887" y="510"/>
                  </a:lnTo>
                  <a:lnTo>
                    <a:pt x="3864" y="519"/>
                  </a:lnTo>
                  <a:lnTo>
                    <a:pt x="3864" y="519"/>
                  </a:lnTo>
                  <a:lnTo>
                    <a:pt x="3844" y="529"/>
                  </a:lnTo>
                  <a:lnTo>
                    <a:pt x="3824" y="539"/>
                  </a:lnTo>
                  <a:lnTo>
                    <a:pt x="3806" y="551"/>
                  </a:lnTo>
                  <a:lnTo>
                    <a:pt x="3787" y="562"/>
                  </a:lnTo>
                  <a:lnTo>
                    <a:pt x="3769" y="575"/>
                  </a:lnTo>
                  <a:lnTo>
                    <a:pt x="3752" y="587"/>
                  </a:lnTo>
                  <a:lnTo>
                    <a:pt x="3735" y="602"/>
                  </a:lnTo>
                  <a:lnTo>
                    <a:pt x="3719" y="616"/>
                  </a:lnTo>
                  <a:lnTo>
                    <a:pt x="3703" y="631"/>
                  </a:lnTo>
                  <a:lnTo>
                    <a:pt x="3687" y="647"/>
                  </a:lnTo>
                  <a:lnTo>
                    <a:pt x="3673" y="663"/>
                  </a:lnTo>
                  <a:lnTo>
                    <a:pt x="3659" y="679"/>
                  </a:lnTo>
                  <a:lnTo>
                    <a:pt x="3645" y="697"/>
                  </a:lnTo>
                  <a:lnTo>
                    <a:pt x="3633" y="715"/>
                  </a:lnTo>
                  <a:lnTo>
                    <a:pt x="3621" y="734"/>
                  </a:lnTo>
                  <a:lnTo>
                    <a:pt x="3609" y="753"/>
                  </a:lnTo>
                  <a:lnTo>
                    <a:pt x="3599" y="772"/>
                  </a:lnTo>
                  <a:lnTo>
                    <a:pt x="3589" y="793"/>
                  </a:lnTo>
                  <a:lnTo>
                    <a:pt x="3581" y="813"/>
                  </a:lnTo>
                  <a:lnTo>
                    <a:pt x="3573" y="835"/>
                  </a:lnTo>
                  <a:lnTo>
                    <a:pt x="3565" y="856"/>
                  </a:lnTo>
                  <a:lnTo>
                    <a:pt x="3559" y="879"/>
                  </a:lnTo>
                  <a:lnTo>
                    <a:pt x="3554" y="901"/>
                  </a:lnTo>
                  <a:lnTo>
                    <a:pt x="3550" y="924"/>
                  </a:lnTo>
                  <a:lnTo>
                    <a:pt x="3547" y="947"/>
                  </a:lnTo>
                  <a:lnTo>
                    <a:pt x="3545" y="972"/>
                  </a:lnTo>
                  <a:lnTo>
                    <a:pt x="3544" y="996"/>
                  </a:lnTo>
                  <a:lnTo>
                    <a:pt x="3543" y="1021"/>
                  </a:lnTo>
                  <a:lnTo>
                    <a:pt x="3544" y="1046"/>
                  </a:lnTo>
                  <a:lnTo>
                    <a:pt x="3546" y="1072"/>
                  </a:lnTo>
                  <a:lnTo>
                    <a:pt x="3550" y="1098"/>
                  </a:lnTo>
                  <a:lnTo>
                    <a:pt x="3554" y="1124"/>
                  </a:lnTo>
                  <a:lnTo>
                    <a:pt x="3554" y="1124"/>
                  </a:lnTo>
                  <a:lnTo>
                    <a:pt x="3559" y="1148"/>
                  </a:lnTo>
                  <a:lnTo>
                    <a:pt x="3564" y="1169"/>
                  </a:lnTo>
                  <a:lnTo>
                    <a:pt x="3571" y="1191"/>
                  </a:lnTo>
                  <a:lnTo>
                    <a:pt x="3577" y="1211"/>
                  </a:lnTo>
                  <a:lnTo>
                    <a:pt x="3585" y="1231"/>
                  </a:lnTo>
                  <a:lnTo>
                    <a:pt x="3592" y="1249"/>
                  </a:lnTo>
                  <a:lnTo>
                    <a:pt x="3601" y="1267"/>
                  </a:lnTo>
                  <a:lnTo>
                    <a:pt x="3610" y="1285"/>
                  </a:lnTo>
                  <a:lnTo>
                    <a:pt x="3620" y="1301"/>
                  </a:lnTo>
                  <a:lnTo>
                    <a:pt x="3631" y="1316"/>
                  </a:lnTo>
                  <a:lnTo>
                    <a:pt x="3641" y="1332"/>
                  </a:lnTo>
                  <a:lnTo>
                    <a:pt x="3652" y="1347"/>
                  </a:lnTo>
                  <a:lnTo>
                    <a:pt x="3665" y="1361"/>
                  </a:lnTo>
                  <a:lnTo>
                    <a:pt x="3677" y="1375"/>
                  </a:lnTo>
                  <a:lnTo>
                    <a:pt x="3690" y="1388"/>
                  </a:lnTo>
                  <a:lnTo>
                    <a:pt x="3704" y="1400"/>
                  </a:lnTo>
                  <a:lnTo>
                    <a:pt x="3732" y="1425"/>
                  </a:lnTo>
                  <a:lnTo>
                    <a:pt x="3763" y="1447"/>
                  </a:lnTo>
                  <a:lnTo>
                    <a:pt x="3795" y="1469"/>
                  </a:lnTo>
                  <a:lnTo>
                    <a:pt x="3828" y="1489"/>
                  </a:lnTo>
                  <a:lnTo>
                    <a:pt x="3863" y="1510"/>
                  </a:lnTo>
                  <a:lnTo>
                    <a:pt x="3899" y="1529"/>
                  </a:lnTo>
                  <a:lnTo>
                    <a:pt x="3976" y="1567"/>
                  </a:lnTo>
                  <a:lnTo>
                    <a:pt x="3976" y="1567"/>
                  </a:lnTo>
                  <a:lnTo>
                    <a:pt x="3945" y="1584"/>
                  </a:lnTo>
                  <a:lnTo>
                    <a:pt x="3916" y="1601"/>
                  </a:lnTo>
                  <a:lnTo>
                    <a:pt x="3890" y="1618"/>
                  </a:lnTo>
                  <a:lnTo>
                    <a:pt x="3864" y="1636"/>
                  </a:lnTo>
                  <a:lnTo>
                    <a:pt x="3840" y="1656"/>
                  </a:lnTo>
                  <a:lnTo>
                    <a:pt x="3817" y="1675"/>
                  </a:lnTo>
                  <a:lnTo>
                    <a:pt x="3797" y="1696"/>
                  </a:lnTo>
                  <a:lnTo>
                    <a:pt x="3778" y="1717"/>
                  </a:lnTo>
                  <a:lnTo>
                    <a:pt x="3761" y="1741"/>
                  </a:lnTo>
                  <a:lnTo>
                    <a:pt x="3754" y="1753"/>
                  </a:lnTo>
                  <a:lnTo>
                    <a:pt x="3746" y="1765"/>
                  </a:lnTo>
                  <a:lnTo>
                    <a:pt x="3739" y="1778"/>
                  </a:lnTo>
                  <a:lnTo>
                    <a:pt x="3733" y="1791"/>
                  </a:lnTo>
                  <a:lnTo>
                    <a:pt x="3728" y="1804"/>
                  </a:lnTo>
                  <a:lnTo>
                    <a:pt x="3723" y="1818"/>
                  </a:lnTo>
                  <a:lnTo>
                    <a:pt x="3718" y="1833"/>
                  </a:lnTo>
                  <a:lnTo>
                    <a:pt x="3714" y="1848"/>
                  </a:lnTo>
                  <a:lnTo>
                    <a:pt x="3711" y="1863"/>
                  </a:lnTo>
                  <a:lnTo>
                    <a:pt x="3708" y="1879"/>
                  </a:lnTo>
                  <a:lnTo>
                    <a:pt x="3706" y="1895"/>
                  </a:lnTo>
                  <a:lnTo>
                    <a:pt x="3705" y="1912"/>
                  </a:lnTo>
                  <a:lnTo>
                    <a:pt x="3704" y="1930"/>
                  </a:lnTo>
                  <a:lnTo>
                    <a:pt x="3703" y="1947"/>
                  </a:lnTo>
                  <a:lnTo>
                    <a:pt x="3703" y="1947"/>
                  </a:lnTo>
                  <a:lnTo>
                    <a:pt x="3704" y="1970"/>
                  </a:lnTo>
                  <a:lnTo>
                    <a:pt x="3707" y="1993"/>
                  </a:lnTo>
                  <a:lnTo>
                    <a:pt x="3711" y="2016"/>
                  </a:lnTo>
                  <a:lnTo>
                    <a:pt x="3716" y="2039"/>
                  </a:lnTo>
                  <a:lnTo>
                    <a:pt x="3729" y="2087"/>
                  </a:lnTo>
                  <a:lnTo>
                    <a:pt x="3736" y="2113"/>
                  </a:lnTo>
                  <a:lnTo>
                    <a:pt x="3742" y="2139"/>
                  </a:lnTo>
                  <a:lnTo>
                    <a:pt x="3749" y="2168"/>
                  </a:lnTo>
                  <a:lnTo>
                    <a:pt x="3753" y="2197"/>
                  </a:lnTo>
                  <a:lnTo>
                    <a:pt x="3757" y="2227"/>
                  </a:lnTo>
                  <a:lnTo>
                    <a:pt x="3758" y="2260"/>
                  </a:lnTo>
                  <a:lnTo>
                    <a:pt x="3758" y="2295"/>
                  </a:lnTo>
                  <a:lnTo>
                    <a:pt x="3757" y="2313"/>
                  </a:lnTo>
                  <a:lnTo>
                    <a:pt x="3755" y="2332"/>
                  </a:lnTo>
                  <a:lnTo>
                    <a:pt x="3753" y="2350"/>
                  </a:lnTo>
                  <a:lnTo>
                    <a:pt x="3750" y="2371"/>
                  </a:lnTo>
                  <a:lnTo>
                    <a:pt x="3745" y="2391"/>
                  </a:lnTo>
                  <a:lnTo>
                    <a:pt x="3741" y="2411"/>
                  </a:lnTo>
                  <a:lnTo>
                    <a:pt x="3741" y="2411"/>
                  </a:lnTo>
                  <a:lnTo>
                    <a:pt x="3741" y="2413"/>
                  </a:lnTo>
                  <a:lnTo>
                    <a:pt x="3741" y="2414"/>
                  </a:lnTo>
                  <a:lnTo>
                    <a:pt x="3743" y="2414"/>
                  </a:lnTo>
                  <a:lnTo>
                    <a:pt x="3745" y="2416"/>
                  </a:lnTo>
                  <a:lnTo>
                    <a:pt x="3753" y="2413"/>
                  </a:lnTo>
                  <a:lnTo>
                    <a:pt x="3762" y="2411"/>
                  </a:lnTo>
                  <a:lnTo>
                    <a:pt x="3785" y="2401"/>
                  </a:lnTo>
                  <a:lnTo>
                    <a:pt x="3814" y="2389"/>
                  </a:lnTo>
                  <a:lnTo>
                    <a:pt x="3842" y="2374"/>
                  </a:lnTo>
                  <a:lnTo>
                    <a:pt x="3867" y="2360"/>
                  </a:lnTo>
                  <a:lnTo>
                    <a:pt x="3886" y="2349"/>
                  </a:lnTo>
                  <a:lnTo>
                    <a:pt x="3891" y="2345"/>
                  </a:lnTo>
                  <a:lnTo>
                    <a:pt x="3894" y="2343"/>
                  </a:lnTo>
                  <a:lnTo>
                    <a:pt x="3894" y="2343"/>
                  </a:lnTo>
                  <a:lnTo>
                    <a:pt x="3903" y="2319"/>
                  </a:lnTo>
                  <a:lnTo>
                    <a:pt x="3910" y="2296"/>
                  </a:lnTo>
                  <a:lnTo>
                    <a:pt x="3916" y="2272"/>
                  </a:lnTo>
                  <a:lnTo>
                    <a:pt x="3921" y="2248"/>
                  </a:lnTo>
                  <a:lnTo>
                    <a:pt x="3925" y="2224"/>
                  </a:lnTo>
                  <a:lnTo>
                    <a:pt x="3928" y="2201"/>
                  </a:lnTo>
                  <a:lnTo>
                    <a:pt x="3930" y="2178"/>
                  </a:lnTo>
                  <a:lnTo>
                    <a:pt x="3932" y="2156"/>
                  </a:lnTo>
                  <a:lnTo>
                    <a:pt x="3932" y="2117"/>
                  </a:lnTo>
                  <a:lnTo>
                    <a:pt x="3931" y="2086"/>
                  </a:lnTo>
                  <a:lnTo>
                    <a:pt x="3928" y="2059"/>
                  </a:lnTo>
                  <a:lnTo>
                    <a:pt x="3928" y="2059"/>
                  </a:lnTo>
                  <a:lnTo>
                    <a:pt x="3939" y="2068"/>
                  </a:lnTo>
                  <a:lnTo>
                    <a:pt x="3947" y="2079"/>
                  </a:lnTo>
                  <a:lnTo>
                    <a:pt x="3954" y="2091"/>
                  </a:lnTo>
                  <a:lnTo>
                    <a:pt x="3960" y="2105"/>
                  </a:lnTo>
                  <a:lnTo>
                    <a:pt x="3964" y="2120"/>
                  </a:lnTo>
                  <a:lnTo>
                    <a:pt x="3968" y="2135"/>
                  </a:lnTo>
                  <a:lnTo>
                    <a:pt x="3971" y="2152"/>
                  </a:lnTo>
                  <a:lnTo>
                    <a:pt x="3973" y="2168"/>
                  </a:lnTo>
                  <a:lnTo>
                    <a:pt x="3975" y="2185"/>
                  </a:lnTo>
                  <a:lnTo>
                    <a:pt x="3976" y="2203"/>
                  </a:lnTo>
                  <a:lnTo>
                    <a:pt x="3976" y="2219"/>
                  </a:lnTo>
                  <a:lnTo>
                    <a:pt x="3975" y="2237"/>
                  </a:lnTo>
                  <a:lnTo>
                    <a:pt x="3971" y="2268"/>
                  </a:lnTo>
                  <a:lnTo>
                    <a:pt x="3965" y="2297"/>
                  </a:lnTo>
                  <a:lnTo>
                    <a:pt x="3965" y="2297"/>
                  </a:lnTo>
                  <a:lnTo>
                    <a:pt x="3982" y="2288"/>
                  </a:lnTo>
                  <a:lnTo>
                    <a:pt x="3998" y="2276"/>
                  </a:lnTo>
                  <a:lnTo>
                    <a:pt x="4016" y="2263"/>
                  </a:lnTo>
                  <a:lnTo>
                    <a:pt x="4036" y="2249"/>
                  </a:lnTo>
                  <a:lnTo>
                    <a:pt x="4053" y="2234"/>
                  </a:lnTo>
                  <a:lnTo>
                    <a:pt x="4061" y="2226"/>
                  </a:lnTo>
                  <a:lnTo>
                    <a:pt x="4068" y="2219"/>
                  </a:lnTo>
                  <a:lnTo>
                    <a:pt x="4072" y="2212"/>
                  </a:lnTo>
                  <a:lnTo>
                    <a:pt x="4075" y="2206"/>
                  </a:lnTo>
                  <a:lnTo>
                    <a:pt x="4075" y="2206"/>
                  </a:lnTo>
                  <a:lnTo>
                    <a:pt x="4083" y="2176"/>
                  </a:lnTo>
                  <a:lnTo>
                    <a:pt x="4090" y="2148"/>
                  </a:lnTo>
                  <a:lnTo>
                    <a:pt x="4094" y="2121"/>
                  </a:lnTo>
                  <a:lnTo>
                    <a:pt x="4096" y="2095"/>
                  </a:lnTo>
                  <a:lnTo>
                    <a:pt x="4096" y="2071"/>
                  </a:lnTo>
                  <a:lnTo>
                    <a:pt x="4095" y="2047"/>
                  </a:lnTo>
                  <a:lnTo>
                    <a:pt x="4093" y="2025"/>
                  </a:lnTo>
                  <a:lnTo>
                    <a:pt x="4090" y="2003"/>
                  </a:lnTo>
                  <a:lnTo>
                    <a:pt x="4085" y="1983"/>
                  </a:lnTo>
                  <a:lnTo>
                    <a:pt x="4080" y="1964"/>
                  </a:lnTo>
                  <a:lnTo>
                    <a:pt x="4075" y="1945"/>
                  </a:lnTo>
                  <a:lnTo>
                    <a:pt x="4069" y="1928"/>
                  </a:lnTo>
                  <a:lnTo>
                    <a:pt x="4055" y="1894"/>
                  </a:lnTo>
                  <a:lnTo>
                    <a:pt x="4043" y="1862"/>
                  </a:lnTo>
                  <a:lnTo>
                    <a:pt x="4043" y="1862"/>
                  </a:lnTo>
                  <a:lnTo>
                    <a:pt x="4038" y="1847"/>
                  </a:lnTo>
                  <a:lnTo>
                    <a:pt x="4035" y="1832"/>
                  </a:lnTo>
                  <a:lnTo>
                    <a:pt x="4034" y="1817"/>
                  </a:lnTo>
                  <a:lnTo>
                    <a:pt x="4035" y="1802"/>
                  </a:lnTo>
                  <a:lnTo>
                    <a:pt x="4037" y="1788"/>
                  </a:lnTo>
                  <a:lnTo>
                    <a:pt x="4041" y="1773"/>
                  </a:lnTo>
                  <a:lnTo>
                    <a:pt x="4046" y="1759"/>
                  </a:lnTo>
                  <a:lnTo>
                    <a:pt x="4053" y="1746"/>
                  </a:lnTo>
                  <a:lnTo>
                    <a:pt x="4061" y="1733"/>
                  </a:lnTo>
                  <a:lnTo>
                    <a:pt x="4071" y="1719"/>
                  </a:lnTo>
                  <a:lnTo>
                    <a:pt x="4081" y="1707"/>
                  </a:lnTo>
                  <a:lnTo>
                    <a:pt x="4092" y="1696"/>
                  </a:lnTo>
                  <a:lnTo>
                    <a:pt x="4103" y="1684"/>
                  </a:lnTo>
                  <a:lnTo>
                    <a:pt x="4117" y="1673"/>
                  </a:lnTo>
                  <a:lnTo>
                    <a:pt x="4130" y="1664"/>
                  </a:lnTo>
                  <a:lnTo>
                    <a:pt x="4145" y="1655"/>
                  </a:lnTo>
                  <a:lnTo>
                    <a:pt x="4145" y="1655"/>
                  </a:lnTo>
                  <a:lnTo>
                    <a:pt x="4180" y="1674"/>
                  </a:lnTo>
                  <a:lnTo>
                    <a:pt x="4215" y="1695"/>
                  </a:lnTo>
                  <a:lnTo>
                    <a:pt x="4251" y="1716"/>
                  </a:lnTo>
                  <a:lnTo>
                    <a:pt x="4286" y="1740"/>
                  </a:lnTo>
                  <a:lnTo>
                    <a:pt x="4286" y="1740"/>
                  </a:lnTo>
                  <a:lnTo>
                    <a:pt x="4307" y="1754"/>
                  </a:lnTo>
                  <a:lnTo>
                    <a:pt x="4341" y="1779"/>
                  </a:lnTo>
                  <a:lnTo>
                    <a:pt x="4361" y="1794"/>
                  </a:lnTo>
                  <a:lnTo>
                    <a:pt x="4382" y="1812"/>
                  </a:lnTo>
                  <a:lnTo>
                    <a:pt x="4405" y="1832"/>
                  </a:lnTo>
                  <a:lnTo>
                    <a:pt x="4430" y="1853"/>
                  </a:lnTo>
                  <a:lnTo>
                    <a:pt x="4453" y="1877"/>
                  </a:lnTo>
                  <a:lnTo>
                    <a:pt x="4478" y="1901"/>
                  </a:lnTo>
                  <a:lnTo>
                    <a:pt x="4501" y="1928"/>
                  </a:lnTo>
                  <a:lnTo>
                    <a:pt x="4524" y="1956"/>
                  </a:lnTo>
                  <a:lnTo>
                    <a:pt x="4545" y="1985"/>
                  </a:lnTo>
                  <a:lnTo>
                    <a:pt x="4564" y="2016"/>
                  </a:lnTo>
                  <a:lnTo>
                    <a:pt x="4574" y="2031"/>
                  </a:lnTo>
                  <a:lnTo>
                    <a:pt x="4582" y="2047"/>
                  </a:lnTo>
                  <a:lnTo>
                    <a:pt x="4590" y="2064"/>
                  </a:lnTo>
                  <a:lnTo>
                    <a:pt x="4596" y="2080"/>
                  </a:lnTo>
                  <a:lnTo>
                    <a:pt x="4596" y="2080"/>
                  </a:lnTo>
                  <a:lnTo>
                    <a:pt x="4606" y="2106"/>
                  </a:lnTo>
                  <a:lnTo>
                    <a:pt x="4616" y="2130"/>
                  </a:lnTo>
                  <a:lnTo>
                    <a:pt x="4624" y="2155"/>
                  </a:lnTo>
                  <a:lnTo>
                    <a:pt x="4630" y="2178"/>
                  </a:lnTo>
                  <a:lnTo>
                    <a:pt x="4636" y="2202"/>
                  </a:lnTo>
                  <a:lnTo>
                    <a:pt x="4641" y="2224"/>
                  </a:lnTo>
                  <a:lnTo>
                    <a:pt x="4645" y="2246"/>
                  </a:lnTo>
                  <a:lnTo>
                    <a:pt x="4649" y="2266"/>
                  </a:lnTo>
                  <a:lnTo>
                    <a:pt x="4651" y="2287"/>
                  </a:lnTo>
                  <a:lnTo>
                    <a:pt x="4653" y="2306"/>
                  </a:lnTo>
                  <a:lnTo>
                    <a:pt x="4654" y="2325"/>
                  </a:lnTo>
                  <a:lnTo>
                    <a:pt x="4655" y="2343"/>
                  </a:lnTo>
                  <a:lnTo>
                    <a:pt x="4654" y="2377"/>
                  </a:lnTo>
                  <a:lnTo>
                    <a:pt x="4652" y="2408"/>
                  </a:lnTo>
                  <a:lnTo>
                    <a:pt x="4648" y="2437"/>
                  </a:lnTo>
                  <a:lnTo>
                    <a:pt x="4642" y="2464"/>
                  </a:lnTo>
                  <a:lnTo>
                    <a:pt x="4635" y="2487"/>
                  </a:lnTo>
                  <a:lnTo>
                    <a:pt x="4628" y="2509"/>
                  </a:lnTo>
                  <a:lnTo>
                    <a:pt x="4620" y="2527"/>
                  </a:lnTo>
                  <a:lnTo>
                    <a:pt x="4612" y="2544"/>
                  </a:lnTo>
                  <a:lnTo>
                    <a:pt x="4603" y="2559"/>
                  </a:lnTo>
                  <a:lnTo>
                    <a:pt x="4596" y="2570"/>
                  </a:lnTo>
                  <a:lnTo>
                    <a:pt x="4596" y="2570"/>
                  </a:lnTo>
                  <a:lnTo>
                    <a:pt x="4582" y="2590"/>
                  </a:lnTo>
                  <a:lnTo>
                    <a:pt x="4568" y="2611"/>
                  </a:lnTo>
                  <a:lnTo>
                    <a:pt x="4553" y="2629"/>
                  </a:lnTo>
                  <a:lnTo>
                    <a:pt x="4538" y="2648"/>
                  </a:lnTo>
                  <a:lnTo>
                    <a:pt x="4522" y="2665"/>
                  </a:lnTo>
                  <a:lnTo>
                    <a:pt x="4505" y="2681"/>
                  </a:lnTo>
                  <a:lnTo>
                    <a:pt x="4487" y="2697"/>
                  </a:lnTo>
                  <a:lnTo>
                    <a:pt x="4469" y="2711"/>
                  </a:lnTo>
                  <a:lnTo>
                    <a:pt x="4450" y="2724"/>
                  </a:lnTo>
                  <a:lnTo>
                    <a:pt x="4430" y="2736"/>
                  </a:lnTo>
                  <a:lnTo>
                    <a:pt x="4409" y="2747"/>
                  </a:lnTo>
                  <a:lnTo>
                    <a:pt x="4388" y="2756"/>
                  </a:lnTo>
                  <a:lnTo>
                    <a:pt x="4364" y="2764"/>
                  </a:lnTo>
                  <a:lnTo>
                    <a:pt x="4341" y="2771"/>
                  </a:lnTo>
                  <a:lnTo>
                    <a:pt x="4316" y="2776"/>
                  </a:lnTo>
                  <a:lnTo>
                    <a:pt x="4290" y="2779"/>
                  </a:lnTo>
                  <a:lnTo>
                    <a:pt x="4290" y="2779"/>
                  </a:lnTo>
                  <a:lnTo>
                    <a:pt x="4283" y="2778"/>
                  </a:lnTo>
                  <a:lnTo>
                    <a:pt x="4275" y="2778"/>
                  </a:lnTo>
                  <a:lnTo>
                    <a:pt x="4275" y="2778"/>
                  </a:lnTo>
                  <a:lnTo>
                    <a:pt x="4242" y="2779"/>
                  </a:lnTo>
                  <a:lnTo>
                    <a:pt x="4213" y="2779"/>
                  </a:lnTo>
                  <a:lnTo>
                    <a:pt x="4185" y="2778"/>
                  </a:lnTo>
                  <a:lnTo>
                    <a:pt x="4159" y="2775"/>
                  </a:lnTo>
                  <a:lnTo>
                    <a:pt x="4159" y="2775"/>
                  </a:lnTo>
                  <a:lnTo>
                    <a:pt x="4131" y="2770"/>
                  </a:lnTo>
                  <a:lnTo>
                    <a:pt x="4103" y="2765"/>
                  </a:lnTo>
                  <a:lnTo>
                    <a:pt x="4077" y="2758"/>
                  </a:lnTo>
                  <a:lnTo>
                    <a:pt x="4052" y="2751"/>
                  </a:lnTo>
                  <a:lnTo>
                    <a:pt x="4052" y="2751"/>
                  </a:lnTo>
                  <a:lnTo>
                    <a:pt x="4009" y="2736"/>
                  </a:lnTo>
                  <a:lnTo>
                    <a:pt x="3965" y="2717"/>
                  </a:lnTo>
                  <a:lnTo>
                    <a:pt x="3965" y="2717"/>
                  </a:lnTo>
                  <a:lnTo>
                    <a:pt x="3925" y="2697"/>
                  </a:lnTo>
                  <a:lnTo>
                    <a:pt x="3874" y="2669"/>
                  </a:lnTo>
                  <a:lnTo>
                    <a:pt x="3846" y="2652"/>
                  </a:lnTo>
                  <a:lnTo>
                    <a:pt x="3815" y="2632"/>
                  </a:lnTo>
                  <a:lnTo>
                    <a:pt x="3782" y="2612"/>
                  </a:lnTo>
                  <a:lnTo>
                    <a:pt x="3748" y="2588"/>
                  </a:lnTo>
                  <a:lnTo>
                    <a:pt x="3712" y="2564"/>
                  </a:lnTo>
                  <a:lnTo>
                    <a:pt x="3676" y="2536"/>
                  </a:lnTo>
                  <a:lnTo>
                    <a:pt x="3638" y="2508"/>
                  </a:lnTo>
                  <a:lnTo>
                    <a:pt x="3601" y="2477"/>
                  </a:lnTo>
                  <a:lnTo>
                    <a:pt x="3563" y="2444"/>
                  </a:lnTo>
                  <a:lnTo>
                    <a:pt x="3526" y="2409"/>
                  </a:lnTo>
                  <a:lnTo>
                    <a:pt x="3488" y="2373"/>
                  </a:lnTo>
                  <a:lnTo>
                    <a:pt x="3451" y="2335"/>
                  </a:lnTo>
                  <a:lnTo>
                    <a:pt x="3451" y="2335"/>
                  </a:lnTo>
                  <a:lnTo>
                    <a:pt x="3394" y="2271"/>
                  </a:lnTo>
                  <a:lnTo>
                    <a:pt x="3342" y="2212"/>
                  </a:lnTo>
                  <a:lnTo>
                    <a:pt x="3295" y="2157"/>
                  </a:lnTo>
                  <a:lnTo>
                    <a:pt x="3253" y="2107"/>
                  </a:lnTo>
                  <a:lnTo>
                    <a:pt x="3215" y="2060"/>
                  </a:lnTo>
                  <a:lnTo>
                    <a:pt x="3180" y="2017"/>
                  </a:lnTo>
                  <a:lnTo>
                    <a:pt x="3120" y="1940"/>
                  </a:lnTo>
                  <a:lnTo>
                    <a:pt x="3120" y="1940"/>
                  </a:lnTo>
                  <a:lnTo>
                    <a:pt x="3138" y="1947"/>
                  </a:lnTo>
                  <a:lnTo>
                    <a:pt x="3156" y="1953"/>
                  </a:lnTo>
                  <a:lnTo>
                    <a:pt x="3175" y="1958"/>
                  </a:lnTo>
                  <a:lnTo>
                    <a:pt x="3193" y="1963"/>
                  </a:lnTo>
                  <a:lnTo>
                    <a:pt x="3211" y="1966"/>
                  </a:lnTo>
                  <a:lnTo>
                    <a:pt x="3229" y="1968"/>
                  </a:lnTo>
                  <a:lnTo>
                    <a:pt x="3262" y="1971"/>
                  </a:lnTo>
                  <a:lnTo>
                    <a:pt x="3289" y="1971"/>
                  </a:lnTo>
                  <a:lnTo>
                    <a:pt x="3312" y="1970"/>
                  </a:lnTo>
                  <a:lnTo>
                    <a:pt x="3332" y="1968"/>
                  </a:lnTo>
                  <a:lnTo>
                    <a:pt x="3332" y="1968"/>
                  </a:lnTo>
                  <a:lnTo>
                    <a:pt x="3336" y="1918"/>
                  </a:lnTo>
                  <a:lnTo>
                    <a:pt x="3338" y="1873"/>
                  </a:lnTo>
                  <a:lnTo>
                    <a:pt x="3340" y="1833"/>
                  </a:lnTo>
                  <a:lnTo>
                    <a:pt x="3346" y="1698"/>
                  </a:lnTo>
                  <a:lnTo>
                    <a:pt x="3346" y="1698"/>
                  </a:lnTo>
                  <a:lnTo>
                    <a:pt x="3349" y="1661"/>
                  </a:lnTo>
                  <a:lnTo>
                    <a:pt x="3351" y="1626"/>
                  </a:lnTo>
                  <a:lnTo>
                    <a:pt x="3352" y="1589"/>
                  </a:lnTo>
                  <a:lnTo>
                    <a:pt x="3352" y="1589"/>
                  </a:lnTo>
                  <a:lnTo>
                    <a:pt x="3340" y="1588"/>
                  </a:lnTo>
                  <a:lnTo>
                    <a:pt x="3307" y="1584"/>
                  </a:lnTo>
                  <a:lnTo>
                    <a:pt x="3285" y="1581"/>
                  </a:lnTo>
                  <a:lnTo>
                    <a:pt x="3260" y="1576"/>
                  </a:lnTo>
                  <a:lnTo>
                    <a:pt x="3233" y="1571"/>
                  </a:lnTo>
                  <a:lnTo>
                    <a:pt x="3206" y="1564"/>
                  </a:lnTo>
                  <a:lnTo>
                    <a:pt x="3176" y="1555"/>
                  </a:lnTo>
                  <a:lnTo>
                    <a:pt x="3147" y="1544"/>
                  </a:lnTo>
                  <a:lnTo>
                    <a:pt x="3120" y="1532"/>
                  </a:lnTo>
                  <a:lnTo>
                    <a:pt x="3106" y="1526"/>
                  </a:lnTo>
                  <a:lnTo>
                    <a:pt x="3093" y="1519"/>
                  </a:lnTo>
                  <a:lnTo>
                    <a:pt x="3081" y="1511"/>
                  </a:lnTo>
                  <a:lnTo>
                    <a:pt x="3070" y="1502"/>
                  </a:lnTo>
                  <a:lnTo>
                    <a:pt x="3058" y="1493"/>
                  </a:lnTo>
                  <a:lnTo>
                    <a:pt x="3049" y="1484"/>
                  </a:lnTo>
                  <a:lnTo>
                    <a:pt x="3040" y="1474"/>
                  </a:lnTo>
                  <a:lnTo>
                    <a:pt x="3032" y="1463"/>
                  </a:lnTo>
                  <a:lnTo>
                    <a:pt x="3025" y="1451"/>
                  </a:lnTo>
                  <a:lnTo>
                    <a:pt x="3019" y="1439"/>
                  </a:lnTo>
                  <a:lnTo>
                    <a:pt x="3019" y="1439"/>
                  </a:lnTo>
                  <a:lnTo>
                    <a:pt x="3030" y="1445"/>
                  </a:lnTo>
                  <a:lnTo>
                    <a:pt x="3042" y="1450"/>
                  </a:lnTo>
                  <a:lnTo>
                    <a:pt x="3059" y="1457"/>
                  </a:lnTo>
                  <a:lnTo>
                    <a:pt x="3081" y="1465"/>
                  </a:lnTo>
                  <a:lnTo>
                    <a:pt x="3106" y="1472"/>
                  </a:lnTo>
                  <a:lnTo>
                    <a:pt x="3136" y="1477"/>
                  </a:lnTo>
                  <a:lnTo>
                    <a:pt x="3152" y="1479"/>
                  </a:lnTo>
                  <a:lnTo>
                    <a:pt x="3169" y="1480"/>
                  </a:lnTo>
                  <a:lnTo>
                    <a:pt x="3169" y="1480"/>
                  </a:lnTo>
                  <a:lnTo>
                    <a:pt x="3201" y="1481"/>
                  </a:lnTo>
                  <a:lnTo>
                    <a:pt x="3234" y="1481"/>
                  </a:lnTo>
                  <a:lnTo>
                    <a:pt x="3266" y="1479"/>
                  </a:lnTo>
                  <a:lnTo>
                    <a:pt x="3295" y="1477"/>
                  </a:lnTo>
                  <a:lnTo>
                    <a:pt x="3340" y="1471"/>
                  </a:lnTo>
                  <a:lnTo>
                    <a:pt x="3357" y="1469"/>
                  </a:lnTo>
                  <a:lnTo>
                    <a:pt x="3357" y="1469"/>
                  </a:lnTo>
                  <a:lnTo>
                    <a:pt x="3359" y="1463"/>
                  </a:lnTo>
                  <a:lnTo>
                    <a:pt x="3361" y="1451"/>
                  </a:lnTo>
                  <a:lnTo>
                    <a:pt x="3364" y="1421"/>
                  </a:lnTo>
                  <a:lnTo>
                    <a:pt x="3367" y="1381"/>
                  </a:lnTo>
                  <a:lnTo>
                    <a:pt x="3369" y="1337"/>
                  </a:lnTo>
                  <a:lnTo>
                    <a:pt x="3373" y="1257"/>
                  </a:lnTo>
                  <a:lnTo>
                    <a:pt x="3375" y="1222"/>
                  </a:lnTo>
                  <a:lnTo>
                    <a:pt x="3375" y="1222"/>
                  </a:lnTo>
                  <a:lnTo>
                    <a:pt x="3376" y="1194"/>
                  </a:lnTo>
                  <a:lnTo>
                    <a:pt x="3377" y="1154"/>
                  </a:lnTo>
                  <a:lnTo>
                    <a:pt x="3377" y="1105"/>
                  </a:lnTo>
                  <a:lnTo>
                    <a:pt x="3377" y="1105"/>
                  </a:lnTo>
                  <a:lnTo>
                    <a:pt x="3369" y="1107"/>
                  </a:lnTo>
                  <a:lnTo>
                    <a:pt x="3359" y="1108"/>
                  </a:lnTo>
                  <a:lnTo>
                    <a:pt x="3338" y="1110"/>
                  </a:lnTo>
                  <a:lnTo>
                    <a:pt x="3315" y="1109"/>
                  </a:lnTo>
                  <a:lnTo>
                    <a:pt x="3290" y="1107"/>
                  </a:lnTo>
                  <a:lnTo>
                    <a:pt x="3264" y="1104"/>
                  </a:lnTo>
                  <a:lnTo>
                    <a:pt x="3236" y="1100"/>
                  </a:lnTo>
                  <a:lnTo>
                    <a:pt x="3208" y="1094"/>
                  </a:lnTo>
                  <a:lnTo>
                    <a:pt x="3178" y="1086"/>
                  </a:lnTo>
                  <a:lnTo>
                    <a:pt x="3178" y="1086"/>
                  </a:lnTo>
                  <a:lnTo>
                    <a:pt x="3158" y="1080"/>
                  </a:lnTo>
                  <a:lnTo>
                    <a:pt x="3135" y="1071"/>
                  </a:lnTo>
                  <a:lnTo>
                    <a:pt x="3112" y="1059"/>
                  </a:lnTo>
                  <a:lnTo>
                    <a:pt x="3088" y="1044"/>
                  </a:lnTo>
                  <a:lnTo>
                    <a:pt x="3064" y="1028"/>
                  </a:lnTo>
                  <a:lnTo>
                    <a:pt x="3053" y="1019"/>
                  </a:lnTo>
                  <a:lnTo>
                    <a:pt x="3043" y="1010"/>
                  </a:lnTo>
                  <a:lnTo>
                    <a:pt x="3034" y="999"/>
                  </a:lnTo>
                  <a:lnTo>
                    <a:pt x="3025" y="990"/>
                  </a:lnTo>
                  <a:lnTo>
                    <a:pt x="3017" y="980"/>
                  </a:lnTo>
                  <a:lnTo>
                    <a:pt x="3010" y="969"/>
                  </a:lnTo>
                  <a:lnTo>
                    <a:pt x="3010" y="969"/>
                  </a:lnTo>
                  <a:lnTo>
                    <a:pt x="3022" y="974"/>
                  </a:lnTo>
                  <a:lnTo>
                    <a:pt x="3035" y="978"/>
                  </a:lnTo>
                  <a:lnTo>
                    <a:pt x="3052" y="984"/>
                  </a:lnTo>
                  <a:lnTo>
                    <a:pt x="3075" y="990"/>
                  </a:lnTo>
                  <a:lnTo>
                    <a:pt x="3101" y="996"/>
                  </a:lnTo>
                  <a:lnTo>
                    <a:pt x="3132" y="1003"/>
                  </a:lnTo>
                  <a:lnTo>
                    <a:pt x="3167" y="1008"/>
                  </a:lnTo>
                  <a:lnTo>
                    <a:pt x="3167" y="1008"/>
                  </a:lnTo>
                  <a:lnTo>
                    <a:pt x="3187" y="1010"/>
                  </a:lnTo>
                  <a:lnTo>
                    <a:pt x="3207" y="1011"/>
                  </a:lnTo>
                  <a:lnTo>
                    <a:pt x="3226" y="1012"/>
                  </a:lnTo>
                  <a:lnTo>
                    <a:pt x="3245" y="1012"/>
                  </a:lnTo>
                  <a:lnTo>
                    <a:pt x="3283" y="1010"/>
                  </a:lnTo>
                  <a:lnTo>
                    <a:pt x="3317" y="1007"/>
                  </a:lnTo>
                  <a:lnTo>
                    <a:pt x="3346" y="1001"/>
                  </a:lnTo>
                  <a:lnTo>
                    <a:pt x="3369" y="996"/>
                  </a:lnTo>
                  <a:lnTo>
                    <a:pt x="3377" y="993"/>
                  </a:lnTo>
                  <a:lnTo>
                    <a:pt x="3383" y="991"/>
                  </a:lnTo>
                  <a:lnTo>
                    <a:pt x="3388" y="988"/>
                  </a:lnTo>
                  <a:lnTo>
                    <a:pt x="3390" y="985"/>
                  </a:lnTo>
                  <a:lnTo>
                    <a:pt x="3390" y="985"/>
                  </a:lnTo>
                  <a:lnTo>
                    <a:pt x="3392" y="959"/>
                  </a:lnTo>
                  <a:lnTo>
                    <a:pt x="3393" y="925"/>
                  </a:lnTo>
                  <a:lnTo>
                    <a:pt x="3394" y="848"/>
                  </a:lnTo>
                  <a:lnTo>
                    <a:pt x="3394" y="750"/>
                  </a:lnTo>
                  <a:lnTo>
                    <a:pt x="3394" y="750"/>
                  </a:lnTo>
                  <a:lnTo>
                    <a:pt x="3399" y="686"/>
                  </a:lnTo>
                  <a:lnTo>
                    <a:pt x="3400" y="642"/>
                  </a:lnTo>
                  <a:lnTo>
                    <a:pt x="3400" y="627"/>
                  </a:lnTo>
                  <a:lnTo>
                    <a:pt x="3399" y="623"/>
                  </a:lnTo>
                  <a:lnTo>
                    <a:pt x="3398" y="622"/>
                  </a:lnTo>
                  <a:lnTo>
                    <a:pt x="3398" y="622"/>
                  </a:lnTo>
                  <a:lnTo>
                    <a:pt x="3392" y="622"/>
                  </a:lnTo>
                  <a:lnTo>
                    <a:pt x="3381" y="623"/>
                  </a:lnTo>
                  <a:lnTo>
                    <a:pt x="3368" y="623"/>
                  </a:lnTo>
                  <a:lnTo>
                    <a:pt x="3354" y="622"/>
                  </a:lnTo>
                  <a:lnTo>
                    <a:pt x="3336" y="620"/>
                  </a:lnTo>
                  <a:lnTo>
                    <a:pt x="3317" y="617"/>
                  </a:lnTo>
                  <a:lnTo>
                    <a:pt x="3297" y="612"/>
                  </a:lnTo>
                  <a:lnTo>
                    <a:pt x="3274" y="607"/>
                  </a:lnTo>
                  <a:lnTo>
                    <a:pt x="3251" y="599"/>
                  </a:lnTo>
                  <a:lnTo>
                    <a:pt x="3226" y="589"/>
                  </a:lnTo>
                  <a:lnTo>
                    <a:pt x="3200" y="578"/>
                  </a:lnTo>
                  <a:lnTo>
                    <a:pt x="3175" y="564"/>
                  </a:lnTo>
                  <a:lnTo>
                    <a:pt x="3149" y="548"/>
                  </a:lnTo>
                  <a:lnTo>
                    <a:pt x="3123" y="529"/>
                  </a:lnTo>
                  <a:lnTo>
                    <a:pt x="3110" y="519"/>
                  </a:lnTo>
                  <a:lnTo>
                    <a:pt x="3097" y="508"/>
                  </a:lnTo>
                  <a:lnTo>
                    <a:pt x="3085" y="495"/>
                  </a:lnTo>
                  <a:lnTo>
                    <a:pt x="3073" y="483"/>
                  </a:lnTo>
                  <a:lnTo>
                    <a:pt x="3073" y="483"/>
                  </a:lnTo>
                  <a:lnTo>
                    <a:pt x="3071" y="481"/>
                  </a:lnTo>
                  <a:lnTo>
                    <a:pt x="3065" y="476"/>
                  </a:lnTo>
                  <a:lnTo>
                    <a:pt x="3059" y="467"/>
                  </a:lnTo>
                  <a:lnTo>
                    <a:pt x="3056" y="461"/>
                  </a:lnTo>
                  <a:lnTo>
                    <a:pt x="3053" y="454"/>
                  </a:lnTo>
                  <a:lnTo>
                    <a:pt x="3051" y="447"/>
                  </a:lnTo>
                  <a:lnTo>
                    <a:pt x="3050" y="439"/>
                  </a:lnTo>
                  <a:lnTo>
                    <a:pt x="3049" y="430"/>
                  </a:lnTo>
                  <a:lnTo>
                    <a:pt x="3050" y="420"/>
                  </a:lnTo>
                  <a:lnTo>
                    <a:pt x="3053" y="410"/>
                  </a:lnTo>
                  <a:lnTo>
                    <a:pt x="3056" y="398"/>
                  </a:lnTo>
                  <a:lnTo>
                    <a:pt x="3062" y="386"/>
                  </a:lnTo>
                  <a:lnTo>
                    <a:pt x="3071" y="373"/>
                  </a:lnTo>
                  <a:lnTo>
                    <a:pt x="3071" y="373"/>
                  </a:lnTo>
                  <a:lnTo>
                    <a:pt x="2806" y="254"/>
                  </a:lnTo>
                  <a:lnTo>
                    <a:pt x="2806" y="254"/>
                  </a:lnTo>
                  <a:lnTo>
                    <a:pt x="2815" y="245"/>
                  </a:lnTo>
                  <a:lnTo>
                    <a:pt x="2824" y="234"/>
                  </a:lnTo>
                  <a:lnTo>
                    <a:pt x="2834" y="219"/>
                  </a:lnTo>
                  <a:lnTo>
                    <a:pt x="2845" y="203"/>
                  </a:lnTo>
                  <a:lnTo>
                    <a:pt x="2850" y="194"/>
                  </a:lnTo>
                  <a:lnTo>
                    <a:pt x="2854" y="185"/>
                  </a:lnTo>
                  <a:lnTo>
                    <a:pt x="2858" y="174"/>
                  </a:lnTo>
                  <a:lnTo>
                    <a:pt x="2861" y="164"/>
                  </a:lnTo>
                  <a:lnTo>
                    <a:pt x="2863" y="154"/>
                  </a:lnTo>
                  <a:lnTo>
                    <a:pt x="2863" y="144"/>
                  </a:lnTo>
                  <a:lnTo>
                    <a:pt x="2863" y="144"/>
                  </a:lnTo>
                  <a:lnTo>
                    <a:pt x="2863" y="132"/>
                  </a:lnTo>
                  <a:lnTo>
                    <a:pt x="2860" y="122"/>
                  </a:lnTo>
                  <a:lnTo>
                    <a:pt x="2855" y="112"/>
                  </a:lnTo>
                  <a:lnTo>
                    <a:pt x="2849" y="103"/>
                  </a:lnTo>
                  <a:lnTo>
                    <a:pt x="2841" y="94"/>
                  </a:lnTo>
                  <a:lnTo>
                    <a:pt x="2830" y="86"/>
                  </a:lnTo>
                  <a:lnTo>
                    <a:pt x="2820" y="79"/>
                  </a:lnTo>
                  <a:lnTo>
                    <a:pt x="2808" y="73"/>
                  </a:lnTo>
                  <a:lnTo>
                    <a:pt x="2795" y="68"/>
                  </a:lnTo>
                  <a:lnTo>
                    <a:pt x="2781" y="64"/>
                  </a:lnTo>
                  <a:lnTo>
                    <a:pt x="2767" y="60"/>
                  </a:lnTo>
                  <a:lnTo>
                    <a:pt x="2753" y="58"/>
                  </a:lnTo>
                  <a:lnTo>
                    <a:pt x="2738" y="56"/>
                  </a:lnTo>
                  <a:lnTo>
                    <a:pt x="2723" y="56"/>
                  </a:lnTo>
                  <a:lnTo>
                    <a:pt x="2709" y="57"/>
                  </a:lnTo>
                  <a:lnTo>
                    <a:pt x="2694" y="59"/>
                  </a:lnTo>
                  <a:lnTo>
                    <a:pt x="2694" y="59"/>
                  </a:lnTo>
                  <a:lnTo>
                    <a:pt x="2681" y="62"/>
                  </a:lnTo>
                  <a:lnTo>
                    <a:pt x="2669" y="66"/>
                  </a:lnTo>
                  <a:lnTo>
                    <a:pt x="2656" y="71"/>
                  </a:lnTo>
                  <a:lnTo>
                    <a:pt x="2644" y="77"/>
                  </a:lnTo>
                  <a:lnTo>
                    <a:pt x="2634" y="84"/>
                  </a:lnTo>
                  <a:lnTo>
                    <a:pt x="2623" y="92"/>
                  </a:lnTo>
                  <a:lnTo>
                    <a:pt x="2604" y="107"/>
                  </a:lnTo>
                  <a:lnTo>
                    <a:pt x="2589" y="122"/>
                  </a:lnTo>
                  <a:lnTo>
                    <a:pt x="2578" y="134"/>
                  </a:lnTo>
                  <a:lnTo>
                    <a:pt x="2569" y="147"/>
                  </a:lnTo>
                  <a:lnTo>
                    <a:pt x="2238" y="0"/>
                  </a:lnTo>
                  <a:lnTo>
                    <a:pt x="1977" y="263"/>
                  </a:lnTo>
                  <a:lnTo>
                    <a:pt x="1977" y="263"/>
                  </a:lnTo>
                  <a:lnTo>
                    <a:pt x="1972" y="268"/>
                  </a:lnTo>
                  <a:lnTo>
                    <a:pt x="1966" y="280"/>
                  </a:lnTo>
                  <a:lnTo>
                    <a:pt x="1963" y="287"/>
                  </a:lnTo>
                  <a:lnTo>
                    <a:pt x="1961" y="295"/>
                  </a:lnTo>
                  <a:lnTo>
                    <a:pt x="1960" y="304"/>
                  </a:lnTo>
                  <a:lnTo>
                    <a:pt x="1960" y="313"/>
                  </a:lnTo>
                  <a:lnTo>
                    <a:pt x="1964" y="337"/>
                  </a:lnTo>
                  <a:lnTo>
                    <a:pt x="1964" y="337"/>
                  </a:lnTo>
                  <a:lnTo>
                    <a:pt x="1964" y="343"/>
                  </a:lnTo>
                  <a:lnTo>
                    <a:pt x="1963" y="349"/>
                  </a:lnTo>
                  <a:lnTo>
                    <a:pt x="1962" y="354"/>
                  </a:lnTo>
                  <a:lnTo>
                    <a:pt x="1961" y="358"/>
                  </a:lnTo>
                  <a:lnTo>
                    <a:pt x="1957" y="366"/>
                  </a:lnTo>
                  <a:lnTo>
                    <a:pt x="1955" y="370"/>
                  </a:lnTo>
                  <a:lnTo>
                    <a:pt x="1955" y="370"/>
                  </a:lnTo>
                  <a:lnTo>
                    <a:pt x="1936" y="392"/>
                  </a:lnTo>
                  <a:lnTo>
                    <a:pt x="1916" y="416"/>
                  </a:lnTo>
                  <a:lnTo>
                    <a:pt x="1896" y="438"/>
                  </a:lnTo>
                  <a:lnTo>
                    <a:pt x="1876" y="461"/>
                  </a:lnTo>
                  <a:lnTo>
                    <a:pt x="1876" y="461"/>
                  </a:lnTo>
                  <a:lnTo>
                    <a:pt x="1847" y="499"/>
                  </a:lnTo>
                  <a:lnTo>
                    <a:pt x="1836" y="515"/>
                  </a:lnTo>
                  <a:lnTo>
                    <a:pt x="1828" y="527"/>
                  </a:lnTo>
                  <a:lnTo>
                    <a:pt x="1828" y="527"/>
                  </a:lnTo>
                  <a:lnTo>
                    <a:pt x="1819" y="542"/>
                  </a:lnTo>
                  <a:lnTo>
                    <a:pt x="1811" y="558"/>
                  </a:lnTo>
                  <a:lnTo>
                    <a:pt x="1799" y="583"/>
                  </a:lnTo>
                  <a:lnTo>
                    <a:pt x="1789" y="607"/>
                  </a:lnTo>
                  <a:lnTo>
                    <a:pt x="1781" y="628"/>
                  </a:lnTo>
                  <a:lnTo>
                    <a:pt x="1781" y="628"/>
                  </a:lnTo>
                  <a:lnTo>
                    <a:pt x="1780" y="631"/>
                  </a:lnTo>
                  <a:lnTo>
                    <a:pt x="1778" y="642"/>
                  </a:lnTo>
                  <a:lnTo>
                    <a:pt x="1778" y="649"/>
                  </a:lnTo>
                  <a:lnTo>
                    <a:pt x="1777" y="657"/>
                  </a:lnTo>
                  <a:lnTo>
                    <a:pt x="1778" y="666"/>
                  </a:lnTo>
                  <a:lnTo>
                    <a:pt x="1780" y="677"/>
                  </a:lnTo>
                  <a:lnTo>
                    <a:pt x="1784" y="690"/>
                  </a:lnTo>
                  <a:lnTo>
                    <a:pt x="1789" y="703"/>
                  </a:lnTo>
                  <a:lnTo>
                    <a:pt x="1797" y="716"/>
                  </a:lnTo>
                  <a:lnTo>
                    <a:pt x="1807" y="732"/>
                  </a:lnTo>
                  <a:lnTo>
                    <a:pt x="1819" y="748"/>
                  </a:lnTo>
                  <a:lnTo>
                    <a:pt x="1833" y="764"/>
                  </a:lnTo>
                  <a:lnTo>
                    <a:pt x="1852" y="782"/>
                  </a:lnTo>
                  <a:lnTo>
                    <a:pt x="1874" y="800"/>
                  </a:lnTo>
                  <a:lnTo>
                    <a:pt x="1881" y="806"/>
                  </a:lnTo>
                  <a:lnTo>
                    <a:pt x="1881" y="806"/>
                  </a:lnTo>
                  <a:lnTo>
                    <a:pt x="1894" y="789"/>
                  </a:lnTo>
                  <a:lnTo>
                    <a:pt x="1905" y="800"/>
                  </a:lnTo>
                  <a:lnTo>
                    <a:pt x="1905" y="800"/>
                  </a:lnTo>
                  <a:lnTo>
                    <a:pt x="1914" y="809"/>
                  </a:lnTo>
                  <a:lnTo>
                    <a:pt x="1926" y="820"/>
                  </a:lnTo>
                  <a:lnTo>
                    <a:pt x="1941" y="832"/>
                  </a:lnTo>
                  <a:lnTo>
                    <a:pt x="1957" y="842"/>
                  </a:lnTo>
                  <a:lnTo>
                    <a:pt x="1957" y="842"/>
                  </a:lnTo>
                  <a:lnTo>
                    <a:pt x="1959" y="835"/>
                  </a:lnTo>
                  <a:lnTo>
                    <a:pt x="1964" y="815"/>
                  </a:lnTo>
                  <a:lnTo>
                    <a:pt x="1969" y="802"/>
                  </a:lnTo>
                  <a:lnTo>
                    <a:pt x="1975" y="789"/>
                  </a:lnTo>
                  <a:lnTo>
                    <a:pt x="1983" y="775"/>
                  </a:lnTo>
                  <a:lnTo>
                    <a:pt x="1991" y="760"/>
                  </a:lnTo>
                  <a:lnTo>
                    <a:pt x="1991" y="760"/>
                  </a:lnTo>
                  <a:lnTo>
                    <a:pt x="2000" y="748"/>
                  </a:lnTo>
                  <a:lnTo>
                    <a:pt x="2011" y="736"/>
                  </a:lnTo>
                  <a:lnTo>
                    <a:pt x="2025" y="722"/>
                  </a:lnTo>
                  <a:lnTo>
                    <a:pt x="2038" y="709"/>
                  </a:lnTo>
                  <a:lnTo>
                    <a:pt x="2052" y="697"/>
                  </a:lnTo>
                  <a:lnTo>
                    <a:pt x="2065" y="686"/>
                  </a:lnTo>
                  <a:lnTo>
                    <a:pt x="2080" y="675"/>
                  </a:lnTo>
                  <a:lnTo>
                    <a:pt x="2092" y="667"/>
                  </a:lnTo>
                  <a:lnTo>
                    <a:pt x="2092" y="667"/>
                  </a:lnTo>
                  <a:lnTo>
                    <a:pt x="2107" y="658"/>
                  </a:lnTo>
                  <a:lnTo>
                    <a:pt x="2123" y="650"/>
                  </a:lnTo>
                  <a:lnTo>
                    <a:pt x="2138" y="643"/>
                  </a:lnTo>
                  <a:lnTo>
                    <a:pt x="2154" y="636"/>
                  </a:lnTo>
                  <a:lnTo>
                    <a:pt x="2170" y="632"/>
                  </a:lnTo>
                  <a:lnTo>
                    <a:pt x="2186" y="629"/>
                  </a:lnTo>
                  <a:lnTo>
                    <a:pt x="2202" y="626"/>
                  </a:lnTo>
                  <a:lnTo>
                    <a:pt x="2220" y="625"/>
                  </a:lnTo>
                  <a:lnTo>
                    <a:pt x="2220" y="625"/>
                  </a:lnTo>
                  <a:lnTo>
                    <a:pt x="2234" y="626"/>
                  </a:lnTo>
                  <a:lnTo>
                    <a:pt x="2247" y="627"/>
                  </a:lnTo>
                  <a:lnTo>
                    <a:pt x="2261" y="630"/>
                  </a:lnTo>
                  <a:lnTo>
                    <a:pt x="2272" y="635"/>
                  </a:lnTo>
                  <a:lnTo>
                    <a:pt x="2283" y="642"/>
                  </a:lnTo>
                  <a:lnTo>
                    <a:pt x="2295" y="649"/>
                  </a:lnTo>
                  <a:lnTo>
                    <a:pt x="2305" y="658"/>
                  </a:lnTo>
                  <a:lnTo>
                    <a:pt x="2316" y="668"/>
                  </a:lnTo>
                  <a:lnTo>
                    <a:pt x="2316" y="668"/>
                  </a:lnTo>
                  <a:lnTo>
                    <a:pt x="2323" y="676"/>
                  </a:lnTo>
                  <a:lnTo>
                    <a:pt x="2330" y="687"/>
                  </a:lnTo>
                  <a:lnTo>
                    <a:pt x="2336" y="698"/>
                  </a:lnTo>
                  <a:lnTo>
                    <a:pt x="2342" y="710"/>
                  </a:lnTo>
                  <a:lnTo>
                    <a:pt x="2347" y="722"/>
                  </a:lnTo>
                  <a:lnTo>
                    <a:pt x="2351" y="736"/>
                  </a:lnTo>
                  <a:lnTo>
                    <a:pt x="2355" y="750"/>
                  </a:lnTo>
                  <a:lnTo>
                    <a:pt x="2358" y="764"/>
                  </a:lnTo>
                  <a:lnTo>
                    <a:pt x="2360" y="778"/>
                  </a:lnTo>
                  <a:lnTo>
                    <a:pt x="2362" y="792"/>
                  </a:lnTo>
                  <a:lnTo>
                    <a:pt x="2363" y="805"/>
                  </a:lnTo>
                  <a:lnTo>
                    <a:pt x="2364" y="818"/>
                  </a:lnTo>
                  <a:lnTo>
                    <a:pt x="2364" y="831"/>
                  </a:lnTo>
                  <a:lnTo>
                    <a:pt x="2363" y="842"/>
                  </a:lnTo>
                  <a:lnTo>
                    <a:pt x="2361" y="852"/>
                  </a:lnTo>
                  <a:lnTo>
                    <a:pt x="2359" y="861"/>
                  </a:lnTo>
                  <a:lnTo>
                    <a:pt x="2359" y="861"/>
                  </a:lnTo>
                  <a:lnTo>
                    <a:pt x="2330" y="843"/>
                  </a:lnTo>
                  <a:lnTo>
                    <a:pt x="2330" y="843"/>
                  </a:lnTo>
                  <a:lnTo>
                    <a:pt x="2309" y="832"/>
                  </a:lnTo>
                  <a:lnTo>
                    <a:pt x="2281" y="822"/>
                  </a:lnTo>
                  <a:lnTo>
                    <a:pt x="2266" y="815"/>
                  </a:lnTo>
                  <a:lnTo>
                    <a:pt x="2251" y="811"/>
                  </a:lnTo>
                  <a:lnTo>
                    <a:pt x="2233" y="807"/>
                  </a:lnTo>
                  <a:lnTo>
                    <a:pt x="2215" y="803"/>
                  </a:lnTo>
                  <a:lnTo>
                    <a:pt x="2195" y="801"/>
                  </a:lnTo>
                  <a:lnTo>
                    <a:pt x="2175" y="800"/>
                  </a:lnTo>
                  <a:lnTo>
                    <a:pt x="2154" y="800"/>
                  </a:lnTo>
                  <a:lnTo>
                    <a:pt x="2132" y="802"/>
                  </a:lnTo>
                  <a:lnTo>
                    <a:pt x="2109" y="805"/>
                  </a:lnTo>
                  <a:lnTo>
                    <a:pt x="2086" y="810"/>
                  </a:lnTo>
                  <a:lnTo>
                    <a:pt x="2062" y="818"/>
                  </a:lnTo>
                  <a:lnTo>
                    <a:pt x="2037" y="829"/>
                  </a:lnTo>
                  <a:lnTo>
                    <a:pt x="2037" y="829"/>
                  </a:lnTo>
                  <a:lnTo>
                    <a:pt x="1995" y="847"/>
                  </a:lnTo>
                  <a:lnTo>
                    <a:pt x="1967" y="859"/>
                  </a:lnTo>
                  <a:lnTo>
                    <a:pt x="1936" y="872"/>
                  </a:lnTo>
                  <a:lnTo>
                    <a:pt x="1900" y="886"/>
                  </a:lnTo>
                  <a:lnTo>
                    <a:pt x="1860" y="900"/>
                  </a:lnTo>
                  <a:lnTo>
                    <a:pt x="1814" y="916"/>
                  </a:lnTo>
                  <a:lnTo>
                    <a:pt x="1764" y="931"/>
                  </a:lnTo>
                  <a:lnTo>
                    <a:pt x="1764" y="931"/>
                  </a:lnTo>
                  <a:lnTo>
                    <a:pt x="1737" y="938"/>
                  </a:lnTo>
                  <a:lnTo>
                    <a:pt x="1725" y="940"/>
                  </a:lnTo>
                  <a:lnTo>
                    <a:pt x="1713" y="941"/>
                  </a:lnTo>
                  <a:lnTo>
                    <a:pt x="1701" y="941"/>
                  </a:lnTo>
                  <a:lnTo>
                    <a:pt x="1691" y="941"/>
                  </a:lnTo>
                  <a:lnTo>
                    <a:pt x="1681" y="940"/>
                  </a:lnTo>
                  <a:lnTo>
                    <a:pt x="1672" y="938"/>
                  </a:lnTo>
                  <a:lnTo>
                    <a:pt x="1664" y="935"/>
                  </a:lnTo>
                  <a:lnTo>
                    <a:pt x="1655" y="930"/>
                  </a:lnTo>
                  <a:lnTo>
                    <a:pt x="1649" y="925"/>
                  </a:lnTo>
                  <a:lnTo>
                    <a:pt x="1642" y="919"/>
                  </a:lnTo>
                  <a:lnTo>
                    <a:pt x="1637" y="912"/>
                  </a:lnTo>
                  <a:lnTo>
                    <a:pt x="1633" y="902"/>
                  </a:lnTo>
                  <a:lnTo>
                    <a:pt x="1629" y="892"/>
                  </a:lnTo>
                  <a:lnTo>
                    <a:pt x="1626" y="881"/>
                  </a:lnTo>
                  <a:lnTo>
                    <a:pt x="1626" y="881"/>
                  </a:lnTo>
                  <a:lnTo>
                    <a:pt x="1624" y="871"/>
                  </a:lnTo>
                  <a:lnTo>
                    <a:pt x="1623" y="860"/>
                  </a:lnTo>
                  <a:lnTo>
                    <a:pt x="1623" y="851"/>
                  </a:lnTo>
                  <a:lnTo>
                    <a:pt x="1623" y="842"/>
                  </a:lnTo>
                  <a:lnTo>
                    <a:pt x="1625" y="826"/>
                  </a:lnTo>
                  <a:lnTo>
                    <a:pt x="1629" y="811"/>
                  </a:lnTo>
                  <a:lnTo>
                    <a:pt x="1633" y="800"/>
                  </a:lnTo>
                  <a:lnTo>
                    <a:pt x="1636" y="792"/>
                  </a:lnTo>
                  <a:lnTo>
                    <a:pt x="1640" y="784"/>
                  </a:lnTo>
                  <a:lnTo>
                    <a:pt x="1640" y="784"/>
                  </a:lnTo>
                  <a:lnTo>
                    <a:pt x="1636" y="785"/>
                  </a:lnTo>
                  <a:lnTo>
                    <a:pt x="1626" y="788"/>
                  </a:lnTo>
                  <a:lnTo>
                    <a:pt x="1610" y="794"/>
                  </a:lnTo>
                  <a:lnTo>
                    <a:pt x="1601" y="797"/>
                  </a:lnTo>
                  <a:lnTo>
                    <a:pt x="1592" y="802"/>
                  </a:lnTo>
                  <a:lnTo>
                    <a:pt x="1582" y="808"/>
                  </a:lnTo>
                  <a:lnTo>
                    <a:pt x="1573" y="814"/>
                  </a:lnTo>
                  <a:lnTo>
                    <a:pt x="1563" y="823"/>
                  </a:lnTo>
                  <a:lnTo>
                    <a:pt x="1554" y="832"/>
                  </a:lnTo>
                  <a:lnTo>
                    <a:pt x="1546" y="842"/>
                  </a:lnTo>
                  <a:lnTo>
                    <a:pt x="1539" y="853"/>
                  </a:lnTo>
                  <a:lnTo>
                    <a:pt x="1533" y="867"/>
                  </a:lnTo>
                  <a:lnTo>
                    <a:pt x="1528" y="881"/>
                  </a:lnTo>
                  <a:lnTo>
                    <a:pt x="1528" y="881"/>
                  </a:lnTo>
                  <a:lnTo>
                    <a:pt x="1525" y="896"/>
                  </a:lnTo>
                  <a:lnTo>
                    <a:pt x="1523" y="912"/>
                  </a:lnTo>
                  <a:lnTo>
                    <a:pt x="1523" y="927"/>
                  </a:lnTo>
                  <a:lnTo>
                    <a:pt x="1523" y="941"/>
                  </a:lnTo>
                  <a:lnTo>
                    <a:pt x="1524" y="954"/>
                  </a:lnTo>
                  <a:lnTo>
                    <a:pt x="1527" y="969"/>
                  </a:lnTo>
                  <a:lnTo>
                    <a:pt x="1531" y="981"/>
                  </a:lnTo>
                  <a:lnTo>
                    <a:pt x="1536" y="993"/>
                  </a:lnTo>
                  <a:lnTo>
                    <a:pt x="1542" y="1006"/>
                  </a:lnTo>
                  <a:lnTo>
                    <a:pt x="1549" y="1016"/>
                  </a:lnTo>
                  <a:lnTo>
                    <a:pt x="1557" y="1026"/>
                  </a:lnTo>
                  <a:lnTo>
                    <a:pt x="1568" y="1034"/>
                  </a:lnTo>
                  <a:lnTo>
                    <a:pt x="1578" y="1042"/>
                  </a:lnTo>
                  <a:lnTo>
                    <a:pt x="1590" y="1049"/>
                  </a:lnTo>
                  <a:lnTo>
                    <a:pt x="1602" y="1055"/>
                  </a:lnTo>
                  <a:lnTo>
                    <a:pt x="1617" y="1059"/>
                  </a:lnTo>
                  <a:lnTo>
                    <a:pt x="1617" y="1059"/>
                  </a:lnTo>
                  <a:lnTo>
                    <a:pt x="1630" y="1062"/>
                  </a:lnTo>
                  <a:lnTo>
                    <a:pt x="1644" y="1063"/>
                  </a:lnTo>
                  <a:lnTo>
                    <a:pt x="1660" y="1062"/>
                  </a:lnTo>
                  <a:lnTo>
                    <a:pt x="1676" y="1060"/>
                  </a:lnTo>
                  <a:lnTo>
                    <a:pt x="1692" y="1058"/>
                  </a:lnTo>
                  <a:lnTo>
                    <a:pt x="1710" y="1054"/>
                  </a:lnTo>
                  <a:lnTo>
                    <a:pt x="1727" y="1049"/>
                  </a:lnTo>
                  <a:lnTo>
                    <a:pt x="1744" y="1043"/>
                  </a:lnTo>
                  <a:lnTo>
                    <a:pt x="1779" y="1029"/>
                  </a:lnTo>
                  <a:lnTo>
                    <a:pt x="1815" y="1014"/>
                  </a:lnTo>
                  <a:lnTo>
                    <a:pt x="1849" y="997"/>
                  </a:lnTo>
                  <a:lnTo>
                    <a:pt x="1880" y="981"/>
                  </a:lnTo>
                  <a:lnTo>
                    <a:pt x="1880" y="981"/>
                  </a:lnTo>
                  <a:lnTo>
                    <a:pt x="1942" y="949"/>
                  </a:lnTo>
                  <a:lnTo>
                    <a:pt x="1979" y="931"/>
                  </a:lnTo>
                  <a:lnTo>
                    <a:pt x="2013" y="915"/>
                  </a:lnTo>
                  <a:lnTo>
                    <a:pt x="2013" y="915"/>
                  </a:lnTo>
                  <a:lnTo>
                    <a:pt x="2041" y="903"/>
                  </a:lnTo>
                  <a:lnTo>
                    <a:pt x="2054" y="899"/>
                  </a:lnTo>
                  <a:lnTo>
                    <a:pt x="2068" y="895"/>
                  </a:lnTo>
                  <a:lnTo>
                    <a:pt x="2081" y="892"/>
                  </a:lnTo>
                  <a:lnTo>
                    <a:pt x="2093" y="890"/>
                  </a:lnTo>
                  <a:lnTo>
                    <a:pt x="2105" y="888"/>
                  </a:lnTo>
                  <a:lnTo>
                    <a:pt x="2119" y="888"/>
                  </a:lnTo>
                  <a:lnTo>
                    <a:pt x="2131" y="888"/>
                  </a:lnTo>
                  <a:lnTo>
                    <a:pt x="2143" y="889"/>
                  </a:lnTo>
                  <a:lnTo>
                    <a:pt x="2156" y="891"/>
                  </a:lnTo>
                  <a:lnTo>
                    <a:pt x="2170" y="893"/>
                  </a:lnTo>
                  <a:lnTo>
                    <a:pt x="2183" y="897"/>
                  </a:lnTo>
                  <a:lnTo>
                    <a:pt x="2196" y="901"/>
                  </a:lnTo>
                  <a:lnTo>
                    <a:pt x="2211" y="907"/>
                  </a:lnTo>
                  <a:lnTo>
                    <a:pt x="2226" y="914"/>
                  </a:lnTo>
                  <a:lnTo>
                    <a:pt x="2226" y="914"/>
                  </a:lnTo>
                  <a:lnTo>
                    <a:pt x="2246" y="924"/>
                  </a:lnTo>
                  <a:lnTo>
                    <a:pt x="2265" y="934"/>
                  </a:lnTo>
                  <a:lnTo>
                    <a:pt x="2281" y="945"/>
                  </a:lnTo>
                  <a:lnTo>
                    <a:pt x="2295" y="954"/>
                  </a:lnTo>
                  <a:lnTo>
                    <a:pt x="2305" y="964"/>
                  </a:lnTo>
                  <a:lnTo>
                    <a:pt x="2312" y="971"/>
                  </a:lnTo>
                  <a:lnTo>
                    <a:pt x="2319" y="977"/>
                  </a:lnTo>
                  <a:lnTo>
                    <a:pt x="2319" y="977"/>
                  </a:lnTo>
                  <a:lnTo>
                    <a:pt x="2317" y="980"/>
                  </a:lnTo>
                  <a:lnTo>
                    <a:pt x="2313" y="987"/>
                  </a:lnTo>
                  <a:lnTo>
                    <a:pt x="2305" y="998"/>
                  </a:lnTo>
                  <a:lnTo>
                    <a:pt x="2300" y="1005"/>
                  </a:lnTo>
                  <a:lnTo>
                    <a:pt x="2293" y="1012"/>
                  </a:lnTo>
                  <a:lnTo>
                    <a:pt x="2285" y="1018"/>
                  </a:lnTo>
                  <a:lnTo>
                    <a:pt x="2276" y="1025"/>
                  </a:lnTo>
                  <a:lnTo>
                    <a:pt x="2267" y="1031"/>
                  </a:lnTo>
                  <a:lnTo>
                    <a:pt x="2255" y="1036"/>
                  </a:lnTo>
                  <a:lnTo>
                    <a:pt x="2242" y="1041"/>
                  </a:lnTo>
                  <a:lnTo>
                    <a:pt x="2228" y="1045"/>
                  </a:lnTo>
                  <a:lnTo>
                    <a:pt x="2212" y="1049"/>
                  </a:lnTo>
                  <a:lnTo>
                    <a:pt x="2194" y="1050"/>
                  </a:lnTo>
                  <a:lnTo>
                    <a:pt x="2194" y="1050"/>
                  </a:lnTo>
                  <a:lnTo>
                    <a:pt x="2180" y="1051"/>
                  </a:lnTo>
                  <a:lnTo>
                    <a:pt x="2166" y="1050"/>
                  </a:lnTo>
                  <a:lnTo>
                    <a:pt x="2152" y="1048"/>
                  </a:lnTo>
                  <a:lnTo>
                    <a:pt x="2139" y="1044"/>
                  </a:lnTo>
                  <a:lnTo>
                    <a:pt x="2127" y="1041"/>
                  </a:lnTo>
                  <a:lnTo>
                    <a:pt x="2115" y="1037"/>
                  </a:lnTo>
                  <a:lnTo>
                    <a:pt x="2103" y="1033"/>
                  </a:lnTo>
                  <a:lnTo>
                    <a:pt x="2092" y="1027"/>
                  </a:lnTo>
                  <a:lnTo>
                    <a:pt x="2082" y="1022"/>
                  </a:lnTo>
                  <a:lnTo>
                    <a:pt x="2073" y="1016"/>
                  </a:lnTo>
                  <a:lnTo>
                    <a:pt x="2064" y="1010"/>
                  </a:lnTo>
                  <a:lnTo>
                    <a:pt x="2056" y="1003"/>
                  </a:lnTo>
                  <a:lnTo>
                    <a:pt x="2048" y="995"/>
                  </a:lnTo>
                  <a:lnTo>
                    <a:pt x="2042" y="988"/>
                  </a:lnTo>
                  <a:lnTo>
                    <a:pt x="2036" y="981"/>
                  </a:lnTo>
                  <a:lnTo>
                    <a:pt x="2031" y="974"/>
                  </a:lnTo>
                  <a:lnTo>
                    <a:pt x="2031" y="974"/>
                  </a:lnTo>
                  <a:lnTo>
                    <a:pt x="2022" y="996"/>
                  </a:lnTo>
                  <a:lnTo>
                    <a:pt x="2013" y="1014"/>
                  </a:lnTo>
                  <a:lnTo>
                    <a:pt x="2007" y="1027"/>
                  </a:lnTo>
                  <a:lnTo>
                    <a:pt x="2007" y="1027"/>
                  </a:lnTo>
                  <a:lnTo>
                    <a:pt x="2003" y="1035"/>
                  </a:lnTo>
                  <a:lnTo>
                    <a:pt x="2000" y="1042"/>
                  </a:lnTo>
                  <a:lnTo>
                    <a:pt x="1998" y="1051"/>
                  </a:lnTo>
                  <a:lnTo>
                    <a:pt x="1997" y="1057"/>
                  </a:lnTo>
                  <a:lnTo>
                    <a:pt x="1997" y="1064"/>
                  </a:lnTo>
                  <a:lnTo>
                    <a:pt x="1997" y="1070"/>
                  </a:lnTo>
                  <a:lnTo>
                    <a:pt x="1999" y="1082"/>
                  </a:lnTo>
                  <a:lnTo>
                    <a:pt x="2001" y="1094"/>
                  </a:lnTo>
                  <a:lnTo>
                    <a:pt x="2003" y="1104"/>
                  </a:lnTo>
                  <a:lnTo>
                    <a:pt x="2004" y="1115"/>
                  </a:lnTo>
                  <a:lnTo>
                    <a:pt x="2003" y="1121"/>
                  </a:lnTo>
                  <a:lnTo>
                    <a:pt x="2001" y="1126"/>
                  </a:lnTo>
                  <a:lnTo>
                    <a:pt x="2001" y="1126"/>
                  </a:lnTo>
                  <a:lnTo>
                    <a:pt x="1999" y="1132"/>
                  </a:lnTo>
                  <a:lnTo>
                    <a:pt x="1995" y="1138"/>
                  </a:lnTo>
                  <a:lnTo>
                    <a:pt x="1986" y="1151"/>
                  </a:lnTo>
                  <a:lnTo>
                    <a:pt x="1973" y="1163"/>
                  </a:lnTo>
                  <a:lnTo>
                    <a:pt x="1960" y="1175"/>
                  </a:lnTo>
                  <a:lnTo>
                    <a:pt x="1945" y="1187"/>
                  </a:lnTo>
                  <a:lnTo>
                    <a:pt x="1931" y="1198"/>
                  </a:lnTo>
                  <a:lnTo>
                    <a:pt x="1904" y="1216"/>
                  </a:lnTo>
                  <a:lnTo>
                    <a:pt x="1904" y="1216"/>
                  </a:lnTo>
                  <a:lnTo>
                    <a:pt x="1886" y="1227"/>
                  </a:lnTo>
                  <a:lnTo>
                    <a:pt x="1864" y="1239"/>
                  </a:lnTo>
                  <a:lnTo>
                    <a:pt x="1842" y="1249"/>
                  </a:lnTo>
                  <a:lnTo>
                    <a:pt x="1819" y="1257"/>
                  </a:lnTo>
                  <a:lnTo>
                    <a:pt x="1798" y="1264"/>
                  </a:lnTo>
                  <a:lnTo>
                    <a:pt x="1779" y="1270"/>
                  </a:lnTo>
                  <a:lnTo>
                    <a:pt x="1754" y="1278"/>
                  </a:lnTo>
                  <a:lnTo>
                    <a:pt x="1754" y="1278"/>
                  </a:lnTo>
                  <a:lnTo>
                    <a:pt x="1779" y="1336"/>
                  </a:lnTo>
                  <a:lnTo>
                    <a:pt x="1811" y="1404"/>
                  </a:lnTo>
                  <a:lnTo>
                    <a:pt x="1811" y="1404"/>
                  </a:lnTo>
                  <a:lnTo>
                    <a:pt x="1833" y="1449"/>
                  </a:lnTo>
                  <a:lnTo>
                    <a:pt x="1862" y="1504"/>
                  </a:lnTo>
                  <a:lnTo>
                    <a:pt x="1877" y="1531"/>
                  </a:lnTo>
                  <a:lnTo>
                    <a:pt x="1893" y="1557"/>
                  </a:lnTo>
                  <a:lnTo>
                    <a:pt x="1909" y="1578"/>
                  </a:lnTo>
                  <a:lnTo>
                    <a:pt x="1916" y="1588"/>
                  </a:lnTo>
                  <a:lnTo>
                    <a:pt x="1924" y="1597"/>
                  </a:lnTo>
                  <a:lnTo>
                    <a:pt x="1924" y="1597"/>
                  </a:lnTo>
                  <a:lnTo>
                    <a:pt x="1940" y="1592"/>
                  </a:lnTo>
                  <a:lnTo>
                    <a:pt x="1957" y="1587"/>
                  </a:lnTo>
                  <a:lnTo>
                    <a:pt x="1980" y="1581"/>
                  </a:lnTo>
                  <a:lnTo>
                    <a:pt x="2004" y="1573"/>
                  </a:lnTo>
                  <a:lnTo>
                    <a:pt x="2031" y="1563"/>
                  </a:lnTo>
                  <a:lnTo>
                    <a:pt x="2057" y="1551"/>
                  </a:lnTo>
                  <a:lnTo>
                    <a:pt x="2071" y="1544"/>
                  </a:lnTo>
                  <a:lnTo>
                    <a:pt x="2083" y="1537"/>
                  </a:lnTo>
                  <a:lnTo>
                    <a:pt x="2083" y="1537"/>
                  </a:lnTo>
                  <a:lnTo>
                    <a:pt x="2105" y="1524"/>
                  </a:lnTo>
                  <a:lnTo>
                    <a:pt x="2126" y="1510"/>
                  </a:lnTo>
                  <a:lnTo>
                    <a:pt x="2145" y="1495"/>
                  </a:lnTo>
                  <a:lnTo>
                    <a:pt x="2162" y="1480"/>
                  </a:lnTo>
                  <a:lnTo>
                    <a:pt x="2177" y="1466"/>
                  </a:lnTo>
                  <a:lnTo>
                    <a:pt x="2189" y="1451"/>
                  </a:lnTo>
                  <a:lnTo>
                    <a:pt x="2199" y="1437"/>
                  </a:lnTo>
                  <a:lnTo>
                    <a:pt x="2207" y="1424"/>
                  </a:lnTo>
                  <a:lnTo>
                    <a:pt x="2207" y="1424"/>
                  </a:lnTo>
                  <a:lnTo>
                    <a:pt x="2190" y="1460"/>
                  </a:lnTo>
                  <a:lnTo>
                    <a:pt x="2175" y="1493"/>
                  </a:lnTo>
                  <a:lnTo>
                    <a:pt x="2161" y="1523"/>
                  </a:lnTo>
                  <a:lnTo>
                    <a:pt x="2146" y="1551"/>
                  </a:lnTo>
                  <a:lnTo>
                    <a:pt x="2132" y="1576"/>
                  </a:lnTo>
                  <a:lnTo>
                    <a:pt x="2119" y="1599"/>
                  </a:lnTo>
                  <a:lnTo>
                    <a:pt x="2105" y="1619"/>
                  </a:lnTo>
                  <a:lnTo>
                    <a:pt x="2092" y="1637"/>
                  </a:lnTo>
                  <a:lnTo>
                    <a:pt x="2080" y="1655"/>
                  </a:lnTo>
                  <a:lnTo>
                    <a:pt x="2068" y="1669"/>
                  </a:lnTo>
                  <a:lnTo>
                    <a:pt x="2055" y="1682"/>
                  </a:lnTo>
                  <a:lnTo>
                    <a:pt x="2044" y="1694"/>
                  </a:lnTo>
                  <a:lnTo>
                    <a:pt x="2033" y="1705"/>
                  </a:lnTo>
                  <a:lnTo>
                    <a:pt x="2022" y="1714"/>
                  </a:lnTo>
                  <a:lnTo>
                    <a:pt x="2011" y="1721"/>
                  </a:lnTo>
                  <a:lnTo>
                    <a:pt x="2000" y="1729"/>
                  </a:lnTo>
                  <a:lnTo>
                    <a:pt x="2000" y="1729"/>
                  </a:lnTo>
                  <a:lnTo>
                    <a:pt x="1907" y="1790"/>
                  </a:lnTo>
                  <a:lnTo>
                    <a:pt x="1797" y="1862"/>
                  </a:lnTo>
                  <a:lnTo>
                    <a:pt x="1735" y="1901"/>
                  </a:lnTo>
                  <a:lnTo>
                    <a:pt x="1671" y="1940"/>
                  </a:lnTo>
                  <a:lnTo>
                    <a:pt x="1602" y="1980"/>
                  </a:lnTo>
                  <a:lnTo>
                    <a:pt x="1532" y="2020"/>
                  </a:lnTo>
                  <a:lnTo>
                    <a:pt x="1459" y="2058"/>
                  </a:lnTo>
                  <a:lnTo>
                    <a:pt x="1422" y="2077"/>
                  </a:lnTo>
                  <a:lnTo>
                    <a:pt x="1384" y="2094"/>
                  </a:lnTo>
                  <a:lnTo>
                    <a:pt x="1347" y="2112"/>
                  </a:lnTo>
                  <a:lnTo>
                    <a:pt x="1308" y="2129"/>
                  </a:lnTo>
                  <a:lnTo>
                    <a:pt x="1269" y="2146"/>
                  </a:lnTo>
                  <a:lnTo>
                    <a:pt x="1230" y="2161"/>
                  </a:lnTo>
                  <a:lnTo>
                    <a:pt x="1190" y="2175"/>
                  </a:lnTo>
                  <a:lnTo>
                    <a:pt x="1151" y="2189"/>
                  </a:lnTo>
                  <a:lnTo>
                    <a:pt x="1111" y="2202"/>
                  </a:lnTo>
                  <a:lnTo>
                    <a:pt x="1072" y="2213"/>
                  </a:lnTo>
                  <a:lnTo>
                    <a:pt x="1032" y="2223"/>
                  </a:lnTo>
                  <a:lnTo>
                    <a:pt x="992" y="2231"/>
                  </a:lnTo>
                  <a:lnTo>
                    <a:pt x="952" y="2240"/>
                  </a:lnTo>
                  <a:lnTo>
                    <a:pt x="913" y="2246"/>
                  </a:lnTo>
                  <a:lnTo>
                    <a:pt x="913" y="2246"/>
                  </a:lnTo>
                  <a:lnTo>
                    <a:pt x="901" y="2246"/>
                  </a:lnTo>
                  <a:lnTo>
                    <a:pt x="889" y="2245"/>
                  </a:lnTo>
                  <a:lnTo>
                    <a:pt x="876" y="2242"/>
                  </a:lnTo>
                  <a:lnTo>
                    <a:pt x="863" y="2239"/>
                  </a:lnTo>
                  <a:lnTo>
                    <a:pt x="850" y="2236"/>
                  </a:lnTo>
                  <a:lnTo>
                    <a:pt x="836" y="2230"/>
                  </a:lnTo>
                  <a:lnTo>
                    <a:pt x="809" y="2218"/>
                  </a:lnTo>
                  <a:lnTo>
                    <a:pt x="781" y="2204"/>
                  </a:lnTo>
                  <a:lnTo>
                    <a:pt x="754" y="2188"/>
                  </a:lnTo>
                  <a:lnTo>
                    <a:pt x="726" y="2170"/>
                  </a:lnTo>
                  <a:lnTo>
                    <a:pt x="698" y="2151"/>
                  </a:lnTo>
                  <a:lnTo>
                    <a:pt x="672" y="2130"/>
                  </a:lnTo>
                  <a:lnTo>
                    <a:pt x="646" y="2110"/>
                  </a:lnTo>
                  <a:lnTo>
                    <a:pt x="623" y="2089"/>
                  </a:lnTo>
                  <a:lnTo>
                    <a:pt x="600" y="2069"/>
                  </a:lnTo>
                  <a:lnTo>
                    <a:pt x="581" y="2049"/>
                  </a:lnTo>
                  <a:lnTo>
                    <a:pt x="563" y="2032"/>
                  </a:lnTo>
                  <a:lnTo>
                    <a:pt x="548" y="2017"/>
                  </a:lnTo>
                  <a:lnTo>
                    <a:pt x="537" y="2003"/>
                  </a:lnTo>
                  <a:lnTo>
                    <a:pt x="537" y="2003"/>
                  </a:lnTo>
                  <a:lnTo>
                    <a:pt x="533" y="1999"/>
                  </a:lnTo>
                  <a:lnTo>
                    <a:pt x="530" y="1995"/>
                  </a:lnTo>
                  <a:lnTo>
                    <a:pt x="520" y="1990"/>
                  </a:lnTo>
                  <a:lnTo>
                    <a:pt x="512" y="1988"/>
                  </a:lnTo>
                  <a:lnTo>
                    <a:pt x="502" y="1987"/>
                  </a:lnTo>
                  <a:lnTo>
                    <a:pt x="493" y="1987"/>
                  </a:lnTo>
                  <a:lnTo>
                    <a:pt x="483" y="1989"/>
                  </a:lnTo>
                  <a:lnTo>
                    <a:pt x="473" y="1992"/>
                  </a:lnTo>
                  <a:lnTo>
                    <a:pt x="464" y="1996"/>
                  </a:lnTo>
                  <a:lnTo>
                    <a:pt x="447" y="2004"/>
                  </a:lnTo>
                  <a:lnTo>
                    <a:pt x="433" y="2014"/>
                  </a:lnTo>
                  <a:lnTo>
                    <a:pt x="419" y="2024"/>
                  </a:lnTo>
                  <a:lnTo>
                    <a:pt x="419" y="2024"/>
                  </a:lnTo>
                  <a:lnTo>
                    <a:pt x="412" y="2023"/>
                  </a:lnTo>
                  <a:lnTo>
                    <a:pt x="393" y="2021"/>
                  </a:lnTo>
                  <a:lnTo>
                    <a:pt x="379" y="2021"/>
                  </a:lnTo>
                  <a:lnTo>
                    <a:pt x="364" y="2021"/>
                  </a:lnTo>
                  <a:lnTo>
                    <a:pt x="348" y="2022"/>
                  </a:lnTo>
                  <a:lnTo>
                    <a:pt x="329" y="2024"/>
                  </a:lnTo>
                  <a:lnTo>
                    <a:pt x="310" y="2027"/>
                  </a:lnTo>
                  <a:lnTo>
                    <a:pt x="290" y="2032"/>
                  </a:lnTo>
                  <a:lnTo>
                    <a:pt x="271" y="2038"/>
                  </a:lnTo>
                  <a:lnTo>
                    <a:pt x="252" y="2047"/>
                  </a:lnTo>
                  <a:lnTo>
                    <a:pt x="242" y="2053"/>
                  </a:lnTo>
                  <a:lnTo>
                    <a:pt x="233" y="2058"/>
                  </a:lnTo>
                  <a:lnTo>
                    <a:pt x="224" y="2064"/>
                  </a:lnTo>
                  <a:lnTo>
                    <a:pt x="216" y="2071"/>
                  </a:lnTo>
                  <a:lnTo>
                    <a:pt x="207" y="2079"/>
                  </a:lnTo>
                  <a:lnTo>
                    <a:pt x="199" y="2087"/>
                  </a:lnTo>
                  <a:lnTo>
                    <a:pt x="191" y="2097"/>
                  </a:lnTo>
                  <a:lnTo>
                    <a:pt x="184" y="2106"/>
                  </a:lnTo>
                  <a:lnTo>
                    <a:pt x="184" y="2106"/>
                  </a:lnTo>
                  <a:lnTo>
                    <a:pt x="183" y="2109"/>
                  </a:lnTo>
                  <a:lnTo>
                    <a:pt x="185" y="2111"/>
                  </a:lnTo>
                  <a:lnTo>
                    <a:pt x="188" y="2112"/>
                  </a:lnTo>
                  <a:lnTo>
                    <a:pt x="193" y="2112"/>
                  </a:lnTo>
                  <a:lnTo>
                    <a:pt x="210" y="2110"/>
                  </a:lnTo>
                  <a:lnTo>
                    <a:pt x="230" y="2108"/>
                  </a:lnTo>
                  <a:lnTo>
                    <a:pt x="255" y="2106"/>
                  </a:lnTo>
                  <a:lnTo>
                    <a:pt x="280" y="2105"/>
                  </a:lnTo>
                  <a:lnTo>
                    <a:pt x="293" y="2106"/>
                  </a:lnTo>
                  <a:lnTo>
                    <a:pt x="307" y="2107"/>
                  </a:lnTo>
                  <a:lnTo>
                    <a:pt x="319" y="2109"/>
                  </a:lnTo>
                  <a:lnTo>
                    <a:pt x="331" y="2112"/>
                  </a:lnTo>
                  <a:lnTo>
                    <a:pt x="331" y="2112"/>
                  </a:lnTo>
                  <a:lnTo>
                    <a:pt x="338" y="2115"/>
                  </a:lnTo>
                  <a:lnTo>
                    <a:pt x="343" y="2118"/>
                  </a:lnTo>
                  <a:lnTo>
                    <a:pt x="346" y="2121"/>
                  </a:lnTo>
                  <a:lnTo>
                    <a:pt x="347" y="2124"/>
                  </a:lnTo>
                  <a:lnTo>
                    <a:pt x="347" y="2127"/>
                  </a:lnTo>
                  <a:lnTo>
                    <a:pt x="345" y="2131"/>
                  </a:lnTo>
                  <a:lnTo>
                    <a:pt x="339" y="2139"/>
                  </a:lnTo>
                  <a:lnTo>
                    <a:pt x="332" y="2149"/>
                  </a:lnTo>
                  <a:lnTo>
                    <a:pt x="325" y="2160"/>
                  </a:lnTo>
                  <a:lnTo>
                    <a:pt x="321" y="2166"/>
                  </a:lnTo>
                  <a:lnTo>
                    <a:pt x="319" y="2172"/>
                  </a:lnTo>
                  <a:lnTo>
                    <a:pt x="317" y="2178"/>
                  </a:lnTo>
                  <a:lnTo>
                    <a:pt x="317" y="2185"/>
                  </a:lnTo>
                  <a:lnTo>
                    <a:pt x="317" y="2185"/>
                  </a:lnTo>
                  <a:lnTo>
                    <a:pt x="317" y="2191"/>
                  </a:lnTo>
                  <a:lnTo>
                    <a:pt x="319" y="2197"/>
                  </a:lnTo>
                  <a:lnTo>
                    <a:pt x="321" y="2202"/>
                  </a:lnTo>
                  <a:lnTo>
                    <a:pt x="324" y="2207"/>
                  </a:lnTo>
                  <a:lnTo>
                    <a:pt x="328" y="2212"/>
                  </a:lnTo>
                  <a:lnTo>
                    <a:pt x="333" y="2217"/>
                  </a:lnTo>
                  <a:lnTo>
                    <a:pt x="346" y="2227"/>
                  </a:lnTo>
                  <a:lnTo>
                    <a:pt x="361" y="2237"/>
                  </a:lnTo>
                  <a:lnTo>
                    <a:pt x="377" y="2246"/>
                  </a:lnTo>
                  <a:lnTo>
                    <a:pt x="397" y="2255"/>
                  </a:lnTo>
                  <a:lnTo>
                    <a:pt x="416" y="2263"/>
                  </a:lnTo>
                  <a:lnTo>
                    <a:pt x="458" y="2279"/>
                  </a:lnTo>
                  <a:lnTo>
                    <a:pt x="500" y="2293"/>
                  </a:lnTo>
                  <a:lnTo>
                    <a:pt x="571" y="2314"/>
                  </a:lnTo>
                  <a:lnTo>
                    <a:pt x="571" y="2314"/>
                  </a:lnTo>
                  <a:lnTo>
                    <a:pt x="579" y="2318"/>
                  </a:lnTo>
                  <a:lnTo>
                    <a:pt x="585" y="2322"/>
                  </a:lnTo>
                  <a:lnTo>
                    <a:pt x="588" y="2328"/>
                  </a:lnTo>
                  <a:lnTo>
                    <a:pt x="590" y="2333"/>
                  </a:lnTo>
                  <a:lnTo>
                    <a:pt x="590" y="2337"/>
                  </a:lnTo>
                  <a:lnTo>
                    <a:pt x="588" y="2341"/>
                  </a:lnTo>
                  <a:lnTo>
                    <a:pt x="585" y="2343"/>
                  </a:lnTo>
                  <a:lnTo>
                    <a:pt x="581" y="2344"/>
                  </a:lnTo>
                  <a:lnTo>
                    <a:pt x="581" y="2344"/>
                  </a:lnTo>
                  <a:lnTo>
                    <a:pt x="556" y="2343"/>
                  </a:lnTo>
                  <a:lnTo>
                    <a:pt x="532" y="2340"/>
                  </a:lnTo>
                  <a:lnTo>
                    <a:pt x="509" y="2337"/>
                  </a:lnTo>
                  <a:lnTo>
                    <a:pt x="488" y="2332"/>
                  </a:lnTo>
                  <a:lnTo>
                    <a:pt x="467" y="2327"/>
                  </a:lnTo>
                  <a:lnTo>
                    <a:pt x="448" y="2320"/>
                  </a:lnTo>
                  <a:lnTo>
                    <a:pt x="429" y="2314"/>
                  </a:lnTo>
                  <a:lnTo>
                    <a:pt x="412" y="2308"/>
                  </a:lnTo>
                  <a:lnTo>
                    <a:pt x="380" y="2295"/>
                  </a:lnTo>
                  <a:lnTo>
                    <a:pt x="352" y="2283"/>
                  </a:lnTo>
                  <a:lnTo>
                    <a:pt x="327" y="2271"/>
                  </a:lnTo>
                  <a:lnTo>
                    <a:pt x="316" y="2267"/>
                  </a:lnTo>
                  <a:lnTo>
                    <a:pt x="305" y="2263"/>
                  </a:lnTo>
                  <a:lnTo>
                    <a:pt x="305" y="2263"/>
                  </a:lnTo>
                  <a:lnTo>
                    <a:pt x="286" y="2258"/>
                  </a:lnTo>
                  <a:lnTo>
                    <a:pt x="268" y="2254"/>
                  </a:lnTo>
                  <a:lnTo>
                    <a:pt x="253" y="2251"/>
                  </a:lnTo>
                  <a:lnTo>
                    <a:pt x="237" y="2249"/>
                  </a:lnTo>
                  <a:lnTo>
                    <a:pt x="224" y="2248"/>
                  </a:lnTo>
                  <a:lnTo>
                    <a:pt x="213" y="2249"/>
                  </a:lnTo>
                  <a:lnTo>
                    <a:pt x="202" y="2250"/>
                  </a:lnTo>
                  <a:lnTo>
                    <a:pt x="192" y="2252"/>
                  </a:lnTo>
                  <a:lnTo>
                    <a:pt x="185" y="2256"/>
                  </a:lnTo>
                  <a:lnTo>
                    <a:pt x="178" y="2260"/>
                  </a:lnTo>
                  <a:lnTo>
                    <a:pt x="172" y="2265"/>
                  </a:lnTo>
                  <a:lnTo>
                    <a:pt x="167" y="2271"/>
                  </a:lnTo>
                  <a:lnTo>
                    <a:pt x="163" y="2277"/>
                  </a:lnTo>
                  <a:lnTo>
                    <a:pt x="160" y="2286"/>
                  </a:lnTo>
                  <a:lnTo>
                    <a:pt x="156" y="2294"/>
                  </a:lnTo>
                  <a:lnTo>
                    <a:pt x="155" y="2303"/>
                  </a:lnTo>
                  <a:lnTo>
                    <a:pt x="155" y="2303"/>
                  </a:lnTo>
                  <a:lnTo>
                    <a:pt x="154" y="2306"/>
                  </a:lnTo>
                  <a:lnTo>
                    <a:pt x="152" y="2309"/>
                  </a:lnTo>
                  <a:lnTo>
                    <a:pt x="150" y="2312"/>
                  </a:lnTo>
                  <a:lnTo>
                    <a:pt x="147" y="2314"/>
                  </a:lnTo>
                  <a:lnTo>
                    <a:pt x="140" y="2318"/>
                  </a:lnTo>
                  <a:lnTo>
                    <a:pt x="132" y="2323"/>
                  </a:lnTo>
                  <a:lnTo>
                    <a:pt x="109" y="2333"/>
                  </a:lnTo>
                  <a:lnTo>
                    <a:pt x="97" y="2339"/>
                  </a:lnTo>
                  <a:lnTo>
                    <a:pt x="84" y="2347"/>
                  </a:lnTo>
                  <a:lnTo>
                    <a:pt x="71" y="2357"/>
                  </a:lnTo>
                  <a:lnTo>
                    <a:pt x="57" y="2371"/>
                  </a:lnTo>
                  <a:lnTo>
                    <a:pt x="51" y="2378"/>
                  </a:lnTo>
                  <a:lnTo>
                    <a:pt x="45" y="2386"/>
                  </a:lnTo>
                  <a:lnTo>
                    <a:pt x="39" y="2396"/>
                  </a:lnTo>
                  <a:lnTo>
                    <a:pt x="33" y="2406"/>
                  </a:lnTo>
                  <a:lnTo>
                    <a:pt x="28" y="2418"/>
                  </a:lnTo>
                  <a:lnTo>
                    <a:pt x="22" y="2430"/>
                  </a:lnTo>
                  <a:lnTo>
                    <a:pt x="17" y="2444"/>
                  </a:lnTo>
                  <a:lnTo>
                    <a:pt x="13" y="2458"/>
                  </a:lnTo>
                  <a:lnTo>
                    <a:pt x="9" y="2475"/>
                  </a:lnTo>
                  <a:lnTo>
                    <a:pt x="6" y="2492"/>
                  </a:lnTo>
                  <a:lnTo>
                    <a:pt x="3" y="2512"/>
                  </a:lnTo>
                  <a:lnTo>
                    <a:pt x="0" y="2532"/>
                  </a:lnTo>
                  <a:lnTo>
                    <a:pt x="0" y="2532"/>
                  </a:lnTo>
                  <a:lnTo>
                    <a:pt x="1" y="2533"/>
                  </a:lnTo>
                  <a:lnTo>
                    <a:pt x="2" y="2534"/>
                  </a:lnTo>
                  <a:lnTo>
                    <a:pt x="6" y="2532"/>
                  </a:lnTo>
                  <a:lnTo>
                    <a:pt x="12" y="2527"/>
                  </a:lnTo>
                  <a:lnTo>
                    <a:pt x="20" y="2519"/>
                  </a:lnTo>
                  <a:lnTo>
                    <a:pt x="43" y="2496"/>
                  </a:lnTo>
                  <a:lnTo>
                    <a:pt x="69" y="2472"/>
                  </a:lnTo>
                  <a:lnTo>
                    <a:pt x="82" y="2459"/>
                  </a:lnTo>
                  <a:lnTo>
                    <a:pt x="95" y="2448"/>
                  </a:lnTo>
                  <a:lnTo>
                    <a:pt x="107" y="2439"/>
                  </a:lnTo>
                  <a:lnTo>
                    <a:pt x="119" y="2432"/>
                  </a:lnTo>
                  <a:lnTo>
                    <a:pt x="124" y="2429"/>
                  </a:lnTo>
                  <a:lnTo>
                    <a:pt x="129" y="2428"/>
                  </a:lnTo>
                  <a:lnTo>
                    <a:pt x="133" y="2427"/>
                  </a:lnTo>
                  <a:lnTo>
                    <a:pt x="137" y="2427"/>
                  </a:lnTo>
                  <a:lnTo>
                    <a:pt x="140" y="2429"/>
                  </a:lnTo>
                  <a:lnTo>
                    <a:pt x="143" y="2431"/>
                  </a:lnTo>
                  <a:lnTo>
                    <a:pt x="144" y="2435"/>
                  </a:lnTo>
                  <a:lnTo>
                    <a:pt x="146" y="2439"/>
                  </a:lnTo>
                  <a:lnTo>
                    <a:pt x="146" y="2439"/>
                  </a:lnTo>
                  <a:lnTo>
                    <a:pt x="149" y="2455"/>
                  </a:lnTo>
                  <a:lnTo>
                    <a:pt x="154" y="2470"/>
                  </a:lnTo>
                  <a:lnTo>
                    <a:pt x="162" y="2483"/>
                  </a:lnTo>
                  <a:lnTo>
                    <a:pt x="170" y="2493"/>
                  </a:lnTo>
                  <a:lnTo>
                    <a:pt x="179" y="2503"/>
                  </a:lnTo>
                  <a:lnTo>
                    <a:pt x="189" y="2511"/>
                  </a:lnTo>
                  <a:lnTo>
                    <a:pt x="200" y="2518"/>
                  </a:lnTo>
                  <a:lnTo>
                    <a:pt x="214" y="2523"/>
                  </a:lnTo>
                  <a:lnTo>
                    <a:pt x="227" y="2527"/>
                  </a:lnTo>
                  <a:lnTo>
                    <a:pt x="241" y="2529"/>
                  </a:lnTo>
                  <a:lnTo>
                    <a:pt x="256" y="2531"/>
                  </a:lnTo>
                  <a:lnTo>
                    <a:pt x="271" y="2532"/>
                  </a:lnTo>
                  <a:lnTo>
                    <a:pt x="287" y="2533"/>
                  </a:lnTo>
                  <a:lnTo>
                    <a:pt x="304" y="2532"/>
                  </a:lnTo>
                  <a:lnTo>
                    <a:pt x="337" y="2530"/>
                  </a:lnTo>
                  <a:lnTo>
                    <a:pt x="371" y="2526"/>
                  </a:lnTo>
                  <a:lnTo>
                    <a:pt x="405" y="2521"/>
                  </a:lnTo>
                  <a:lnTo>
                    <a:pt x="438" y="2516"/>
                  </a:lnTo>
                  <a:lnTo>
                    <a:pt x="468" y="2512"/>
                  </a:lnTo>
                  <a:lnTo>
                    <a:pt x="496" y="2510"/>
                  </a:lnTo>
                  <a:lnTo>
                    <a:pt x="509" y="2509"/>
                  </a:lnTo>
                  <a:lnTo>
                    <a:pt x="520" y="2509"/>
                  </a:lnTo>
                  <a:lnTo>
                    <a:pt x="531" y="2510"/>
                  </a:lnTo>
                  <a:lnTo>
                    <a:pt x="541" y="2512"/>
                  </a:lnTo>
                  <a:lnTo>
                    <a:pt x="549" y="2515"/>
                  </a:lnTo>
                  <a:lnTo>
                    <a:pt x="555" y="2519"/>
                  </a:lnTo>
                  <a:lnTo>
                    <a:pt x="555" y="2519"/>
                  </a:lnTo>
                  <a:lnTo>
                    <a:pt x="558" y="2522"/>
                  </a:lnTo>
                  <a:lnTo>
                    <a:pt x="559" y="2524"/>
                  </a:lnTo>
                  <a:lnTo>
                    <a:pt x="557" y="2527"/>
                  </a:lnTo>
                  <a:lnTo>
                    <a:pt x="554" y="2529"/>
                  </a:lnTo>
                  <a:lnTo>
                    <a:pt x="549" y="2532"/>
                  </a:lnTo>
                  <a:lnTo>
                    <a:pt x="542" y="2534"/>
                  </a:lnTo>
                  <a:lnTo>
                    <a:pt x="525" y="2538"/>
                  </a:lnTo>
                  <a:lnTo>
                    <a:pt x="475" y="2547"/>
                  </a:lnTo>
                  <a:lnTo>
                    <a:pt x="447" y="2553"/>
                  </a:lnTo>
                  <a:lnTo>
                    <a:pt x="417" y="2559"/>
                  </a:lnTo>
                  <a:lnTo>
                    <a:pt x="388" y="2566"/>
                  </a:lnTo>
                  <a:lnTo>
                    <a:pt x="359" y="2574"/>
                  </a:lnTo>
                  <a:lnTo>
                    <a:pt x="346" y="2578"/>
                  </a:lnTo>
                  <a:lnTo>
                    <a:pt x="333" y="2583"/>
                  </a:lnTo>
                  <a:lnTo>
                    <a:pt x="322" y="2588"/>
                  </a:lnTo>
                  <a:lnTo>
                    <a:pt x="312" y="2594"/>
                  </a:lnTo>
                  <a:lnTo>
                    <a:pt x="303" y="2601"/>
                  </a:lnTo>
                  <a:lnTo>
                    <a:pt x="294" y="2607"/>
                  </a:lnTo>
                  <a:lnTo>
                    <a:pt x="288" y="2614"/>
                  </a:lnTo>
                  <a:lnTo>
                    <a:pt x="284" y="2622"/>
                  </a:lnTo>
                  <a:lnTo>
                    <a:pt x="282" y="2630"/>
                  </a:lnTo>
                  <a:lnTo>
                    <a:pt x="281" y="2638"/>
                  </a:lnTo>
                  <a:lnTo>
                    <a:pt x="283" y="2649"/>
                  </a:lnTo>
                  <a:lnTo>
                    <a:pt x="287" y="2659"/>
                  </a:lnTo>
                  <a:lnTo>
                    <a:pt x="287" y="2659"/>
                  </a:lnTo>
                  <a:lnTo>
                    <a:pt x="287" y="2660"/>
                  </a:lnTo>
                  <a:lnTo>
                    <a:pt x="286" y="2663"/>
                  </a:lnTo>
                  <a:lnTo>
                    <a:pt x="283" y="2669"/>
                  </a:lnTo>
                  <a:lnTo>
                    <a:pt x="268" y="2686"/>
                  </a:lnTo>
                  <a:lnTo>
                    <a:pt x="258" y="2699"/>
                  </a:lnTo>
                  <a:lnTo>
                    <a:pt x="247" y="2712"/>
                  </a:lnTo>
                  <a:lnTo>
                    <a:pt x="237" y="2727"/>
                  </a:lnTo>
                  <a:lnTo>
                    <a:pt x="228" y="2744"/>
                  </a:lnTo>
                  <a:lnTo>
                    <a:pt x="220" y="2761"/>
                  </a:lnTo>
                  <a:lnTo>
                    <a:pt x="217" y="2770"/>
                  </a:lnTo>
                  <a:lnTo>
                    <a:pt x="214" y="2781"/>
                  </a:lnTo>
                  <a:lnTo>
                    <a:pt x="213" y="2790"/>
                  </a:lnTo>
                  <a:lnTo>
                    <a:pt x="212" y="2801"/>
                  </a:lnTo>
                  <a:lnTo>
                    <a:pt x="212" y="2811"/>
                  </a:lnTo>
                  <a:lnTo>
                    <a:pt x="213" y="2821"/>
                  </a:lnTo>
                  <a:lnTo>
                    <a:pt x="215" y="2833"/>
                  </a:lnTo>
                  <a:lnTo>
                    <a:pt x="219" y="2844"/>
                  </a:lnTo>
                  <a:lnTo>
                    <a:pt x="223" y="2856"/>
                  </a:lnTo>
                  <a:lnTo>
                    <a:pt x="229" y="2867"/>
                  </a:lnTo>
                  <a:lnTo>
                    <a:pt x="237" y="2880"/>
                  </a:lnTo>
                  <a:lnTo>
                    <a:pt x="246" y="2892"/>
                  </a:lnTo>
                  <a:lnTo>
                    <a:pt x="257" y="2904"/>
                  </a:lnTo>
                  <a:lnTo>
                    <a:pt x="270" y="2917"/>
                  </a:lnTo>
                  <a:lnTo>
                    <a:pt x="270" y="2917"/>
                  </a:lnTo>
                  <a:lnTo>
                    <a:pt x="270" y="2910"/>
                  </a:lnTo>
                  <a:lnTo>
                    <a:pt x="272" y="2893"/>
                  </a:lnTo>
                  <a:lnTo>
                    <a:pt x="277" y="2868"/>
                  </a:lnTo>
                  <a:lnTo>
                    <a:pt x="281" y="2855"/>
                  </a:lnTo>
                  <a:lnTo>
                    <a:pt x="285" y="2841"/>
                  </a:lnTo>
                  <a:lnTo>
                    <a:pt x="291" y="2828"/>
                  </a:lnTo>
                  <a:lnTo>
                    <a:pt x="298" y="2814"/>
                  </a:lnTo>
                  <a:lnTo>
                    <a:pt x="306" y="2801"/>
                  </a:lnTo>
                  <a:lnTo>
                    <a:pt x="315" y="2791"/>
                  </a:lnTo>
                  <a:lnTo>
                    <a:pt x="321" y="2786"/>
                  </a:lnTo>
                  <a:lnTo>
                    <a:pt x="326" y="2782"/>
                  </a:lnTo>
                  <a:lnTo>
                    <a:pt x="332" y="2777"/>
                  </a:lnTo>
                  <a:lnTo>
                    <a:pt x="339" y="2774"/>
                  </a:lnTo>
                  <a:lnTo>
                    <a:pt x="346" y="2772"/>
                  </a:lnTo>
                  <a:lnTo>
                    <a:pt x="354" y="2770"/>
                  </a:lnTo>
                  <a:lnTo>
                    <a:pt x="361" y="2770"/>
                  </a:lnTo>
                  <a:lnTo>
                    <a:pt x="369" y="2770"/>
                  </a:lnTo>
                  <a:lnTo>
                    <a:pt x="369" y="2770"/>
                  </a:lnTo>
                  <a:lnTo>
                    <a:pt x="383" y="2771"/>
                  </a:lnTo>
                  <a:lnTo>
                    <a:pt x="396" y="2774"/>
                  </a:lnTo>
                  <a:lnTo>
                    <a:pt x="408" y="2778"/>
                  </a:lnTo>
                  <a:lnTo>
                    <a:pt x="420" y="2783"/>
                  </a:lnTo>
                  <a:lnTo>
                    <a:pt x="443" y="2793"/>
                  </a:lnTo>
                  <a:lnTo>
                    <a:pt x="454" y="2797"/>
                  </a:lnTo>
                  <a:lnTo>
                    <a:pt x="465" y="2801"/>
                  </a:lnTo>
                  <a:lnTo>
                    <a:pt x="476" y="2804"/>
                  </a:lnTo>
                  <a:lnTo>
                    <a:pt x="489" y="2806"/>
                  </a:lnTo>
                  <a:lnTo>
                    <a:pt x="501" y="2807"/>
                  </a:lnTo>
                  <a:lnTo>
                    <a:pt x="514" y="2805"/>
                  </a:lnTo>
                  <a:lnTo>
                    <a:pt x="528" y="2802"/>
                  </a:lnTo>
                  <a:lnTo>
                    <a:pt x="542" y="2796"/>
                  </a:lnTo>
                  <a:lnTo>
                    <a:pt x="558" y="2788"/>
                  </a:lnTo>
                  <a:lnTo>
                    <a:pt x="575" y="2775"/>
                  </a:lnTo>
                  <a:lnTo>
                    <a:pt x="575" y="2775"/>
                  </a:lnTo>
                  <a:lnTo>
                    <a:pt x="588" y="2766"/>
                  </a:lnTo>
                  <a:lnTo>
                    <a:pt x="600" y="2755"/>
                  </a:lnTo>
                  <a:lnTo>
                    <a:pt x="614" y="2743"/>
                  </a:lnTo>
                  <a:lnTo>
                    <a:pt x="630" y="2730"/>
                  </a:lnTo>
                  <a:lnTo>
                    <a:pt x="651" y="2718"/>
                  </a:lnTo>
                  <a:lnTo>
                    <a:pt x="664" y="2711"/>
                  </a:lnTo>
                  <a:lnTo>
                    <a:pt x="678" y="2705"/>
                  </a:lnTo>
                  <a:lnTo>
                    <a:pt x="693" y="2698"/>
                  </a:lnTo>
                  <a:lnTo>
                    <a:pt x="712" y="2692"/>
                  </a:lnTo>
                  <a:lnTo>
                    <a:pt x="732" y="2684"/>
                  </a:lnTo>
                  <a:lnTo>
                    <a:pt x="754" y="2677"/>
                  </a:lnTo>
                  <a:lnTo>
                    <a:pt x="754" y="2677"/>
                  </a:lnTo>
                  <a:lnTo>
                    <a:pt x="756" y="2677"/>
                  </a:lnTo>
                  <a:lnTo>
                    <a:pt x="757" y="2678"/>
                  </a:lnTo>
                  <a:lnTo>
                    <a:pt x="760" y="2683"/>
                  </a:lnTo>
                  <a:lnTo>
                    <a:pt x="762" y="2692"/>
                  </a:lnTo>
                  <a:lnTo>
                    <a:pt x="765" y="2701"/>
                  </a:lnTo>
                  <a:lnTo>
                    <a:pt x="768" y="2713"/>
                  </a:lnTo>
                  <a:lnTo>
                    <a:pt x="772" y="2725"/>
                  </a:lnTo>
                  <a:lnTo>
                    <a:pt x="777" y="2738"/>
                  </a:lnTo>
                  <a:lnTo>
                    <a:pt x="783" y="2750"/>
                  </a:lnTo>
                  <a:lnTo>
                    <a:pt x="783" y="2750"/>
                  </a:lnTo>
                  <a:lnTo>
                    <a:pt x="786" y="2753"/>
                  </a:lnTo>
                  <a:lnTo>
                    <a:pt x="789" y="2755"/>
                  </a:lnTo>
                  <a:lnTo>
                    <a:pt x="797" y="2760"/>
                  </a:lnTo>
                  <a:lnTo>
                    <a:pt x="805" y="2763"/>
                  </a:lnTo>
                  <a:lnTo>
                    <a:pt x="813" y="2767"/>
                  </a:lnTo>
                  <a:lnTo>
                    <a:pt x="821" y="2770"/>
                  </a:lnTo>
                  <a:lnTo>
                    <a:pt x="827" y="2773"/>
                  </a:lnTo>
                  <a:lnTo>
                    <a:pt x="830" y="2775"/>
                  </a:lnTo>
                  <a:lnTo>
                    <a:pt x="831" y="2777"/>
                  </a:lnTo>
                  <a:lnTo>
                    <a:pt x="833" y="2781"/>
                  </a:lnTo>
                  <a:lnTo>
                    <a:pt x="833" y="2784"/>
                  </a:lnTo>
                  <a:lnTo>
                    <a:pt x="833" y="2784"/>
                  </a:lnTo>
                  <a:lnTo>
                    <a:pt x="832" y="2794"/>
                  </a:lnTo>
                  <a:lnTo>
                    <a:pt x="830" y="2805"/>
                  </a:lnTo>
                  <a:lnTo>
                    <a:pt x="826" y="2815"/>
                  </a:lnTo>
                  <a:lnTo>
                    <a:pt x="822" y="2824"/>
                  </a:lnTo>
                  <a:lnTo>
                    <a:pt x="817" y="2834"/>
                  </a:lnTo>
                  <a:lnTo>
                    <a:pt x="811" y="2843"/>
                  </a:lnTo>
                  <a:lnTo>
                    <a:pt x="798" y="2859"/>
                  </a:lnTo>
                  <a:lnTo>
                    <a:pt x="784" y="2873"/>
                  </a:lnTo>
                  <a:lnTo>
                    <a:pt x="773" y="2884"/>
                  </a:lnTo>
                  <a:lnTo>
                    <a:pt x="765" y="2890"/>
                  </a:lnTo>
                  <a:lnTo>
                    <a:pt x="763" y="2893"/>
                  </a:lnTo>
                  <a:lnTo>
                    <a:pt x="763" y="2893"/>
                  </a:lnTo>
                  <a:lnTo>
                    <a:pt x="767" y="2896"/>
                  </a:lnTo>
                  <a:lnTo>
                    <a:pt x="778" y="2899"/>
                  </a:lnTo>
                  <a:lnTo>
                    <a:pt x="785" y="2900"/>
                  </a:lnTo>
                  <a:lnTo>
                    <a:pt x="794" y="2901"/>
                  </a:lnTo>
                  <a:lnTo>
                    <a:pt x="804" y="2901"/>
                  </a:lnTo>
                  <a:lnTo>
                    <a:pt x="815" y="2899"/>
                  </a:lnTo>
                  <a:lnTo>
                    <a:pt x="826" y="2896"/>
                  </a:lnTo>
                  <a:lnTo>
                    <a:pt x="839" y="2891"/>
                  </a:lnTo>
                  <a:lnTo>
                    <a:pt x="852" y="2884"/>
                  </a:lnTo>
                  <a:lnTo>
                    <a:pt x="865" y="2874"/>
                  </a:lnTo>
                  <a:lnTo>
                    <a:pt x="879" y="2860"/>
                  </a:lnTo>
                  <a:lnTo>
                    <a:pt x="894" y="2844"/>
                  </a:lnTo>
                  <a:lnTo>
                    <a:pt x="907" y="2824"/>
                  </a:lnTo>
                  <a:lnTo>
                    <a:pt x="921" y="2801"/>
                  </a:lnTo>
                  <a:lnTo>
                    <a:pt x="921" y="2801"/>
                  </a:lnTo>
                  <a:lnTo>
                    <a:pt x="924" y="2797"/>
                  </a:lnTo>
                  <a:lnTo>
                    <a:pt x="927" y="2793"/>
                  </a:lnTo>
                  <a:lnTo>
                    <a:pt x="930" y="2791"/>
                  </a:lnTo>
                  <a:lnTo>
                    <a:pt x="935" y="2789"/>
                  </a:lnTo>
                  <a:lnTo>
                    <a:pt x="939" y="2788"/>
                  </a:lnTo>
                  <a:lnTo>
                    <a:pt x="943" y="2788"/>
                  </a:lnTo>
                  <a:lnTo>
                    <a:pt x="951" y="2788"/>
                  </a:lnTo>
                  <a:lnTo>
                    <a:pt x="970" y="2790"/>
                  </a:lnTo>
                  <a:lnTo>
                    <a:pt x="982" y="2790"/>
                  </a:lnTo>
                  <a:lnTo>
                    <a:pt x="987" y="2789"/>
                  </a:lnTo>
                  <a:lnTo>
                    <a:pt x="992" y="2788"/>
                  </a:lnTo>
                  <a:lnTo>
                    <a:pt x="992" y="2788"/>
                  </a:lnTo>
                  <a:lnTo>
                    <a:pt x="1010" y="2782"/>
                  </a:lnTo>
                  <a:lnTo>
                    <a:pt x="1017" y="2777"/>
                  </a:lnTo>
                  <a:lnTo>
                    <a:pt x="1024" y="2773"/>
                  </a:lnTo>
                  <a:lnTo>
                    <a:pt x="1029" y="2770"/>
                  </a:lnTo>
                  <a:lnTo>
                    <a:pt x="1033" y="2766"/>
                  </a:lnTo>
                  <a:lnTo>
                    <a:pt x="1036" y="2762"/>
                  </a:lnTo>
                  <a:lnTo>
                    <a:pt x="1039" y="2757"/>
                  </a:lnTo>
                  <a:lnTo>
                    <a:pt x="1041" y="2753"/>
                  </a:lnTo>
                  <a:lnTo>
                    <a:pt x="1042" y="2748"/>
                  </a:lnTo>
                  <a:lnTo>
                    <a:pt x="1043" y="2739"/>
                  </a:lnTo>
                  <a:lnTo>
                    <a:pt x="1042" y="2728"/>
                  </a:lnTo>
                  <a:lnTo>
                    <a:pt x="1040" y="2718"/>
                  </a:lnTo>
                  <a:lnTo>
                    <a:pt x="1035" y="2696"/>
                  </a:lnTo>
                  <a:lnTo>
                    <a:pt x="1034" y="2685"/>
                  </a:lnTo>
                  <a:lnTo>
                    <a:pt x="1033" y="2673"/>
                  </a:lnTo>
                  <a:lnTo>
                    <a:pt x="1034" y="2662"/>
                  </a:lnTo>
                  <a:lnTo>
                    <a:pt x="1036" y="2657"/>
                  </a:lnTo>
                  <a:lnTo>
                    <a:pt x="1038" y="2651"/>
                  </a:lnTo>
                  <a:lnTo>
                    <a:pt x="1040" y="2646"/>
                  </a:lnTo>
                  <a:lnTo>
                    <a:pt x="1044" y="2640"/>
                  </a:lnTo>
                  <a:lnTo>
                    <a:pt x="1048" y="2634"/>
                  </a:lnTo>
                  <a:lnTo>
                    <a:pt x="1054" y="2629"/>
                  </a:lnTo>
                  <a:lnTo>
                    <a:pt x="1054" y="2629"/>
                  </a:lnTo>
                  <a:lnTo>
                    <a:pt x="1069" y="2616"/>
                  </a:lnTo>
                  <a:lnTo>
                    <a:pt x="1084" y="2603"/>
                  </a:lnTo>
                  <a:lnTo>
                    <a:pt x="1099" y="2591"/>
                  </a:lnTo>
                  <a:lnTo>
                    <a:pt x="1115" y="2579"/>
                  </a:lnTo>
                  <a:lnTo>
                    <a:pt x="1146" y="2559"/>
                  </a:lnTo>
                  <a:lnTo>
                    <a:pt x="1178" y="2540"/>
                  </a:lnTo>
                  <a:lnTo>
                    <a:pt x="1210" y="2524"/>
                  </a:lnTo>
                  <a:lnTo>
                    <a:pt x="1241" y="2509"/>
                  </a:lnTo>
                  <a:lnTo>
                    <a:pt x="1273" y="2494"/>
                  </a:lnTo>
                  <a:lnTo>
                    <a:pt x="1304" y="2482"/>
                  </a:lnTo>
                  <a:lnTo>
                    <a:pt x="1304" y="2482"/>
                  </a:lnTo>
                  <a:lnTo>
                    <a:pt x="1303" y="2486"/>
                  </a:lnTo>
                  <a:lnTo>
                    <a:pt x="1299" y="2498"/>
                  </a:lnTo>
                  <a:lnTo>
                    <a:pt x="1294" y="2518"/>
                  </a:lnTo>
                  <a:lnTo>
                    <a:pt x="1291" y="2541"/>
                  </a:lnTo>
                  <a:lnTo>
                    <a:pt x="1290" y="2556"/>
                  </a:lnTo>
                  <a:lnTo>
                    <a:pt x="1290" y="2570"/>
                  </a:lnTo>
                  <a:lnTo>
                    <a:pt x="1291" y="2585"/>
                  </a:lnTo>
                  <a:lnTo>
                    <a:pt x="1292" y="2602"/>
                  </a:lnTo>
                  <a:lnTo>
                    <a:pt x="1296" y="2618"/>
                  </a:lnTo>
                  <a:lnTo>
                    <a:pt x="1301" y="2634"/>
                  </a:lnTo>
                  <a:lnTo>
                    <a:pt x="1306" y="2652"/>
                  </a:lnTo>
                  <a:lnTo>
                    <a:pt x="1314" y="2669"/>
                  </a:lnTo>
                  <a:lnTo>
                    <a:pt x="1640" y="2585"/>
                  </a:lnTo>
                  <a:lnTo>
                    <a:pt x="1640" y="2585"/>
                  </a:lnTo>
                  <a:lnTo>
                    <a:pt x="1634" y="2569"/>
                  </a:lnTo>
                  <a:lnTo>
                    <a:pt x="1631" y="2553"/>
                  </a:lnTo>
                  <a:lnTo>
                    <a:pt x="1629" y="2535"/>
                  </a:lnTo>
                  <a:lnTo>
                    <a:pt x="1629" y="2518"/>
                  </a:lnTo>
                  <a:lnTo>
                    <a:pt x="1631" y="2500"/>
                  </a:lnTo>
                  <a:lnTo>
                    <a:pt x="1634" y="2483"/>
                  </a:lnTo>
                  <a:lnTo>
                    <a:pt x="1638" y="2466"/>
                  </a:lnTo>
                  <a:lnTo>
                    <a:pt x="1644" y="2447"/>
                  </a:lnTo>
                  <a:lnTo>
                    <a:pt x="1651" y="2430"/>
                  </a:lnTo>
                  <a:lnTo>
                    <a:pt x="1660" y="2411"/>
                  </a:lnTo>
                  <a:lnTo>
                    <a:pt x="1669" y="2394"/>
                  </a:lnTo>
                  <a:lnTo>
                    <a:pt x="1679" y="2377"/>
                  </a:lnTo>
                  <a:lnTo>
                    <a:pt x="1689" y="2359"/>
                  </a:lnTo>
                  <a:lnTo>
                    <a:pt x="1701" y="2342"/>
                  </a:lnTo>
                  <a:lnTo>
                    <a:pt x="1725" y="2310"/>
                  </a:lnTo>
                  <a:lnTo>
                    <a:pt x="1725" y="2310"/>
                  </a:lnTo>
                  <a:lnTo>
                    <a:pt x="1726" y="2309"/>
                  </a:lnTo>
                  <a:lnTo>
                    <a:pt x="1727" y="2309"/>
                  </a:lnTo>
                  <a:lnTo>
                    <a:pt x="1728" y="2313"/>
                  </a:lnTo>
                  <a:lnTo>
                    <a:pt x="1725" y="2335"/>
                  </a:lnTo>
                  <a:lnTo>
                    <a:pt x="1721" y="2368"/>
                  </a:lnTo>
                  <a:lnTo>
                    <a:pt x="1715" y="2410"/>
                  </a:lnTo>
                  <a:lnTo>
                    <a:pt x="1713" y="2433"/>
                  </a:lnTo>
                  <a:lnTo>
                    <a:pt x="1711" y="2456"/>
                  </a:lnTo>
                  <a:lnTo>
                    <a:pt x="1711" y="2478"/>
                  </a:lnTo>
                  <a:lnTo>
                    <a:pt x="1711" y="2499"/>
                  </a:lnTo>
                  <a:lnTo>
                    <a:pt x="1713" y="2519"/>
                  </a:lnTo>
                  <a:lnTo>
                    <a:pt x="1716" y="2536"/>
                  </a:lnTo>
                  <a:lnTo>
                    <a:pt x="1719" y="2544"/>
                  </a:lnTo>
                  <a:lnTo>
                    <a:pt x="1722" y="2551"/>
                  </a:lnTo>
                  <a:lnTo>
                    <a:pt x="1726" y="2557"/>
                  </a:lnTo>
                  <a:lnTo>
                    <a:pt x="1730" y="2562"/>
                  </a:lnTo>
                  <a:lnTo>
                    <a:pt x="2050" y="2479"/>
                  </a:lnTo>
                  <a:lnTo>
                    <a:pt x="2050" y="2479"/>
                  </a:lnTo>
                  <a:lnTo>
                    <a:pt x="2046" y="2469"/>
                  </a:lnTo>
                  <a:lnTo>
                    <a:pt x="2043" y="2457"/>
                  </a:lnTo>
                  <a:lnTo>
                    <a:pt x="2041" y="2446"/>
                  </a:lnTo>
                  <a:lnTo>
                    <a:pt x="2039" y="2434"/>
                  </a:lnTo>
                  <a:lnTo>
                    <a:pt x="2038" y="2422"/>
                  </a:lnTo>
                  <a:lnTo>
                    <a:pt x="2038" y="2409"/>
                  </a:lnTo>
                  <a:lnTo>
                    <a:pt x="2039" y="2383"/>
                  </a:lnTo>
                  <a:lnTo>
                    <a:pt x="2043" y="2356"/>
                  </a:lnTo>
                  <a:lnTo>
                    <a:pt x="2048" y="2330"/>
                  </a:lnTo>
                  <a:lnTo>
                    <a:pt x="2055" y="2303"/>
                  </a:lnTo>
                  <a:lnTo>
                    <a:pt x="2064" y="2279"/>
                  </a:lnTo>
                  <a:lnTo>
                    <a:pt x="2064" y="2279"/>
                  </a:lnTo>
                  <a:lnTo>
                    <a:pt x="2072" y="2306"/>
                  </a:lnTo>
                  <a:lnTo>
                    <a:pt x="2079" y="2335"/>
                  </a:lnTo>
                  <a:lnTo>
                    <a:pt x="2088" y="2362"/>
                  </a:lnTo>
                  <a:lnTo>
                    <a:pt x="2098" y="2390"/>
                  </a:lnTo>
                  <a:lnTo>
                    <a:pt x="2108" y="2417"/>
                  </a:lnTo>
                  <a:lnTo>
                    <a:pt x="2121" y="2443"/>
                  </a:lnTo>
                  <a:lnTo>
                    <a:pt x="2135" y="2469"/>
                  </a:lnTo>
                  <a:lnTo>
                    <a:pt x="2149" y="2494"/>
                  </a:lnTo>
                  <a:lnTo>
                    <a:pt x="2166" y="2519"/>
                  </a:lnTo>
                  <a:lnTo>
                    <a:pt x="2183" y="2541"/>
                  </a:lnTo>
                  <a:lnTo>
                    <a:pt x="2201" y="2563"/>
                  </a:lnTo>
                  <a:lnTo>
                    <a:pt x="2222" y="2583"/>
                  </a:lnTo>
                  <a:lnTo>
                    <a:pt x="2244" y="2603"/>
                  </a:lnTo>
                  <a:lnTo>
                    <a:pt x="2268" y="2619"/>
                  </a:lnTo>
                  <a:lnTo>
                    <a:pt x="2280" y="2627"/>
                  </a:lnTo>
                  <a:lnTo>
                    <a:pt x="2292" y="2634"/>
                  </a:lnTo>
                  <a:lnTo>
                    <a:pt x="2306" y="2641"/>
                  </a:lnTo>
                  <a:lnTo>
                    <a:pt x="2320" y="2648"/>
                  </a:lnTo>
                  <a:lnTo>
                    <a:pt x="2320" y="2648"/>
                  </a:lnTo>
                  <a:lnTo>
                    <a:pt x="2365" y="2667"/>
                  </a:lnTo>
                  <a:lnTo>
                    <a:pt x="2410" y="2685"/>
                  </a:lnTo>
                  <a:lnTo>
                    <a:pt x="2454" y="2702"/>
                  </a:lnTo>
                  <a:lnTo>
                    <a:pt x="2499" y="2718"/>
                  </a:lnTo>
                  <a:lnTo>
                    <a:pt x="2544" y="2733"/>
                  </a:lnTo>
                  <a:lnTo>
                    <a:pt x="2589" y="2749"/>
                  </a:lnTo>
                  <a:lnTo>
                    <a:pt x="2683" y="2778"/>
                  </a:lnTo>
                  <a:lnTo>
                    <a:pt x="2782" y="2807"/>
                  </a:lnTo>
                  <a:lnTo>
                    <a:pt x="2889" y="2838"/>
                  </a:lnTo>
                  <a:lnTo>
                    <a:pt x="3005" y="2872"/>
                  </a:lnTo>
                  <a:lnTo>
                    <a:pt x="3133" y="2908"/>
                  </a:lnTo>
                  <a:lnTo>
                    <a:pt x="3133" y="2908"/>
                  </a:lnTo>
                  <a:lnTo>
                    <a:pt x="3205" y="2931"/>
                  </a:lnTo>
                  <a:lnTo>
                    <a:pt x="3273" y="2954"/>
                  </a:lnTo>
                  <a:lnTo>
                    <a:pt x="3305" y="2966"/>
                  </a:lnTo>
                  <a:lnTo>
                    <a:pt x="3333" y="2977"/>
                  </a:lnTo>
                  <a:lnTo>
                    <a:pt x="3358" y="2987"/>
                  </a:lnTo>
                  <a:lnTo>
                    <a:pt x="3377" y="2996"/>
                  </a:lnTo>
                  <a:lnTo>
                    <a:pt x="3377" y="2996"/>
                  </a:lnTo>
                  <a:lnTo>
                    <a:pt x="3383" y="2999"/>
                  </a:lnTo>
                  <a:lnTo>
                    <a:pt x="3389" y="3003"/>
                  </a:lnTo>
                  <a:lnTo>
                    <a:pt x="3393" y="3006"/>
                  </a:lnTo>
                  <a:lnTo>
                    <a:pt x="3397" y="3011"/>
                  </a:lnTo>
                  <a:lnTo>
                    <a:pt x="3399" y="3015"/>
                  </a:lnTo>
                  <a:lnTo>
                    <a:pt x="3401" y="3020"/>
                  </a:lnTo>
                  <a:lnTo>
                    <a:pt x="3402" y="3024"/>
                  </a:lnTo>
                  <a:lnTo>
                    <a:pt x="3402" y="3028"/>
                  </a:lnTo>
                  <a:lnTo>
                    <a:pt x="3401" y="3037"/>
                  </a:lnTo>
                  <a:lnTo>
                    <a:pt x="3397" y="3046"/>
                  </a:lnTo>
                  <a:lnTo>
                    <a:pt x="3392" y="3055"/>
                  </a:lnTo>
                  <a:lnTo>
                    <a:pt x="3386" y="3064"/>
                  </a:lnTo>
                  <a:lnTo>
                    <a:pt x="3378" y="3072"/>
                  </a:lnTo>
                  <a:lnTo>
                    <a:pt x="3371" y="3080"/>
                  </a:lnTo>
                  <a:lnTo>
                    <a:pt x="3357" y="3092"/>
                  </a:lnTo>
                  <a:lnTo>
                    <a:pt x="3346" y="3102"/>
                  </a:lnTo>
                  <a:lnTo>
                    <a:pt x="3341" y="3105"/>
                  </a:lnTo>
                  <a:lnTo>
                    <a:pt x="3341" y="3105"/>
                  </a:lnTo>
                  <a:lnTo>
                    <a:pt x="3355" y="3113"/>
                  </a:lnTo>
                  <a:lnTo>
                    <a:pt x="3371" y="3121"/>
                  </a:lnTo>
                  <a:lnTo>
                    <a:pt x="3411" y="3139"/>
                  </a:lnTo>
                  <a:lnTo>
                    <a:pt x="3435" y="3152"/>
                  </a:lnTo>
                  <a:lnTo>
                    <a:pt x="3461" y="3167"/>
                  </a:lnTo>
                  <a:lnTo>
                    <a:pt x="3492" y="3186"/>
                  </a:lnTo>
                  <a:lnTo>
                    <a:pt x="3527" y="3211"/>
                  </a:lnTo>
                  <a:lnTo>
                    <a:pt x="3527" y="3211"/>
                  </a:lnTo>
                  <a:lnTo>
                    <a:pt x="3545" y="3226"/>
                  </a:lnTo>
                  <a:lnTo>
                    <a:pt x="3563" y="3244"/>
                  </a:lnTo>
                  <a:lnTo>
                    <a:pt x="3580" y="3263"/>
                  </a:lnTo>
                  <a:lnTo>
                    <a:pt x="3595" y="3284"/>
                  </a:lnTo>
                  <a:lnTo>
                    <a:pt x="3608" y="3305"/>
                  </a:lnTo>
                  <a:lnTo>
                    <a:pt x="3622" y="3329"/>
                  </a:lnTo>
                  <a:lnTo>
                    <a:pt x="3634" y="3352"/>
                  </a:lnTo>
                  <a:lnTo>
                    <a:pt x="3645" y="3378"/>
                  </a:lnTo>
                  <a:lnTo>
                    <a:pt x="3655" y="3404"/>
                  </a:lnTo>
                  <a:lnTo>
                    <a:pt x="3665" y="3432"/>
                  </a:lnTo>
                  <a:lnTo>
                    <a:pt x="3674" y="3460"/>
                  </a:lnTo>
                  <a:lnTo>
                    <a:pt x="3682" y="3489"/>
                  </a:lnTo>
                  <a:lnTo>
                    <a:pt x="3698" y="3549"/>
                  </a:lnTo>
                  <a:lnTo>
                    <a:pt x="3714" y="3612"/>
                  </a:lnTo>
                  <a:lnTo>
                    <a:pt x="3714" y="3612"/>
                  </a:lnTo>
                  <a:lnTo>
                    <a:pt x="3725" y="3662"/>
                  </a:lnTo>
                  <a:lnTo>
                    <a:pt x="3734" y="3715"/>
                  </a:lnTo>
                  <a:lnTo>
                    <a:pt x="3742" y="3768"/>
                  </a:lnTo>
                  <a:lnTo>
                    <a:pt x="3744" y="3795"/>
                  </a:lnTo>
                  <a:lnTo>
                    <a:pt x="3746" y="3819"/>
                  </a:lnTo>
                  <a:lnTo>
                    <a:pt x="3748" y="3844"/>
                  </a:lnTo>
                  <a:lnTo>
                    <a:pt x="3749" y="3867"/>
                  </a:lnTo>
                  <a:lnTo>
                    <a:pt x="3748" y="3889"/>
                  </a:lnTo>
                  <a:lnTo>
                    <a:pt x="3745" y="3909"/>
                  </a:lnTo>
                  <a:lnTo>
                    <a:pt x="3742" y="3928"/>
                  </a:lnTo>
                  <a:lnTo>
                    <a:pt x="3737" y="3944"/>
                  </a:lnTo>
                  <a:lnTo>
                    <a:pt x="3731" y="3957"/>
                  </a:lnTo>
                  <a:lnTo>
                    <a:pt x="3728" y="3963"/>
                  </a:lnTo>
                  <a:lnTo>
                    <a:pt x="3724" y="3969"/>
                  </a:lnTo>
                  <a:lnTo>
                    <a:pt x="3724" y="3969"/>
                  </a:lnTo>
                  <a:lnTo>
                    <a:pt x="3715" y="3979"/>
                  </a:lnTo>
                  <a:lnTo>
                    <a:pt x="3705" y="3989"/>
                  </a:lnTo>
                  <a:lnTo>
                    <a:pt x="3691" y="3998"/>
                  </a:lnTo>
                  <a:lnTo>
                    <a:pt x="3683" y="4003"/>
                  </a:lnTo>
                  <a:lnTo>
                    <a:pt x="3673" y="4008"/>
                  </a:lnTo>
                  <a:lnTo>
                    <a:pt x="3663" y="4014"/>
                  </a:lnTo>
                  <a:lnTo>
                    <a:pt x="3650" y="4019"/>
                  </a:lnTo>
                  <a:lnTo>
                    <a:pt x="3621" y="4028"/>
                  </a:lnTo>
                  <a:lnTo>
                    <a:pt x="3582" y="4038"/>
                  </a:lnTo>
                  <a:lnTo>
                    <a:pt x="3535" y="4048"/>
                  </a:lnTo>
                  <a:lnTo>
                    <a:pt x="3560" y="4171"/>
                  </a:lnTo>
                  <a:lnTo>
                    <a:pt x="3560" y="4171"/>
                  </a:lnTo>
                  <a:lnTo>
                    <a:pt x="3579" y="4172"/>
                  </a:lnTo>
                  <a:lnTo>
                    <a:pt x="3597" y="4172"/>
                  </a:lnTo>
                  <a:lnTo>
                    <a:pt x="3615" y="4171"/>
                  </a:lnTo>
                  <a:lnTo>
                    <a:pt x="3631" y="4169"/>
                  </a:lnTo>
                  <a:lnTo>
                    <a:pt x="3646" y="4167"/>
                  </a:lnTo>
                  <a:lnTo>
                    <a:pt x="3662" y="4164"/>
                  </a:lnTo>
                  <a:lnTo>
                    <a:pt x="3688" y="4157"/>
                  </a:lnTo>
                  <a:lnTo>
                    <a:pt x="3711" y="4150"/>
                  </a:lnTo>
                  <a:lnTo>
                    <a:pt x="3728" y="4143"/>
                  </a:lnTo>
                  <a:lnTo>
                    <a:pt x="3742" y="4137"/>
                  </a:lnTo>
                  <a:lnTo>
                    <a:pt x="3742" y="4137"/>
                  </a:lnTo>
                  <a:lnTo>
                    <a:pt x="3736" y="4143"/>
                  </a:lnTo>
                  <a:lnTo>
                    <a:pt x="3730" y="4151"/>
                  </a:lnTo>
                  <a:lnTo>
                    <a:pt x="3722" y="4161"/>
                  </a:lnTo>
                  <a:lnTo>
                    <a:pt x="3722" y="4161"/>
                  </a:lnTo>
                  <a:lnTo>
                    <a:pt x="3711" y="4177"/>
                  </a:lnTo>
                  <a:lnTo>
                    <a:pt x="3700" y="4194"/>
                  </a:lnTo>
                  <a:lnTo>
                    <a:pt x="3692" y="4209"/>
                  </a:lnTo>
                  <a:lnTo>
                    <a:pt x="3685" y="4224"/>
                  </a:lnTo>
                  <a:lnTo>
                    <a:pt x="3680" y="4240"/>
                  </a:lnTo>
                  <a:lnTo>
                    <a:pt x="3675" y="4257"/>
                  </a:lnTo>
                  <a:lnTo>
                    <a:pt x="3672" y="4274"/>
                  </a:lnTo>
                  <a:lnTo>
                    <a:pt x="3669" y="4295"/>
                  </a:lnTo>
                  <a:lnTo>
                    <a:pt x="3799" y="4379"/>
                  </a:lnTo>
                  <a:lnTo>
                    <a:pt x="3799" y="4379"/>
                  </a:lnTo>
                  <a:lnTo>
                    <a:pt x="3812" y="4338"/>
                  </a:lnTo>
                  <a:lnTo>
                    <a:pt x="3826" y="4298"/>
                  </a:lnTo>
                  <a:lnTo>
                    <a:pt x="3841" y="4262"/>
                  </a:lnTo>
                  <a:lnTo>
                    <a:pt x="3855" y="4229"/>
                  </a:lnTo>
                  <a:lnTo>
                    <a:pt x="3870" y="4202"/>
                  </a:lnTo>
                  <a:lnTo>
                    <a:pt x="3877" y="4189"/>
                  </a:lnTo>
                  <a:lnTo>
                    <a:pt x="3885" y="4179"/>
                  </a:lnTo>
                  <a:lnTo>
                    <a:pt x="3892" y="4170"/>
                  </a:lnTo>
                  <a:lnTo>
                    <a:pt x="3899" y="4163"/>
                  </a:lnTo>
                  <a:lnTo>
                    <a:pt x="3906" y="4158"/>
                  </a:lnTo>
                  <a:lnTo>
                    <a:pt x="3913" y="4154"/>
                  </a:lnTo>
                  <a:lnTo>
                    <a:pt x="3913" y="4154"/>
                  </a:lnTo>
                  <a:lnTo>
                    <a:pt x="3919" y="4152"/>
                  </a:lnTo>
                  <a:lnTo>
                    <a:pt x="3926" y="4152"/>
                  </a:lnTo>
                  <a:lnTo>
                    <a:pt x="3935" y="4152"/>
                  </a:lnTo>
                  <a:lnTo>
                    <a:pt x="3944" y="4153"/>
                  </a:lnTo>
                  <a:lnTo>
                    <a:pt x="3954" y="4155"/>
                  </a:lnTo>
                  <a:lnTo>
                    <a:pt x="3965" y="4157"/>
                  </a:lnTo>
                  <a:lnTo>
                    <a:pt x="3990" y="4166"/>
                  </a:lnTo>
                  <a:lnTo>
                    <a:pt x="4017" y="4177"/>
                  </a:lnTo>
                  <a:lnTo>
                    <a:pt x="4047" y="4192"/>
                  </a:lnTo>
                  <a:lnTo>
                    <a:pt x="4078" y="4212"/>
                  </a:lnTo>
                  <a:lnTo>
                    <a:pt x="4110" y="4233"/>
                  </a:lnTo>
                  <a:lnTo>
                    <a:pt x="4127" y="4246"/>
                  </a:lnTo>
                  <a:lnTo>
                    <a:pt x="4143" y="4259"/>
                  </a:lnTo>
                  <a:lnTo>
                    <a:pt x="4160" y="4273"/>
                  </a:lnTo>
                  <a:lnTo>
                    <a:pt x="4176" y="4288"/>
                  </a:lnTo>
                  <a:lnTo>
                    <a:pt x="4192" y="4303"/>
                  </a:lnTo>
                  <a:lnTo>
                    <a:pt x="4208" y="4319"/>
                  </a:lnTo>
                  <a:lnTo>
                    <a:pt x="4224" y="4337"/>
                  </a:lnTo>
                  <a:lnTo>
                    <a:pt x="4239" y="4355"/>
                  </a:lnTo>
                  <a:lnTo>
                    <a:pt x="4254" y="4373"/>
                  </a:lnTo>
                  <a:lnTo>
                    <a:pt x="4268" y="4393"/>
                  </a:lnTo>
                  <a:lnTo>
                    <a:pt x="4282" y="4413"/>
                  </a:lnTo>
                  <a:lnTo>
                    <a:pt x="4296" y="4435"/>
                  </a:lnTo>
                  <a:lnTo>
                    <a:pt x="4308" y="4456"/>
                  </a:lnTo>
                  <a:lnTo>
                    <a:pt x="4320" y="4479"/>
                  </a:lnTo>
                  <a:lnTo>
                    <a:pt x="4331" y="4502"/>
                  </a:lnTo>
                  <a:lnTo>
                    <a:pt x="4342" y="4527"/>
                  </a:lnTo>
                  <a:lnTo>
                    <a:pt x="4342" y="4527"/>
                  </a:lnTo>
                  <a:lnTo>
                    <a:pt x="4347" y="4541"/>
                  </a:lnTo>
                  <a:lnTo>
                    <a:pt x="4352" y="4558"/>
                  </a:lnTo>
                  <a:lnTo>
                    <a:pt x="4356" y="4574"/>
                  </a:lnTo>
                  <a:lnTo>
                    <a:pt x="4360" y="4591"/>
                  </a:lnTo>
                  <a:lnTo>
                    <a:pt x="4363" y="4610"/>
                  </a:lnTo>
                  <a:lnTo>
                    <a:pt x="4366" y="4628"/>
                  </a:lnTo>
                  <a:lnTo>
                    <a:pt x="4370" y="4667"/>
                  </a:lnTo>
                  <a:lnTo>
                    <a:pt x="4372" y="4706"/>
                  </a:lnTo>
                  <a:lnTo>
                    <a:pt x="4371" y="4747"/>
                  </a:lnTo>
                  <a:lnTo>
                    <a:pt x="4370" y="4767"/>
                  </a:lnTo>
                  <a:lnTo>
                    <a:pt x="4369" y="4787"/>
                  </a:lnTo>
                  <a:lnTo>
                    <a:pt x="4366" y="4807"/>
                  </a:lnTo>
                  <a:lnTo>
                    <a:pt x="4363" y="4826"/>
                  </a:lnTo>
                  <a:lnTo>
                    <a:pt x="4360" y="4846"/>
                  </a:lnTo>
                  <a:lnTo>
                    <a:pt x="4356" y="4864"/>
                  </a:lnTo>
                  <a:lnTo>
                    <a:pt x="4351" y="4883"/>
                  </a:lnTo>
                  <a:lnTo>
                    <a:pt x="4345" y="4900"/>
                  </a:lnTo>
                  <a:lnTo>
                    <a:pt x="4339" y="4917"/>
                  </a:lnTo>
                  <a:lnTo>
                    <a:pt x="4332" y="4933"/>
                  </a:lnTo>
                  <a:lnTo>
                    <a:pt x="4324" y="4948"/>
                  </a:lnTo>
                  <a:lnTo>
                    <a:pt x="4316" y="4962"/>
                  </a:lnTo>
                  <a:lnTo>
                    <a:pt x="4307" y="4976"/>
                  </a:lnTo>
                  <a:lnTo>
                    <a:pt x="4298" y="4988"/>
                  </a:lnTo>
                  <a:lnTo>
                    <a:pt x="4287" y="4999"/>
                  </a:lnTo>
                  <a:lnTo>
                    <a:pt x="4276" y="5008"/>
                  </a:lnTo>
                  <a:lnTo>
                    <a:pt x="4264" y="5017"/>
                  </a:lnTo>
                  <a:lnTo>
                    <a:pt x="4252" y="5024"/>
                  </a:lnTo>
                  <a:lnTo>
                    <a:pt x="4238" y="5029"/>
                  </a:lnTo>
                  <a:lnTo>
                    <a:pt x="4224" y="5032"/>
                  </a:lnTo>
                  <a:lnTo>
                    <a:pt x="4224" y="5032"/>
                  </a:lnTo>
                  <a:lnTo>
                    <a:pt x="4216" y="5033"/>
                  </a:lnTo>
                  <a:lnTo>
                    <a:pt x="4208" y="5033"/>
                  </a:lnTo>
                  <a:lnTo>
                    <a:pt x="4198" y="5032"/>
                  </a:lnTo>
                  <a:lnTo>
                    <a:pt x="4188" y="5030"/>
                  </a:lnTo>
                  <a:lnTo>
                    <a:pt x="4168" y="5025"/>
                  </a:lnTo>
                  <a:lnTo>
                    <a:pt x="4145" y="5017"/>
                  </a:lnTo>
                  <a:lnTo>
                    <a:pt x="4123" y="5006"/>
                  </a:lnTo>
                  <a:lnTo>
                    <a:pt x="4099" y="4995"/>
                  </a:lnTo>
                  <a:lnTo>
                    <a:pt x="4051" y="4973"/>
                  </a:lnTo>
                  <a:lnTo>
                    <a:pt x="4028" y="4961"/>
                  </a:lnTo>
                  <a:lnTo>
                    <a:pt x="4005" y="4952"/>
                  </a:lnTo>
                  <a:lnTo>
                    <a:pt x="3984" y="4945"/>
                  </a:lnTo>
                  <a:lnTo>
                    <a:pt x="3964" y="4940"/>
                  </a:lnTo>
                  <a:lnTo>
                    <a:pt x="3955" y="4939"/>
                  </a:lnTo>
                  <a:lnTo>
                    <a:pt x="3947" y="4938"/>
                  </a:lnTo>
                  <a:lnTo>
                    <a:pt x="3939" y="4939"/>
                  </a:lnTo>
                  <a:lnTo>
                    <a:pt x="3932" y="4940"/>
                  </a:lnTo>
                  <a:lnTo>
                    <a:pt x="3924" y="4943"/>
                  </a:lnTo>
                  <a:lnTo>
                    <a:pt x="3919" y="4947"/>
                  </a:lnTo>
                  <a:lnTo>
                    <a:pt x="3914" y="4952"/>
                  </a:lnTo>
                  <a:lnTo>
                    <a:pt x="3909" y="4958"/>
                  </a:lnTo>
                  <a:lnTo>
                    <a:pt x="3909" y="4958"/>
                  </a:lnTo>
                  <a:lnTo>
                    <a:pt x="3905" y="4965"/>
                  </a:lnTo>
                  <a:lnTo>
                    <a:pt x="3900" y="4973"/>
                  </a:lnTo>
                  <a:lnTo>
                    <a:pt x="3893" y="4979"/>
                  </a:lnTo>
                  <a:lnTo>
                    <a:pt x="3886" y="4985"/>
                  </a:lnTo>
                  <a:lnTo>
                    <a:pt x="3869" y="4996"/>
                  </a:lnTo>
                  <a:lnTo>
                    <a:pt x="3851" y="5006"/>
                  </a:lnTo>
                  <a:lnTo>
                    <a:pt x="3810" y="5028"/>
                  </a:lnTo>
                  <a:lnTo>
                    <a:pt x="3789" y="5039"/>
                  </a:lnTo>
                  <a:lnTo>
                    <a:pt x="3770" y="5052"/>
                  </a:lnTo>
                  <a:lnTo>
                    <a:pt x="3761" y="5058"/>
                  </a:lnTo>
                  <a:lnTo>
                    <a:pt x="3752" y="5067"/>
                  </a:lnTo>
                  <a:lnTo>
                    <a:pt x="3743" y="5074"/>
                  </a:lnTo>
                  <a:lnTo>
                    <a:pt x="3735" y="5083"/>
                  </a:lnTo>
                  <a:lnTo>
                    <a:pt x="3728" y="5092"/>
                  </a:lnTo>
                  <a:lnTo>
                    <a:pt x="3722" y="5102"/>
                  </a:lnTo>
                  <a:lnTo>
                    <a:pt x="3717" y="5113"/>
                  </a:lnTo>
                  <a:lnTo>
                    <a:pt x="3713" y="5125"/>
                  </a:lnTo>
                  <a:lnTo>
                    <a:pt x="3710" y="5137"/>
                  </a:lnTo>
                  <a:lnTo>
                    <a:pt x="3708" y="5151"/>
                  </a:lnTo>
                  <a:lnTo>
                    <a:pt x="3707" y="5165"/>
                  </a:lnTo>
                  <a:lnTo>
                    <a:pt x="3707" y="5181"/>
                  </a:lnTo>
                  <a:lnTo>
                    <a:pt x="3709" y="5198"/>
                  </a:lnTo>
                  <a:lnTo>
                    <a:pt x="3713" y="5215"/>
                  </a:lnTo>
                  <a:lnTo>
                    <a:pt x="3718" y="5234"/>
                  </a:lnTo>
                  <a:lnTo>
                    <a:pt x="3724" y="5255"/>
                  </a:lnTo>
                  <a:lnTo>
                    <a:pt x="3724" y="5255"/>
                  </a:lnTo>
                  <a:lnTo>
                    <a:pt x="3741" y="5234"/>
                  </a:lnTo>
                  <a:lnTo>
                    <a:pt x="3759" y="5213"/>
                  </a:lnTo>
                  <a:lnTo>
                    <a:pt x="3776" y="5194"/>
                  </a:lnTo>
                  <a:lnTo>
                    <a:pt x="3794" y="5178"/>
                  </a:lnTo>
                  <a:lnTo>
                    <a:pt x="3802" y="5171"/>
                  </a:lnTo>
                  <a:lnTo>
                    <a:pt x="3811" y="5165"/>
                  </a:lnTo>
                  <a:lnTo>
                    <a:pt x="3819" y="5159"/>
                  </a:lnTo>
                  <a:lnTo>
                    <a:pt x="3827" y="5155"/>
                  </a:lnTo>
                  <a:lnTo>
                    <a:pt x="3835" y="5153"/>
                  </a:lnTo>
                  <a:lnTo>
                    <a:pt x="3843" y="5151"/>
                  </a:lnTo>
                  <a:lnTo>
                    <a:pt x="3850" y="5151"/>
                  </a:lnTo>
                  <a:lnTo>
                    <a:pt x="3857" y="5153"/>
                  </a:lnTo>
                  <a:lnTo>
                    <a:pt x="3857" y="5153"/>
                  </a:lnTo>
                  <a:lnTo>
                    <a:pt x="3861" y="5155"/>
                  </a:lnTo>
                  <a:lnTo>
                    <a:pt x="3864" y="5157"/>
                  </a:lnTo>
                  <a:lnTo>
                    <a:pt x="3870" y="5163"/>
                  </a:lnTo>
                  <a:lnTo>
                    <a:pt x="3875" y="5171"/>
                  </a:lnTo>
                  <a:lnTo>
                    <a:pt x="3879" y="5179"/>
                  </a:lnTo>
                  <a:lnTo>
                    <a:pt x="3888" y="5200"/>
                  </a:lnTo>
                  <a:lnTo>
                    <a:pt x="3894" y="5210"/>
                  </a:lnTo>
                  <a:lnTo>
                    <a:pt x="3901" y="5220"/>
                  </a:lnTo>
                  <a:lnTo>
                    <a:pt x="3901" y="5220"/>
                  </a:lnTo>
                  <a:lnTo>
                    <a:pt x="3904" y="5223"/>
                  </a:lnTo>
                  <a:lnTo>
                    <a:pt x="3908" y="5225"/>
                  </a:lnTo>
                  <a:lnTo>
                    <a:pt x="3913" y="5227"/>
                  </a:lnTo>
                  <a:lnTo>
                    <a:pt x="3919" y="5228"/>
                  </a:lnTo>
                  <a:lnTo>
                    <a:pt x="3934" y="5230"/>
                  </a:lnTo>
                  <a:lnTo>
                    <a:pt x="3950" y="5230"/>
                  </a:lnTo>
                  <a:lnTo>
                    <a:pt x="3968" y="5229"/>
                  </a:lnTo>
                  <a:lnTo>
                    <a:pt x="3989" y="5227"/>
                  </a:lnTo>
                  <a:lnTo>
                    <a:pt x="4032" y="5223"/>
                  </a:lnTo>
                  <a:lnTo>
                    <a:pt x="4074" y="5219"/>
                  </a:lnTo>
                  <a:lnTo>
                    <a:pt x="4093" y="5217"/>
                  </a:lnTo>
                  <a:lnTo>
                    <a:pt x="4110" y="5217"/>
                  </a:lnTo>
                  <a:lnTo>
                    <a:pt x="4126" y="5217"/>
                  </a:lnTo>
                  <a:lnTo>
                    <a:pt x="4137" y="5219"/>
                  </a:lnTo>
                  <a:lnTo>
                    <a:pt x="4142" y="5221"/>
                  </a:lnTo>
                  <a:lnTo>
                    <a:pt x="4146" y="5223"/>
                  </a:lnTo>
                  <a:lnTo>
                    <a:pt x="4148" y="5225"/>
                  </a:lnTo>
                  <a:lnTo>
                    <a:pt x="4150" y="5228"/>
                  </a:lnTo>
                  <a:lnTo>
                    <a:pt x="4150" y="5228"/>
                  </a:lnTo>
                  <a:lnTo>
                    <a:pt x="4151" y="5231"/>
                  </a:lnTo>
                  <a:lnTo>
                    <a:pt x="4150" y="5234"/>
                  </a:lnTo>
                  <a:lnTo>
                    <a:pt x="4149" y="5236"/>
                  </a:lnTo>
                  <a:lnTo>
                    <a:pt x="4148" y="5238"/>
                  </a:lnTo>
                  <a:lnTo>
                    <a:pt x="4143" y="5242"/>
                  </a:lnTo>
                  <a:lnTo>
                    <a:pt x="4136" y="5243"/>
                  </a:lnTo>
                  <a:lnTo>
                    <a:pt x="4118" y="5246"/>
                  </a:lnTo>
                  <a:lnTo>
                    <a:pt x="4100" y="5248"/>
                  </a:lnTo>
                  <a:lnTo>
                    <a:pt x="4100" y="5248"/>
                  </a:lnTo>
                  <a:lnTo>
                    <a:pt x="4021" y="5262"/>
                  </a:lnTo>
                  <a:lnTo>
                    <a:pt x="3981" y="5269"/>
                  </a:lnTo>
                  <a:lnTo>
                    <a:pt x="3943" y="5277"/>
                  </a:lnTo>
                  <a:lnTo>
                    <a:pt x="3925" y="5282"/>
                  </a:lnTo>
                  <a:lnTo>
                    <a:pt x="3909" y="5288"/>
                  </a:lnTo>
                  <a:lnTo>
                    <a:pt x="3894" y="5294"/>
                  </a:lnTo>
                  <a:lnTo>
                    <a:pt x="3881" y="5300"/>
                  </a:lnTo>
                  <a:lnTo>
                    <a:pt x="3869" y="5306"/>
                  </a:lnTo>
                  <a:lnTo>
                    <a:pt x="3860" y="5314"/>
                  </a:lnTo>
                  <a:lnTo>
                    <a:pt x="3853" y="5322"/>
                  </a:lnTo>
                  <a:lnTo>
                    <a:pt x="3850" y="5326"/>
                  </a:lnTo>
                  <a:lnTo>
                    <a:pt x="3848" y="5331"/>
                  </a:lnTo>
                  <a:lnTo>
                    <a:pt x="3848" y="5331"/>
                  </a:lnTo>
                  <a:lnTo>
                    <a:pt x="3846" y="5338"/>
                  </a:lnTo>
                  <a:lnTo>
                    <a:pt x="3846" y="5342"/>
                  </a:lnTo>
                  <a:lnTo>
                    <a:pt x="3847" y="5352"/>
                  </a:lnTo>
                  <a:lnTo>
                    <a:pt x="3847" y="5357"/>
                  </a:lnTo>
                  <a:lnTo>
                    <a:pt x="3846" y="5363"/>
                  </a:lnTo>
                  <a:lnTo>
                    <a:pt x="3845" y="5371"/>
                  </a:lnTo>
                  <a:lnTo>
                    <a:pt x="3842" y="5382"/>
                  </a:lnTo>
                  <a:lnTo>
                    <a:pt x="3842" y="5382"/>
                  </a:lnTo>
                  <a:lnTo>
                    <a:pt x="3837" y="5393"/>
                  </a:lnTo>
                  <a:lnTo>
                    <a:pt x="3831" y="5402"/>
                  </a:lnTo>
                  <a:lnTo>
                    <a:pt x="3823" y="5410"/>
                  </a:lnTo>
                  <a:lnTo>
                    <a:pt x="3815" y="5418"/>
                  </a:lnTo>
                  <a:lnTo>
                    <a:pt x="3796" y="5434"/>
                  </a:lnTo>
                  <a:lnTo>
                    <a:pt x="3786" y="5442"/>
                  </a:lnTo>
                  <a:lnTo>
                    <a:pt x="3776" y="5451"/>
                  </a:lnTo>
                  <a:lnTo>
                    <a:pt x="3767" y="5460"/>
                  </a:lnTo>
                  <a:lnTo>
                    <a:pt x="3758" y="5472"/>
                  </a:lnTo>
                  <a:lnTo>
                    <a:pt x="3750" y="5485"/>
                  </a:lnTo>
                  <a:lnTo>
                    <a:pt x="3742" y="5499"/>
                  </a:lnTo>
                  <a:lnTo>
                    <a:pt x="3736" y="5517"/>
                  </a:lnTo>
                  <a:lnTo>
                    <a:pt x="3732" y="5536"/>
                  </a:lnTo>
                  <a:lnTo>
                    <a:pt x="3730" y="5558"/>
                  </a:lnTo>
                  <a:lnTo>
                    <a:pt x="3730" y="5584"/>
                  </a:lnTo>
                  <a:lnTo>
                    <a:pt x="3730" y="5584"/>
                  </a:lnTo>
                  <a:lnTo>
                    <a:pt x="3732" y="5597"/>
                  </a:lnTo>
                  <a:lnTo>
                    <a:pt x="3735" y="5610"/>
                  </a:lnTo>
                  <a:lnTo>
                    <a:pt x="3739" y="5622"/>
                  </a:lnTo>
                  <a:lnTo>
                    <a:pt x="3744" y="5634"/>
                  </a:lnTo>
                  <a:lnTo>
                    <a:pt x="3751" y="5644"/>
                  </a:lnTo>
                  <a:lnTo>
                    <a:pt x="3757" y="5656"/>
                  </a:lnTo>
                  <a:lnTo>
                    <a:pt x="3763" y="5665"/>
                  </a:lnTo>
                  <a:lnTo>
                    <a:pt x="3770" y="5674"/>
                  </a:lnTo>
                  <a:lnTo>
                    <a:pt x="3784" y="5689"/>
                  </a:lnTo>
                  <a:lnTo>
                    <a:pt x="3797" y="5701"/>
                  </a:lnTo>
                  <a:lnTo>
                    <a:pt x="3807" y="5708"/>
                  </a:lnTo>
                  <a:lnTo>
                    <a:pt x="3810" y="5710"/>
                  </a:lnTo>
                  <a:lnTo>
                    <a:pt x="3813" y="5711"/>
                  </a:lnTo>
                  <a:lnTo>
                    <a:pt x="3813" y="5711"/>
                  </a:lnTo>
                  <a:lnTo>
                    <a:pt x="3814" y="5710"/>
                  </a:lnTo>
                  <a:lnTo>
                    <a:pt x="3815" y="5709"/>
                  </a:lnTo>
                  <a:lnTo>
                    <a:pt x="3816" y="5704"/>
                  </a:lnTo>
                  <a:lnTo>
                    <a:pt x="3818" y="5696"/>
                  </a:lnTo>
                  <a:lnTo>
                    <a:pt x="3818" y="5686"/>
                  </a:lnTo>
                  <a:lnTo>
                    <a:pt x="3820" y="5662"/>
                  </a:lnTo>
                  <a:lnTo>
                    <a:pt x="3823" y="5633"/>
                  </a:lnTo>
                  <a:lnTo>
                    <a:pt x="3825" y="5619"/>
                  </a:lnTo>
                  <a:lnTo>
                    <a:pt x="3828" y="5603"/>
                  </a:lnTo>
                  <a:lnTo>
                    <a:pt x="3831" y="5590"/>
                  </a:lnTo>
                  <a:lnTo>
                    <a:pt x="3836" y="5577"/>
                  </a:lnTo>
                  <a:lnTo>
                    <a:pt x="3843" y="5566"/>
                  </a:lnTo>
                  <a:lnTo>
                    <a:pt x="3847" y="5562"/>
                  </a:lnTo>
                  <a:lnTo>
                    <a:pt x="3851" y="5556"/>
                  </a:lnTo>
                  <a:lnTo>
                    <a:pt x="3855" y="5553"/>
                  </a:lnTo>
                  <a:lnTo>
                    <a:pt x="3860" y="5550"/>
                  </a:lnTo>
                  <a:lnTo>
                    <a:pt x="3865" y="5547"/>
                  </a:lnTo>
                  <a:lnTo>
                    <a:pt x="3871" y="5546"/>
                  </a:lnTo>
                  <a:lnTo>
                    <a:pt x="3871" y="5546"/>
                  </a:lnTo>
                  <a:lnTo>
                    <a:pt x="3877" y="5545"/>
                  </a:lnTo>
                  <a:lnTo>
                    <a:pt x="3882" y="5546"/>
                  </a:lnTo>
                  <a:lnTo>
                    <a:pt x="3888" y="5548"/>
                  </a:lnTo>
                  <a:lnTo>
                    <a:pt x="3892" y="5552"/>
                  </a:lnTo>
                  <a:lnTo>
                    <a:pt x="3902" y="5561"/>
                  </a:lnTo>
                  <a:lnTo>
                    <a:pt x="3911" y="5571"/>
                  </a:lnTo>
                  <a:lnTo>
                    <a:pt x="3921" y="5581"/>
                  </a:lnTo>
                  <a:lnTo>
                    <a:pt x="3926" y="5586"/>
                  </a:lnTo>
                  <a:lnTo>
                    <a:pt x="3933" y="5590"/>
                  </a:lnTo>
                  <a:lnTo>
                    <a:pt x="3940" y="5594"/>
                  </a:lnTo>
                  <a:lnTo>
                    <a:pt x="3946" y="5597"/>
                  </a:lnTo>
                  <a:lnTo>
                    <a:pt x="3954" y="5598"/>
                  </a:lnTo>
                  <a:lnTo>
                    <a:pt x="3962" y="5599"/>
                  </a:lnTo>
                  <a:lnTo>
                    <a:pt x="3962" y="5599"/>
                  </a:lnTo>
                  <a:lnTo>
                    <a:pt x="3970" y="5598"/>
                  </a:lnTo>
                  <a:lnTo>
                    <a:pt x="3979" y="5595"/>
                  </a:lnTo>
                  <a:lnTo>
                    <a:pt x="3987" y="5592"/>
                  </a:lnTo>
                  <a:lnTo>
                    <a:pt x="3996" y="5588"/>
                  </a:lnTo>
                  <a:lnTo>
                    <a:pt x="4005" y="5582"/>
                  </a:lnTo>
                  <a:lnTo>
                    <a:pt x="4014" y="5576"/>
                  </a:lnTo>
                  <a:lnTo>
                    <a:pt x="4035" y="5559"/>
                  </a:lnTo>
                  <a:lnTo>
                    <a:pt x="4055" y="5542"/>
                  </a:lnTo>
                  <a:lnTo>
                    <a:pt x="4077" y="5522"/>
                  </a:lnTo>
                  <a:lnTo>
                    <a:pt x="4122" y="5479"/>
                  </a:lnTo>
                  <a:lnTo>
                    <a:pt x="4144" y="5457"/>
                  </a:lnTo>
                  <a:lnTo>
                    <a:pt x="4166" y="5437"/>
                  </a:lnTo>
                  <a:lnTo>
                    <a:pt x="4187" y="5417"/>
                  </a:lnTo>
                  <a:lnTo>
                    <a:pt x="4208" y="5402"/>
                  </a:lnTo>
                  <a:lnTo>
                    <a:pt x="4227" y="5389"/>
                  </a:lnTo>
                  <a:lnTo>
                    <a:pt x="4236" y="5384"/>
                  </a:lnTo>
                  <a:lnTo>
                    <a:pt x="4245" y="5380"/>
                  </a:lnTo>
                  <a:lnTo>
                    <a:pt x="4254" y="5376"/>
                  </a:lnTo>
                  <a:lnTo>
                    <a:pt x="4262" y="5374"/>
                  </a:lnTo>
                  <a:lnTo>
                    <a:pt x="4270" y="5374"/>
                  </a:lnTo>
                  <a:lnTo>
                    <a:pt x="4277" y="5375"/>
                  </a:lnTo>
                  <a:lnTo>
                    <a:pt x="4277" y="5375"/>
                  </a:lnTo>
                  <a:lnTo>
                    <a:pt x="4278" y="5376"/>
                  </a:lnTo>
                  <a:lnTo>
                    <a:pt x="4279" y="5379"/>
                  </a:lnTo>
                  <a:lnTo>
                    <a:pt x="4278" y="5382"/>
                  </a:lnTo>
                  <a:lnTo>
                    <a:pt x="4277" y="5384"/>
                  </a:lnTo>
                  <a:lnTo>
                    <a:pt x="4272" y="5391"/>
                  </a:lnTo>
                  <a:lnTo>
                    <a:pt x="4264" y="5399"/>
                  </a:lnTo>
                  <a:lnTo>
                    <a:pt x="4241" y="5420"/>
                  </a:lnTo>
                  <a:lnTo>
                    <a:pt x="4212" y="5447"/>
                  </a:lnTo>
                  <a:lnTo>
                    <a:pt x="4181" y="5477"/>
                  </a:lnTo>
                  <a:lnTo>
                    <a:pt x="4167" y="5492"/>
                  </a:lnTo>
                  <a:lnTo>
                    <a:pt x="4152" y="5508"/>
                  </a:lnTo>
                  <a:lnTo>
                    <a:pt x="4140" y="5525"/>
                  </a:lnTo>
                  <a:lnTo>
                    <a:pt x="4129" y="5542"/>
                  </a:lnTo>
                  <a:lnTo>
                    <a:pt x="4121" y="5558"/>
                  </a:lnTo>
                  <a:lnTo>
                    <a:pt x="4118" y="5567"/>
                  </a:lnTo>
                  <a:lnTo>
                    <a:pt x="4116" y="5576"/>
                  </a:lnTo>
                  <a:lnTo>
                    <a:pt x="4116" y="5576"/>
                  </a:lnTo>
                  <a:lnTo>
                    <a:pt x="4114" y="5588"/>
                  </a:lnTo>
                  <a:lnTo>
                    <a:pt x="4114" y="5599"/>
                  </a:lnTo>
                  <a:lnTo>
                    <a:pt x="4115" y="5611"/>
                  </a:lnTo>
                  <a:lnTo>
                    <a:pt x="4119" y="5620"/>
                  </a:lnTo>
                  <a:lnTo>
                    <a:pt x="4123" y="5628"/>
                  </a:lnTo>
                  <a:lnTo>
                    <a:pt x="4129" y="5636"/>
                  </a:lnTo>
                  <a:lnTo>
                    <a:pt x="4135" y="5643"/>
                  </a:lnTo>
                  <a:lnTo>
                    <a:pt x="4142" y="5649"/>
                  </a:lnTo>
                  <a:lnTo>
                    <a:pt x="4157" y="5663"/>
                  </a:lnTo>
                  <a:lnTo>
                    <a:pt x="4163" y="5669"/>
                  </a:lnTo>
                  <a:lnTo>
                    <a:pt x="4169" y="5676"/>
                  </a:lnTo>
                  <a:lnTo>
                    <a:pt x="4175" y="5683"/>
                  </a:lnTo>
                  <a:lnTo>
                    <a:pt x="4179" y="5690"/>
                  </a:lnTo>
                  <a:lnTo>
                    <a:pt x="4182" y="5699"/>
                  </a:lnTo>
                  <a:lnTo>
                    <a:pt x="4183" y="5708"/>
                  </a:lnTo>
                  <a:lnTo>
                    <a:pt x="4183" y="5708"/>
                  </a:lnTo>
                  <a:lnTo>
                    <a:pt x="4184" y="5718"/>
                  </a:lnTo>
                  <a:lnTo>
                    <a:pt x="4186" y="5729"/>
                  </a:lnTo>
                  <a:lnTo>
                    <a:pt x="4189" y="5738"/>
                  </a:lnTo>
                  <a:lnTo>
                    <a:pt x="4193" y="5749"/>
                  </a:lnTo>
                  <a:lnTo>
                    <a:pt x="4198" y="5758"/>
                  </a:lnTo>
                  <a:lnTo>
                    <a:pt x="4205" y="5767"/>
                  </a:lnTo>
                  <a:lnTo>
                    <a:pt x="4212" y="5775"/>
                  </a:lnTo>
                  <a:lnTo>
                    <a:pt x="4220" y="5783"/>
                  </a:lnTo>
                  <a:lnTo>
                    <a:pt x="4228" y="5792"/>
                  </a:lnTo>
                  <a:lnTo>
                    <a:pt x="4237" y="5799"/>
                  </a:lnTo>
                  <a:lnTo>
                    <a:pt x="4257" y="5812"/>
                  </a:lnTo>
                  <a:lnTo>
                    <a:pt x="4278" y="5824"/>
                  </a:lnTo>
                  <a:lnTo>
                    <a:pt x="4300" y="5835"/>
                  </a:lnTo>
                  <a:lnTo>
                    <a:pt x="4322" y="5844"/>
                  </a:lnTo>
                  <a:lnTo>
                    <a:pt x="4344" y="5852"/>
                  </a:lnTo>
                  <a:lnTo>
                    <a:pt x="4364" y="5857"/>
                  </a:lnTo>
                  <a:lnTo>
                    <a:pt x="4382" y="5862"/>
                  </a:lnTo>
                  <a:lnTo>
                    <a:pt x="4399" y="5864"/>
                  </a:lnTo>
                  <a:lnTo>
                    <a:pt x="4412" y="5865"/>
                  </a:lnTo>
                  <a:lnTo>
                    <a:pt x="4421" y="5865"/>
                  </a:lnTo>
                  <a:lnTo>
                    <a:pt x="4424" y="5864"/>
                  </a:lnTo>
                  <a:lnTo>
                    <a:pt x="4426" y="5863"/>
                  </a:lnTo>
                  <a:lnTo>
                    <a:pt x="4426" y="5863"/>
                  </a:lnTo>
                  <a:lnTo>
                    <a:pt x="4427" y="5861"/>
                  </a:lnTo>
                  <a:lnTo>
                    <a:pt x="4427" y="5859"/>
                  </a:lnTo>
                  <a:lnTo>
                    <a:pt x="4425" y="5853"/>
                  </a:lnTo>
                  <a:lnTo>
                    <a:pt x="4420" y="5846"/>
                  </a:lnTo>
                  <a:lnTo>
                    <a:pt x="4412" y="5836"/>
                  </a:lnTo>
                  <a:lnTo>
                    <a:pt x="4393" y="5813"/>
                  </a:lnTo>
                  <a:lnTo>
                    <a:pt x="4369" y="5786"/>
                  </a:lnTo>
                  <a:lnTo>
                    <a:pt x="4358" y="5773"/>
                  </a:lnTo>
                  <a:lnTo>
                    <a:pt x="4348" y="5759"/>
                  </a:lnTo>
                  <a:lnTo>
                    <a:pt x="4339" y="5745"/>
                  </a:lnTo>
                  <a:lnTo>
                    <a:pt x="4330" y="5731"/>
                  </a:lnTo>
                  <a:lnTo>
                    <a:pt x="4325" y="5718"/>
                  </a:lnTo>
                  <a:lnTo>
                    <a:pt x="4324" y="5712"/>
                  </a:lnTo>
                  <a:lnTo>
                    <a:pt x="4323" y="5706"/>
                  </a:lnTo>
                  <a:lnTo>
                    <a:pt x="4323" y="5700"/>
                  </a:lnTo>
                  <a:lnTo>
                    <a:pt x="4324" y="5694"/>
                  </a:lnTo>
                  <a:lnTo>
                    <a:pt x="4326" y="5689"/>
                  </a:lnTo>
                  <a:lnTo>
                    <a:pt x="4329" y="5684"/>
                  </a:lnTo>
                  <a:lnTo>
                    <a:pt x="4329" y="5684"/>
                  </a:lnTo>
                  <a:lnTo>
                    <a:pt x="4333" y="5680"/>
                  </a:lnTo>
                  <a:lnTo>
                    <a:pt x="4337" y="5677"/>
                  </a:lnTo>
                  <a:lnTo>
                    <a:pt x="4343" y="5676"/>
                  </a:lnTo>
                  <a:lnTo>
                    <a:pt x="4347" y="5675"/>
                  </a:lnTo>
                  <a:lnTo>
                    <a:pt x="4352" y="5675"/>
                  </a:lnTo>
                  <a:lnTo>
                    <a:pt x="4358" y="5676"/>
                  </a:lnTo>
                  <a:lnTo>
                    <a:pt x="4370" y="5678"/>
                  </a:lnTo>
                  <a:lnTo>
                    <a:pt x="4384" y="5681"/>
                  </a:lnTo>
                  <a:lnTo>
                    <a:pt x="4392" y="5682"/>
                  </a:lnTo>
                  <a:lnTo>
                    <a:pt x="4399" y="5682"/>
                  </a:lnTo>
                  <a:lnTo>
                    <a:pt x="4408" y="5682"/>
                  </a:lnTo>
                  <a:lnTo>
                    <a:pt x="4416" y="5681"/>
                  </a:lnTo>
                  <a:lnTo>
                    <a:pt x="4425" y="5679"/>
                  </a:lnTo>
                  <a:lnTo>
                    <a:pt x="4436" y="5675"/>
                  </a:lnTo>
                  <a:lnTo>
                    <a:pt x="4436" y="5675"/>
                  </a:lnTo>
                  <a:lnTo>
                    <a:pt x="4437" y="5673"/>
                  </a:lnTo>
                  <a:lnTo>
                    <a:pt x="4438" y="5670"/>
                  </a:lnTo>
                  <a:lnTo>
                    <a:pt x="4438" y="5663"/>
                  </a:lnTo>
                  <a:lnTo>
                    <a:pt x="4436" y="5652"/>
                  </a:lnTo>
                  <a:lnTo>
                    <a:pt x="4434" y="5637"/>
                  </a:lnTo>
                  <a:lnTo>
                    <a:pt x="4431" y="5621"/>
                  </a:lnTo>
                  <a:lnTo>
                    <a:pt x="4428" y="5602"/>
                  </a:lnTo>
                  <a:lnTo>
                    <a:pt x="4426" y="5581"/>
                  </a:lnTo>
                  <a:lnTo>
                    <a:pt x="4426" y="5557"/>
                  </a:lnTo>
                  <a:lnTo>
                    <a:pt x="4428" y="5533"/>
                  </a:lnTo>
                  <a:lnTo>
                    <a:pt x="4431" y="5520"/>
                  </a:lnTo>
                  <a:lnTo>
                    <a:pt x="4434" y="5505"/>
                  </a:lnTo>
                  <a:lnTo>
                    <a:pt x="4437" y="5492"/>
                  </a:lnTo>
                  <a:lnTo>
                    <a:pt x="4441" y="5477"/>
                  </a:lnTo>
                  <a:lnTo>
                    <a:pt x="4446" y="5462"/>
                  </a:lnTo>
                  <a:lnTo>
                    <a:pt x="4453" y="5447"/>
                  </a:lnTo>
                  <a:lnTo>
                    <a:pt x="4460" y="5432"/>
                  </a:lnTo>
                  <a:lnTo>
                    <a:pt x="4469" y="5416"/>
                  </a:lnTo>
                  <a:lnTo>
                    <a:pt x="4479" y="5400"/>
                  </a:lnTo>
                  <a:lnTo>
                    <a:pt x="4490" y="5384"/>
                  </a:lnTo>
                  <a:lnTo>
                    <a:pt x="4503" y="5367"/>
                  </a:lnTo>
                  <a:lnTo>
                    <a:pt x="4516" y="5351"/>
                  </a:lnTo>
                  <a:lnTo>
                    <a:pt x="4533" y="5334"/>
                  </a:lnTo>
                  <a:lnTo>
                    <a:pt x="4550" y="5317"/>
                  </a:lnTo>
                  <a:lnTo>
                    <a:pt x="4550" y="5317"/>
                  </a:lnTo>
                  <a:lnTo>
                    <a:pt x="4557" y="5328"/>
                  </a:lnTo>
                  <a:lnTo>
                    <a:pt x="4566" y="5340"/>
                  </a:lnTo>
                  <a:lnTo>
                    <a:pt x="4578" y="5353"/>
                  </a:lnTo>
                  <a:lnTo>
                    <a:pt x="4586" y="5360"/>
                  </a:lnTo>
                  <a:lnTo>
                    <a:pt x="4594" y="5367"/>
                  </a:lnTo>
                  <a:lnTo>
                    <a:pt x="4603" y="5373"/>
                  </a:lnTo>
                  <a:lnTo>
                    <a:pt x="4614" y="5381"/>
                  </a:lnTo>
                  <a:lnTo>
                    <a:pt x="4624" y="5386"/>
                  </a:lnTo>
                  <a:lnTo>
                    <a:pt x="4636" y="5390"/>
                  </a:lnTo>
                  <a:lnTo>
                    <a:pt x="4648" y="5394"/>
                  </a:lnTo>
                  <a:lnTo>
                    <a:pt x="4662" y="5396"/>
                  </a:lnTo>
                  <a:lnTo>
                    <a:pt x="4662" y="5396"/>
                  </a:lnTo>
                  <a:lnTo>
                    <a:pt x="4668" y="5397"/>
                  </a:lnTo>
                  <a:lnTo>
                    <a:pt x="4673" y="5399"/>
                  </a:lnTo>
                  <a:lnTo>
                    <a:pt x="4677" y="5402"/>
                  </a:lnTo>
                  <a:lnTo>
                    <a:pt x="4681" y="5405"/>
                  </a:lnTo>
                  <a:lnTo>
                    <a:pt x="4685" y="5409"/>
                  </a:lnTo>
                  <a:lnTo>
                    <a:pt x="4688" y="5413"/>
                  </a:lnTo>
                  <a:lnTo>
                    <a:pt x="4692" y="5425"/>
                  </a:lnTo>
                  <a:lnTo>
                    <a:pt x="4696" y="5437"/>
                  </a:lnTo>
                  <a:lnTo>
                    <a:pt x="4698" y="5450"/>
                  </a:lnTo>
                  <a:lnTo>
                    <a:pt x="4698" y="5463"/>
                  </a:lnTo>
                  <a:lnTo>
                    <a:pt x="4698" y="5478"/>
                  </a:lnTo>
                  <a:lnTo>
                    <a:pt x="4696" y="5506"/>
                  </a:lnTo>
                  <a:lnTo>
                    <a:pt x="4694" y="5531"/>
                  </a:lnTo>
                  <a:lnTo>
                    <a:pt x="4692" y="5548"/>
                  </a:lnTo>
                  <a:lnTo>
                    <a:pt x="4692" y="5553"/>
                  </a:lnTo>
                  <a:lnTo>
                    <a:pt x="4693" y="5554"/>
                  </a:lnTo>
                  <a:lnTo>
                    <a:pt x="4694" y="5554"/>
                  </a:lnTo>
                  <a:lnTo>
                    <a:pt x="4694" y="5554"/>
                  </a:lnTo>
                  <a:lnTo>
                    <a:pt x="4697" y="5553"/>
                  </a:lnTo>
                  <a:lnTo>
                    <a:pt x="4702" y="5550"/>
                  </a:lnTo>
                  <a:lnTo>
                    <a:pt x="4708" y="5545"/>
                  </a:lnTo>
                  <a:lnTo>
                    <a:pt x="4714" y="5538"/>
                  </a:lnTo>
                  <a:lnTo>
                    <a:pt x="4721" y="5529"/>
                  </a:lnTo>
                  <a:lnTo>
                    <a:pt x="4729" y="5519"/>
                  </a:lnTo>
                  <a:lnTo>
                    <a:pt x="4736" y="5505"/>
                  </a:lnTo>
                  <a:lnTo>
                    <a:pt x="4743" y="5492"/>
                  </a:lnTo>
                  <a:lnTo>
                    <a:pt x="4751" y="5477"/>
                  </a:lnTo>
                  <a:lnTo>
                    <a:pt x="4758" y="5459"/>
                  </a:lnTo>
                  <a:lnTo>
                    <a:pt x="4763" y="5442"/>
                  </a:lnTo>
                  <a:lnTo>
                    <a:pt x="4768" y="5422"/>
                  </a:lnTo>
                  <a:lnTo>
                    <a:pt x="4771" y="5402"/>
                  </a:lnTo>
                  <a:lnTo>
                    <a:pt x="4773" y="5382"/>
                  </a:lnTo>
                  <a:lnTo>
                    <a:pt x="4772" y="5360"/>
                  </a:lnTo>
                  <a:lnTo>
                    <a:pt x="4770" y="5338"/>
                  </a:lnTo>
                  <a:lnTo>
                    <a:pt x="4770" y="5338"/>
                  </a:lnTo>
                  <a:lnTo>
                    <a:pt x="4778" y="5330"/>
                  </a:lnTo>
                  <a:lnTo>
                    <a:pt x="4798" y="5313"/>
                  </a:lnTo>
                  <a:lnTo>
                    <a:pt x="4809" y="5302"/>
                  </a:lnTo>
                  <a:lnTo>
                    <a:pt x="4819" y="5290"/>
                  </a:lnTo>
                  <a:lnTo>
                    <a:pt x="4827" y="5276"/>
                  </a:lnTo>
                  <a:lnTo>
                    <a:pt x="4830" y="5270"/>
                  </a:lnTo>
                  <a:lnTo>
                    <a:pt x="4832" y="5264"/>
                  </a:lnTo>
                  <a:lnTo>
                    <a:pt x="4832" y="5264"/>
                  </a:lnTo>
                  <a:lnTo>
                    <a:pt x="4834" y="5255"/>
                  </a:lnTo>
                  <a:lnTo>
                    <a:pt x="4835" y="5246"/>
                  </a:lnTo>
                  <a:lnTo>
                    <a:pt x="4836" y="5237"/>
                  </a:lnTo>
                  <a:lnTo>
                    <a:pt x="4835" y="5230"/>
                  </a:lnTo>
                  <a:lnTo>
                    <a:pt x="4834" y="5224"/>
                  </a:lnTo>
                  <a:lnTo>
                    <a:pt x="4832" y="5218"/>
                  </a:lnTo>
                  <a:lnTo>
                    <a:pt x="4830" y="5213"/>
                  </a:lnTo>
                  <a:lnTo>
                    <a:pt x="4827" y="5208"/>
                  </a:lnTo>
                  <a:lnTo>
                    <a:pt x="4819" y="5199"/>
                  </a:lnTo>
                  <a:lnTo>
                    <a:pt x="4810" y="5189"/>
                  </a:lnTo>
                  <a:lnTo>
                    <a:pt x="4800" y="5180"/>
                  </a:lnTo>
                  <a:lnTo>
                    <a:pt x="4789" y="5169"/>
                  </a:lnTo>
                  <a:lnTo>
                    <a:pt x="4778" y="5156"/>
                  </a:lnTo>
                  <a:lnTo>
                    <a:pt x="4772" y="5148"/>
                  </a:lnTo>
                  <a:lnTo>
                    <a:pt x="4767" y="5139"/>
                  </a:lnTo>
                  <a:lnTo>
                    <a:pt x="4762" y="5130"/>
                  </a:lnTo>
                  <a:lnTo>
                    <a:pt x="4757" y="5120"/>
                  </a:lnTo>
                  <a:lnTo>
                    <a:pt x="4753" y="5108"/>
                  </a:lnTo>
                  <a:lnTo>
                    <a:pt x="4749" y="5095"/>
                  </a:lnTo>
                  <a:lnTo>
                    <a:pt x="4744" y="5081"/>
                  </a:lnTo>
                  <a:lnTo>
                    <a:pt x="4741" y="5065"/>
                  </a:lnTo>
                  <a:lnTo>
                    <a:pt x="4738" y="5048"/>
                  </a:lnTo>
                  <a:lnTo>
                    <a:pt x="4736" y="5029"/>
                  </a:lnTo>
                  <a:lnTo>
                    <a:pt x="4735" y="5008"/>
                  </a:lnTo>
                  <a:lnTo>
                    <a:pt x="4734" y="4986"/>
                  </a:lnTo>
                  <a:lnTo>
                    <a:pt x="4734" y="4961"/>
                  </a:lnTo>
                  <a:lnTo>
                    <a:pt x="4735" y="4935"/>
                  </a:lnTo>
                  <a:lnTo>
                    <a:pt x="4735" y="4935"/>
                  </a:lnTo>
                  <a:lnTo>
                    <a:pt x="4735" y="4917"/>
                  </a:lnTo>
                  <a:lnTo>
                    <a:pt x="4734" y="4911"/>
                  </a:lnTo>
                  <a:lnTo>
                    <a:pt x="4733" y="4906"/>
                  </a:lnTo>
                  <a:lnTo>
                    <a:pt x="4731" y="4901"/>
                  </a:lnTo>
                  <a:lnTo>
                    <a:pt x="4729" y="4897"/>
                  </a:lnTo>
                  <a:lnTo>
                    <a:pt x="4727" y="4894"/>
                  </a:lnTo>
                  <a:lnTo>
                    <a:pt x="4724" y="4891"/>
                  </a:lnTo>
                  <a:lnTo>
                    <a:pt x="4716" y="4885"/>
                  </a:lnTo>
                  <a:lnTo>
                    <a:pt x="4706" y="4878"/>
                  </a:lnTo>
                  <a:lnTo>
                    <a:pt x="4693" y="4868"/>
                  </a:lnTo>
                  <a:lnTo>
                    <a:pt x="4679" y="4856"/>
                  </a:lnTo>
                  <a:lnTo>
                    <a:pt x="4679" y="4856"/>
                  </a:lnTo>
                  <a:lnTo>
                    <a:pt x="4671" y="4846"/>
                  </a:lnTo>
                  <a:lnTo>
                    <a:pt x="4664" y="4836"/>
                  </a:lnTo>
                  <a:lnTo>
                    <a:pt x="4659" y="4825"/>
                  </a:lnTo>
                  <a:lnTo>
                    <a:pt x="4655" y="4815"/>
                  </a:lnTo>
                  <a:lnTo>
                    <a:pt x="4654" y="4807"/>
                  </a:lnTo>
                  <a:lnTo>
                    <a:pt x="4654" y="4804"/>
                  </a:lnTo>
                  <a:lnTo>
                    <a:pt x="4654" y="4802"/>
                  </a:lnTo>
                  <a:lnTo>
                    <a:pt x="4657" y="4800"/>
                  </a:lnTo>
                  <a:lnTo>
                    <a:pt x="4659" y="4799"/>
                  </a:lnTo>
                  <a:lnTo>
                    <a:pt x="4661" y="4799"/>
                  </a:lnTo>
                  <a:lnTo>
                    <a:pt x="4665" y="4800"/>
                  </a:lnTo>
                  <a:lnTo>
                    <a:pt x="4665" y="4800"/>
                  </a:lnTo>
                  <a:lnTo>
                    <a:pt x="4679" y="4806"/>
                  </a:lnTo>
                  <a:lnTo>
                    <a:pt x="4693" y="4810"/>
                  </a:lnTo>
                  <a:lnTo>
                    <a:pt x="4708" y="4813"/>
                  </a:lnTo>
                  <a:lnTo>
                    <a:pt x="4723" y="4814"/>
                  </a:lnTo>
                  <a:lnTo>
                    <a:pt x="4737" y="4815"/>
                  </a:lnTo>
                  <a:lnTo>
                    <a:pt x="4752" y="4816"/>
                  </a:lnTo>
                  <a:lnTo>
                    <a:pt x="4765" y="4815"/>
                  </a:lnTo>
                  <a:lnTo>
                    <a:pt x="4778" y="4814"/>
                  </a:lnTo>
                  <a:lnTo>
                    <a:pt x="4802" y="4811"/>
                  </a:lnTo>
                  <a:lnTo>
                    <a:pt x="4819" y="4807"/>
                  </a:lnTo>
                  <a:lnTo>
                    <a:pt x="4835" y="4803"/>
                  </a:lnTo>
                  <a:lnTo>
                    <a:pt x="4835" y="4803"/>
                  </a:lnTo>
                  <a:lnTo>
                    <a:pt x="4844" y="4707"/>
                  </a:lnTo>
                  <a:lnTo>
                    <a:pt x="4849" y="4632"/>
                  </a:lnTo>
                  <a:lnTo>
                    <a:pt x="4851" y="4577"/>
                  </a:lnTo>
                  <a:lnTo>
                    <a:pt x="4851" y="4539"/>
                  </a:lnTo>
                  <a:lnTo>
                    <a:pt x="4849" y="4514"/>
                  </a:lnTo>
                  <a:lnTo>
                    <a:pt x="4847" y="4499"/>
                  </a:lnTo>
                  <a:lnTo>
                    <a:pt x="4845" y="4493"/>
                  </a:lnTo>
                  <a:lnTo>
                    <a:pt x="4844" y="4491"/>
                  </a:lnTo>
                  <a:lnTo>
                    <a:pt x="4844" y="4491"/>
                  </a:lnTo>
                  <a:lnTo>
                    <a:pt x="4825" y="4492"/>
                  </a:lnTo>
                  <a:lnTo>
                    <a:pt x="4808" y="4491"/>
                  </a:lnTo>
                  <a:lnTo>
                    <a:pt x="4791" y="4490"/>
                  </a:lnTo>
                  <a:lnTo>
                    <a:pt x="4776" y="4489"/>
                  </a:lnTo>
                  <a:lnTo>
                    <a:pt x="4763" y="4487"/>
                  </a:lnTo>
                  <a:lnTo>
                    <a:pt x="4750" y="4484"/>
                  </a:lnTo>
                  <a:lnTo>
                    <a:pt x="4737" y="4481"/>
                  </a:lnTo>
                  <a:lnTo>
                    <a:pt x="4726" y="4477"/>
                  </a:lnTo>
                  <a:lnTo>
                    <a:pt x="4716" y="4473"/>
                  </a:lnTo>
                  <a:lnTo>
                    <a:pt x="4707" y="4469"/>
                  </a:lnTo>
                  <a:lnTo>
                    <a:pt x="4698" y="4463"/>
                  </a:lnTo>
                  <a:lnTo>
                    <a:pt x="4690" y="4458"/>
                  </a:lnTo>
                  <a:lnTo>
                    <a:pt x="4683" y="4452"/>
                  </a:lnTo>
                  <a:lnTo>
                    <a:pt x="4676" y="4447"/>
                  </a:lnTo>
                  <a:lnTo>
                    <a:pt x="4665" y="4434"/>
                  </a:lnTo>
                  <a:lnTo>
                    <a:pt x="4665" y="4434"/>
                  </a:lnTo>
                  <a:lnTo>
                    <a:pt x="4677" y="4437"/>
                  </a:lnTo>
                  <a:lnTo>
                    <a:pt x="4690" y="4439"/>
                  </a:lnTo>
                  <a:lnTo>
                    <a:pt x="4717" y="4441"/>
                  </a:lnTo>
                  <a:lnTo>
                    <a:pt x="4742" y="4441"/>
                  </a:lnTo>
                  <a:lnTo>
                    <a:pt x="4768" y="4439"/>
                  </a:lnTo>
                  <a:lnTo>
                    <a:pt x="4790" y="4435"/>
                  </a:lnTo>
                  <a:lnTo>
                    <a:pt x="4812" y="4429"/>
                  </a:lnTo>
                  <a:lnTo>
                    <a:pt x="4821" y="4426"/>
                  </a:lnTo>
                  <a:lnTo>
                    <a:pt x="4829" y="4422"/>
                  </a:lnTo>
                  <a:lnTo>
                    <a:pt x="4838" y="4416"/>
                  </a:lnTo>
                  <a:lnTo>
                    <a:pt x="4844" y="4412"/>
                  </a:lnTo>
                  <a:lnTo>
                    <a:pt x="4844" y="4412"/>
                  </a:lnTo>
                  <a:lnTo>
                    <a:pt x="4843" y="4364"/>
                  </a:lnTo>
                  <a:lnTo>
                    <a:pt x="4841" y="4316"/>
                  </a:lnTo>
                  <a:lnTo>
                    <a:pt x="4838" y="4261"/>
                  </a:lnTo>
                  <a:lnTo>
                    <a:pt x="4833" y="4206"/>
                  </a:lnTo>
                  <a:lnTo>
                    <a:pt x="4831" y="4181"/>
                  </a:lnTo>
                  <a:lnTo>
                    <a:pt x="4828" y="4159"/>
                  </a:lnTo>
                  <a:lnTo>
                    <a:pt x="4825" y="4140"/>
                  </a:lnTo>
                  <a:lnTo>
                    <a:pt x="4822" y="4126"/>
                  </a:lnTo>
                  <a:lnTo>
                    <a:pt x="4820" y="4121"/>
                  </a:lnTo>
                  <a:lnTo>
                    <a:pt x="4818" y="4118"/>
                  </a:lnTo>
                  <a:lnTo>
                    <a:pt x="4816" y="4116"/>
                  </a:lnTo>
                  <a:lnTo>
                    <a:pt x="4814" y="4116"/>
                  </a:lnTo>
                  <a:lnTo>
                    <a:pt x="4814" y="4116"/>
                  </a:lnTo>
                  <a:lnTo>
                    <a:pt x="4786" y="4123"/>
                  </a:lnTo>
                  <a:lnTo>
                    <a:pt x="4760" y="4128"/>
                  </a:lnTo>
                  <a:lnTo>
                    <a:pt x="4746" y="4129"/>
                  </a:lnTo>
                  <a:lnTo>
                    <a:pt x="4734" y="4130"/>
                  </a:lnTo>
                  <a:lnTo>
                    <a:pt x="4722" y="4130"/>
                  </a:lnTo>
                  <a:lnTo>
                    <a:pt x="4711" y="4129"/>
                  </a:lnTo>
                  <a:lnTo>
                    <a:pt x="4698" y="4127"/>
                  </a:lnTo>
                  <a:lnTo>
                    <a:pt x="4687" y="4125"/>
                  </a:lnTo>
                  <a:lnTo>
                    <a:pt x="4675" y="4122"/>
                  </a:lnTo>
                  <a:lnTo>
                    <a:pt x="4664" y="4118"/>
                  </a:lnTo>
                  <a:lnTo>
                    <a:pt x="4652" y="4113"/>
                  </a:lnTo>
                  <a:lnTo>
                    <a:pt x="4640" y="4108"/>
                  </a:lnTo>
                  <a:lnTo>
                    <a:pt x="4629" y="4100"/>
                  </a:lnTo>
                  <a:lnTo>
                    <a:pt x="4618" y="4093"/>
                  </a:lnTo>
                  <a:lnTo>
                    <a:pt x="4618" y="4093"/>
                  </a:lnTo>
                  <a:lnTo>
                    <a:pt x="4613" y="4090"/>
                  </a:lnTo>
                  <a:lnTo>
                    <a:pt x="4608" y="4086"/>
                  </a:lnTo>
                  <a:lnTo>
                    <a:pt x="4602" y="4078"/>
                  </a:lnTo>
                  <a:lnTo>
                    <a:pt x="4597" y="4069"/>
                  </a:lnTo>
                  <a:lnTo>
                    <a:pt x="4594" y="4059"/>
                  </a:lnTo>
                  <a:lnTo>
                    <a:pt x="4592" y="4047"/>
                  </a:lnTo>
                  <a:lnTo>
                    <a:pt x="4591" y="4037"/>
                  </a:lnTo>
                  <a:lnTo>
                    <a:pt x="4590" y="4015"/>
                  </a:lnTo>
                  <a:lnTo>
                    <a:pt x="4589" y="3993"/>
                  </a:lnTo>
                  <a:lnTo>
                    <a:pt x="4587" y="3984"/>
                  </a:lnTo>
                  <a:lnTo>
                    <a:pt x="4585" y="3976"/>
                  </a:lnTo>
                  <a:lnTo>
                    <a:pt x="4581" y="3969"/>
                  </a:lnTo>
                  <a:lnTo>
                    <a:pt x="4575" y="3962"/>
                  </a:lnTo>
                  <a:lnTo>
                    <a:pt x="4571" y="3959"/>
                  </a:lnTo>
                  <a:lnTo>
                    <a:pt x="4567" y="3957"/>
                  </a:lnTo>
                  <a:lnTo>
                    <a:pt x="4561" y="3956"/>
                  </a:lnTo>
                  <a:lnTo>
                    <a:pt x="4556" y="3955"/>
                  </a:lnTo>
                  <a:lnTo>
                    <a:pt x="4556" y="3955"/>
                  </a:lnTo>
                  <a:lnTo>
                    <a:pt x="4534" y="3948"/>
                  </a:lnTo>
                  <a:lnTo>
                    <a:pt x="4511" y="3941"/>
                  </a:lnTo>
                  <a:lnTo>
                    <a:pt x="4489" y="3933"/>
                  </a:lnTo>
                  <a:lnTo>
                    <a:pt x="4468" y="3923"/>
                  </a:lnTo>
                  <a:lnTo>
                    <a:pt x="4448" y="3913"/>
                  </a:lnTo>
                  <a:lnTo>
                    <a:pt x="4428" y="3902"/>
                  </a:lnTo>
                  <a:lnTo>
                    <a:pt x="4410" y="3892"/>
                  </a:lnTo>
                  <a:lnTo>
                    <a:pt x="4394" y="3881"/>
                  </a:lnTo>
                  <a:lnTo>
                    <a:pt x="4377" y="3869"/>
                  </a:lnTo>
                  <a:lnTo>
                    <a:pt x="4363" y="3859"/>
                  </a:lnTo>
                  <a:lnTo>
                    <a:pt x="4337" y="3839"/>
                  </a:lnTo>
                  <a:lnTo>
                    <a:pt x="4318" y="3820"/>
                  </a:lnTo>
                  <a:lnTo>
                    <a:pt x="4306" y="3805"/>
                  </a:lnTo>
                  <a:lnTo>
                    <a:pt x="4306" y="3805"/>
                  </a:lnTo>
                  <a:lnTo>
                    <a:pt x="4297" y="3793"/>
                  </a:lnTo>
                  <a:lnTo>
                    <a:pt x="4288" y="3780"/>
                  </a:lnTo>
                  <a:lnTo>
                    <a:pt x="4282" y="3769"/>
                  </a:lnTo>
                  <a:lnTo>
                    <a:pt x="4277" y="3758"/>
                  </a:lnTo>
                  <a:lnTo>
                    <a:pt x="4273" y="3748"/>
                  </a:lnTo>
                  <a:lnTo>
                    <a:pt x="4270" y="3739"/>
                  </a:lnTo>
                  <a:lnTo>
                    <a:pt x="4266" y="3722"/>
                  </a:lnTo>
                  <a:lnTo>
                    <a:pt x="4265" y="3709"/>
                  </a:lnTo>
                  <a:lnTo>
                    <a:pt x="4265" y="3699"/>
                  </a:lnTo>
                  <a:lnTo>
                    <a:pt x="4266" y="3690"/>
                  </a:lnTo>
                  <a:lnTo>
                    <a:pt x="4266" y="3690"/>
                  </a:lnTo>
                  <a:lnTo>
                    <a:pt x="4284" y="3700"/>
                  </a:lnTo>
                  <a:lnTo>
                    <a:pt x="4302" y="3706"/>
                  </a:lnTo>
                  <a:lnTo>
                    <a:pt x="4321" y="3711"/>
                  </a:lnTo>
                  <a:lnTo>
                    <a:pt x="4340" y="3714"/>
                  </a:lnTo>
                  <a:lnTo>
                    <a:pt x="4358" y="3716"/>
                  </a:lnTo>
                  <a:lnTo>
                    <a:pt x="4377" y="3715"/>
                  </a:lnTo>
                  <a:lnTo>
                    <a:pt x="4396" y="3712"/>
                  </a:lnTo>
                  <a:lnTo>
                    <a:pt x="4414" y="3708"/>
                  </a:lnTo>
                  <a:lnTo>
                    <a:pt x="4434" y="3468"/>
                  </a:lnTo>
                  <a:lnTo>
                    <a:pt x="4434" y="3468"/>
                  </a:lnTo>
                  <a:lnTo>
                    <a:pt x="4425" y="3467"/>
                  </a:lnTo>
                  <a:lnTo>
                    <a:pt x="4405" y="3464"/>
                  </a:lnTo>
                  <a:lnTo>
                    <a:pt x="4392" y="3461"/>
                  </a:lnTo>
                  <a:lnTo>
                    <a:pt x="4377" y="3457"/>
                  </a:lnTo>
                  <a:lnTo>
                    <a:pt x="4362" y="3453"/>
                  </a:lnTo>
                  <a:lnTo>
                    <a:pt x="4348" y="3447"/>
                  </a:lnTo>
                  <a:lnTo>
                    <a:pt x="4348" y="3447"/>
                  </a:lnTo>
                  <a:lnTo>
                    <a:pt x="4339" y="3443"/>
                  </a:lnTo>
                  <a:lnTo>
                    <a:pt x="4331" y="3438"/>
                  </a:lnTo>
                  <a:lnTo>
                    <a:pt x="4323" y="3432"/>
                  </a:lnTo>
                  <a:lnTo>
                    <a:pt x="4316" y="3426"/>
                  </a:lnTo>
                  <a:lnTo>
                    <a:pt x="4302" y="3412"/>
                  </a:lnTo>
                  <a:lnTo>
                    <a:pt x="4289" y="3399"/>
                  </a:lnTo>
                  <a:lnTo>
                    <a:pt x="4280" y="3386"/>
                  </a:lnTo>
                  <a:lnTo>
                    <a:pt x="4273" y="3376"/>
                  </a:lnTo>
                  <a:lnTo>
                    <a:pt x="4267" y="3366"/>
                  </a:lnTo>
                  <a:lnTo>
                    <a:pt x="4267" y="3366"/>
                  </a:lnTo>
                  <a:lnTo>
                    <a:pt x="4274" y="3369"/>
                  </a:lnTo>
                  <a:lnTo>
                    <a:pt x="4293" y="3377"/>
                  </a:lnTo>
                  <a:lnTo>
                    <a:pt x="4321" y="3385"/>
                  </a:lnTo>
                  <a:lnTo>
                    <a:pt x="4339" y="3389"/>
                  </a:lnTo>
                  <a:lnTo>
                    <a:pt x="4356" y="3392"/>
                  </a:lnTo>
                  <a:lnTo>
                    <a:pt x="4356" y="3392"/>
                  </a:lnTo>
                  <a:lnTo>
                    <a:pt x="4375" y="3394"/>
                  </a:lnTo>
                  <a:lnTo>
                    <a:pt x="4392" y="3395"/>
                  </a:lnTo>
                  <a:lnTo>
                    <a:pt x="4407" y="3393"/>
                  </a:lnTo>
                  <a:lnTo>
                    <a:pt x="4419" y="3391"/>
                  </a:lnTo>
                  <a:lnTo>
                    <a:pt x="4430" y="3389"/>
                  </a:lnTo>
                  <a:lnTo>
                    <a:pt x="4438" y="3387"/>
                  </a:lnTo>
                  <a:lnTo>
                    <a:pt x="4444" y="3384"/>
                  </a:lnTo>
                  <a:lnTo>
                    <a:pt x="4477" y="3113"/>
                  </a:lnTo>
                  <a:lnTo>
                    <a:pt x="4477" y="3113"/>
                  </a:lnTo>
                  <a:lnTo>
                    <a:pt x="4451" y="3114"/>
                  </a:lnTo>
                  <a:lnTo>
                    <a:pt x="4427" y="3113"/>
                  </a:lnTo>
                  <a:lnTo>
                    <a:pt x="4408" y="3111"/>
                  </a:lnTo>
                  <a:lnTo>
                    <a:pt x="4392" y="3106"/>
                  </a:lnTo>
                  <a:lnTo>
                    <a:pt x="4377" y="3100"/>
                  </a:lnTo>
                  <a:lnTo>
                    <a:pt x="4365" y="3093"/>
                  </a:lnTo>
                  <a:lnTo>
                    <a:pt x="4356" y="3085"/>
                  </a:lnTo>
                  <a:lnTo>
                    <a:pt x="4348" y="3077"/>
                  </a:lnTo>
                  <a:lnTo>
                    <a:pt x="4343" y="3069"/>
                  </a:lnTo>
                  <a:lnTo>
                    <a:pt x="4337" y="3060"/>
                  </a:lnTo>
                  <a:lnTo>
                    <a:pt x="4335" y="3051"/>
                  </a:lnTo>
                  <a:lnTo>
                    <a:pt x="4333" y="3043"/>
                  </a:lnTo>
                  <a:lnTo>
                    <a:pt x="4332" y="3035"/>
                  </a:lnTo>
                  <a:lnTo>
                    <a:pt x="4331" y="3029"/>
                  </a:lnTo>
                  <a:lnTo>
                    <a:pt x="4332" y="3020"/>
                  </a:lnTo>
                  <a:lnTo>
                    <a:pt x="4332" y="3020"/>
                  </a:lnTo>
                  <a:lnTo>
                    <a:pt x="4357" y="3015"/>
                  </a:lnTo>
                  <a:lnTo>
                    <a:pt x="4381" y="3009"/>
                  </a:lnTo>
                  <a:lnTo>
                    <a:pt x="4405" y="3001"/>
                  </a:lnTo>
                  <a:lnTo>
                    <a:pt x="4428" y="2994"/>
                  </a:lnTo>
                  <a:lnTo>
                    <a:pt x="4451" y="2985"/>
                  </a:lnTo>
                  <a:lnTo>
                    <a:pt x="4473" y="2975"/>
                  </a:lnTo>
                  <a:lnTo>
                    <a:pt x="4495" y="2964"/>
                  </a:lnTo>
                  <a:lnTo>
                    <a:pt x="4515" y="2951"/>
                  </a:lnTo>
                  <a:lnTo>
                    <a:pt x="4536" y="2939"/>
                  </a:lnTo>
                  <a:lnTo>
                    <a:pt x="4555" y="2926"/>
                  </a:lnTo>
                  <a:lnTo>
                    <a:pt x="4574" y="2911"/>
                  </a:lnTo>
                  <a:lnTo>
                    <a:pt x="4592" y="2896"/>
                  </a:lnTo>
                  <a:lnTo>
                    <a:pt x="4609" y="2881"/>
                  </a:lnTo>
                  <a:lnTo>
                    <a:pt x="4627" y="2864"/>
                  </a:lnTo>
                  <a:lnTo>
                    <a:pt x="4642" y="2848"/>
                  </a:lnTo>
                  <a:lnTo>
                    <a:pt x="4659" y="2831"/>
                  </a:lnTo>
                  <a:lnTo>
                    <a:pt x="4673" y="2812"/>
                  </a:lnTo>
                  <a:lnTo>
                    <a:pt x="4688" y="2794"/>
                  </a:lnTo>
                  <a:lnTo>
                    <a:pt x="4702" y="2775"/>
                  </a:lnTo>
                  <a:lnTo>
                    <a:pt x="4715" y="2756"/>
                  </a:lnTo>
                  <a:lnTo>
                    <a:pt x="4727" y="2737"/>
                  </a:lnTo>
                  <a:lnTo>
                    <a:pt x="4738" y="2717"/>
                  </a:lnTo>
                  <a:lnTo>
                    <a:pt x="4750" y="2698"/>
                  </a:lnTo>
                  <a:lnTo>
                    <a:pt x="4760" y="2677"/>
                  </a:lnTo>
                  <a:lnTo>
                    <a:pt x="4770" y="2657"/>
                  </a:lnTo>
                  <a:lnTo>
                    <a:pt x="4779" y="2636"/>
                  </a:lnTo>
                  <a:lnTo>
                    <a:pt x="4787" y="2616"/>
                  </a:lnTo>
                  <a:lnTo>
                    <a:pt x="4796" y="2595"/>
                  </a:lnTo>
                  <a:lnTo>
                    <a:pt x="4803" y="2575"/>
                  </a:lnTo>
                  <a:lnTo>
                    <a:pt x="4809" y="2555"/>
                  </a:lnTo>
                  <a:lnTo>
                    <a:pt x="4815" y="2534"/>
                  </a:lnTo>
                  <a:lnTo>
                    <a:pt x="4820" y="2515"/>
                  </a:lnTo>
                  <a:lnTo>
                    <a:pt x="4820" y="2515"/>
                  </a:lnTo>
                  <a:lnTo>
                    <a:pt x="4831" y="2521"/>
                  </a:lnTo>
                  <a:lnTo>
                    <a:pt x="4847" y="2527"/>
                  </a:lnTo>
                  <a:lnTo>
                    <a:pt x="4864" y="2533"/>
                  </a:lnTo>
                  <a:lnTo>
                    <a:pt x="4882" y="2538"/>
                  </a:lnTo>
                  <a:lnTo>
                    <a:pt x="4903" y="2541"/>
                  </a:lnTo>
                  <a:lnTo>
                    <a:pt x="4913" y="2542"/>
                  </a:lnTo>
                  <a:lnTo>
                    <a:pt x="4923" y="2543"/>
                  </a:lnTo>
                  <a:lnTo>
                    <a:pt x="4935" y="2542"/>
                  </a:lnTo>
                  <a:lnTo>
                    <a:pt x="4945" y="2541"/>
                  </a:lnTo>
                  <a:lnTo>
                    <a:pt x="4955" y="2539"/>
                  </a:lnTo>
                  <a:lnTo>
                    <a:pt x="4965" y="2536"/>
                  </a:lnTo>
                  <a:lnTo>
                    <a:pt x="4965" y="2536"/>
                  </a:lnTo>
                  <a:lnTo>
                    <a:pt x="4967" y="2508"/>
                  </a:lnTo>
                  <a:lnTo>
                    <a:pt x="4970" y="2441"/>
                  </a:lnTo>
                  <a:lnTo>
                    <a:pt x="4972" y="2405"/>
                  </a:lnTo>
                  <a:lnTo>
                    <a:pt x="4973" y="2371"/>
                  </a:lnTo>
                  <a:lnTo>
                    <a:pt x="4972" y="2343"/>
                  </a:lnTo>
                  <a:lnTo>
                    <a:pt x="4972" y="2333"/>
                  </a:lnTo>
                  <a:lnTo>
                    <a:pt x="4970" y="2327"/>
                  </a:lnTo>
                  <a:lnTo>
                    <a:pt x="4970" y="2327"/>
                  </a:lnTo>
                  <a:lnTo>
                    <a:pt x="4955" y="2325"/>
                  </a:lnTo>
                  <a:lnTo>
                    <a:pt x="4938" y="2322"/>
                  </a:lnTo>
                  <a:lnTo>
                    <a:pt x="4919" y="2317"/>
                  </a:lnTo>
                  <a:lnTo>
                    <a:pt x="4911" y="2314"/>
                  </a:lnTo>
                  <a:lnTo>
                    <a:pt x="4902" y="2311"/>
                  </a:lnTo>
                  <a:lnTo>
                    <a:pt x="4893" y="2306"/>
                  </a:lnTo>
                  <a:lnTo>
                    <a:pt x="4885" y="2302"/>
                  </a:lnTo>
                  <a:lnTo>
                    <a:pt x="4876" y="2296"/>
                  </a:lnTo>
                  <a:lnTo>
                    <a:pt x="4868" y="2289"/>
                  </a:lnTo>
                  <a:lnTo>
                    <a:pt x="4861" y="2282"/>
                  </a:lnTo>
                  <a:lnTo>
                    <a:pt x="4854" y="2273"/>
                  </a:lnTo>
                  <a:lnTo>
                    <a:pt x="4848" y="2264"/>
                  </a:lnTo>
                  <a:lnTo>
                    <a:pt x="4842" y="22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af-ZA"/>
            </a:p>
          </p:txBody>
        </p:sp>
      </p:grpSp>
      <p:sp>
        <p:nvSpPr>
          <p:cNvPr id="95" name="Otsikko 1"/>
          <p:cNvSpPr>
            <a:spLocks noGrp="1"/>
          </p:cNvSpPr>
          <p:nvPr>
            <p:ph type="ctrTitle" hasCustomPrompt="1"/>
          </p:nvPr>
        </p:nvSpPr>
        <p:spPr>
          <a:xfrm>
            <a:off x="4251079" y="1755757"/>
            <a:ext cx="4634027" cy="1400175"/>
          </a:xfrm>
        </p:spPr>
        <p:txBody>
          <a:bodyPr vert="horz" anchor="b" anchorCtr="0">
            <a:noAutofit/>
          </a:bodyPr>
          <a:lstStyle>
            <a:lvl1pPr algn="l" rtl="0">
              <a:defRPr sz="4000">
                <a:solidFill>
                  <a:srgbClr val="FFFFFF"/>
                </a:solidFill>
              </a:defRPr>
            </a:lvl1pPr>
          </a:lstStyle>
          <a:p>
            <a:r>
              <a:rPr lang="af-ZA"/>
              <a:t>Esityksen päättävä teksti</a:t>
            </a:r>
          </a:p>
        </p:txBody>
      </p:sp>
      <p:sp>
        <p:nvSpPr>
          <p:cNvPr id="96" name="Alaotsikko 2"/>
          <p:cNvSpPr>
            <a:spLocks noGrp="1"/>
          </p:cNvSpPr>
          <p:nvPr>
            <p:ph type="subTitle" idx="1" hasCustomPrompt="1"/>
          </p:nvPr>
        </p:nvSpPr>
        <p:spPr>
          <a:xfrm>
            <a:off x="4251079" y="3413108"/>
            <a:ext cx="4595595" cy="1318882"/>
          </a:xfrm>
        </p:spPr>
        <p:txBody>
          <a:bodyPr>
            <a:normAutofit/>
          </a:bodyPr>
          <a:lstStyle>
            <a:lvl1pPr marL="0" indent="0" algn="l" rtl="0">
              <a:spcBef>
                <a:spcPts val="0"/>
              </a:spcBef>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af-ZA"/>
              <a:t>Muokkaa alaotsikon perustyyliä napsautt.</a:t>
            </a:r>
          </a:p>
        </p:txBody>
      </p:sp>
    </p:spTree>
    <p:extLst>
      <p:ext uri="{BB962C8B-B14F-4D97-AF65-F5344CB8AC3E}">
        <p14:creationId xmlns:p14="http://schemas.microsoft.com/office/powerpoint/2010/main" val="5649153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tsikko + Sisältö">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03EA1F9-2126-03D3-BEC2-B3C7DB1CA4BF}"/>
              </a:ext>
            </a:extLst>
          </p:cNvPr>
          <p:cNvGraphicFramePr>
            <a:graphicFrameLocks noChangeAspect="1"/>
          </p:cNvGraphicFramePr>
          <p:nvPr userDrawn="1">
            <p:custDataLst>
              <p:tags r:id="rId1"/>
            </p:custDataLst>
            <p:extLst>
              <p:ext uri="{D42A27DB-BD31-4B8C-83A1-F6EECF244321}">
                <p14:modId xmlns:p14="http://schemas.microsoft.com/office/powerpoint/2010/main" val="3069542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F03EA1F9-2126-03D3-BEC2-B3C7DB1CA4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192156AB-D327-31E5-6752-B7CF946A971F}"/>
              </a:ext>
            </a:extLst>
          </p:cNvPr>
          <p:cNvSpPr>
            <a:spLocks noGrp="1"/>
          </p:cNvSpPr>
          <p:nvPr>
            <p:ph type="title" hasCustomPrompt="1"/>
          </p:nvPr>
        </p:nvSpPr>
        <p:spPr>
          <a:xfrm>
            <a:off x="359568" y="249493"/>
            <a:ext cx="8424862" cy="594662"/>
          </a:xfrm>
        </p:spPr>
        <p:txBody>
          <a:bodyPr vert="horz" wrap="square">
            <a:noAutofit/>
          </a:bodyPr>
          <a:lstStyle>
            <a:lvl1pPr rtl="0">
              <a:defRPr b="0"/>
            </a:lvl1pPr>
          </a:lstStyle>
          <a:p>
            <a:r>
              <a:rPr lang="af-ZA" noProof="0"/>
              <a:t>Lisää otsikko</a:t>
            </a:r>
          </a:p>
        </p:txBody>
      </p:sp>
      <p:sp>
        <p:nvSpPr>
          <p:cNvPr id="17" name="Footer Placeholder 3">
            <a:extLst>
              <a:ext uri="{FF2B5EF4-FFF2-40B4-BE49-F238E27FC236}">
                <a16:creationId xmlns:a16="http://schemas.microsoft.com/office/drawing/2014/main" id="{DB511F4F-BAB0-73C5-5D43-7CE38A07B7F1}"/>
              </a:ext>
            </a:extLst>
          </p:cNvPr>
          <p:cNvSpPr>
            <a:spLocks noGrp="1"/>
          </p:cNvSpPr>
          <p:nvPr>
            <p:ph type="ftr" sz="quarter" idx="11"/>
          </p:nvPr>
        </p:nvSpPr>
        <p:spPr>
          <a:xfrm>
            <a:off x="1331638" y="4884056"/>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8" name="Slide Number Placeholder 4">
            <a:extLst>
              <a:ext uri="{FF2B5EF4-FFF2-40B4-BE49-F238E27FC236}">
                <a16:creationId xmlns:a16="http://schemas.microsoft.com/office/drawing/2014/main" id="{F731E737-ABBF-54D7-429E-714E7E5AF65E}"/>
              </a:ext>
            </a:extLst>
          </p:cNvPr>
          <p:cNvSpPr>
            <a:spLocks noGrp="1"/>
          </p:cNvSpPr>
          <p:nvPr>
            <p:ph type="sldNum" sz="quarter" idx="12"/>
          </p:nvPr>
        </p:nvSpPr>
        <p:spPr>
          <a:xfrm>
            <a:off x="8597026" y="4883517"/>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
        <p:nvSpPr>
          <p:cNvPr id="3" name="Text Placeholder 2">
            <a:extLst>
              <a:ext uri="{FF2B5EF4-FFF2-40B4-BE49-F238E27FC236}">
                <a16:creationId xmlns:a16="http://schemas.microsoft.com/office/drawing/2014/main" id="{BCFE88D8-A34A-4AE0-6D81-E1186BC0871B}"/>
              </a:ext>
            </a:extLst>
          </p:cNvPr>
          <p:cNvSpPr>
            <a:spLocks noGrp="1"/>
          </p:cNvSpPr>
          <p:nvPr>
            <p:ph type="body" sz="quarter" idx="13"/>
          </p:nvPr>
        </p:nvSpPr>
        <p:spPr>
          <a:xfrm>
            <a:off x="359569" y="926100"/>
            <a:ext cx="8424863" cy="3805444"/>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28085917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Pelkkä otsikk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E18252-4192-D3A7-61AE-F081A4E7EA42}"/>
              </a:ext>
            </a:extLst>
          </p:cNvPr>
          <p:cNvGraphicFramePr>
            <a:graphicFrameLocks noChangeAspect="1"/>
          </p:cNvGraphicFramePr>
          <p:nvPr userDrawn="1">
            <p:custDataLst>
              <p:tags r:id="rId1"/>
            </p:custDataLst>
            <p:extLst>
              <p:ext uri="{D42A27DB-BD31-4B8C-83A1-F6EECF244321}">
                <p14:modId xmlns:p14="http://schemas.microsoft.com/office/powerpoint/2010/main" val="16153170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0E18252-4192-D3A7-61AE-F081A4E7EA4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122DEA15-1457-EF4E-6FF7-4F46D7D0DD41}"/>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8" name="Date Placeholder 2">
            <a:extLst>
              <a:ext uri="{FF2B5EF4-FFF2-40B4-BE49-F238E27FC236}">
                <a16:creationId xmlns:a16="http://schemas.microsoft.com/office/drawing/2014/main" id="{D0D48DB8-1A5F-F761-48F4-99512B34C47A}"/>
              </a:ext>
            </a:extLst>
          </p:cNvPr>
          <p:cNvSpPr>
            <a:spLocks noGrp="1"/>
          </p:cNvSpPr>
          <p:nvPr>
            <p:ph type="dt" sz="half" idx="10"/>
          </p:nvPr>
        </p:nvSpPr>
        <p:spPr>
          <a:xfrm>
            <a:off x="7610236" y="4883762"/>
            <a:ext cx="972741" cy="164194"/>
          </a:xfrm>
          <a:prstGeom prst="rect">
            <a:avLst/>
          </a:prstGeom>
        </p:spPr>
        <p:txBody>
          <a:bodyPr wrap="square">
            <a:noAutofit/>
          </a:bodyPr>
          <a:lstStyle>
            <a:lvl1pPr algn="ctr" rtl="0">
              <a:defRPr sz="675"/>
            </a:lvl1pPr>
          </a:lstStyle>
          <a:p>
            <a:pPr>
              <a:defRPr/>
            </a:pPr>
            <a:fld id="{8A038578-546F-45C1-9982-7076BA6E898B}" type="datetime1">
              <a:rPr lang="af-ZA" smtClean="0">
                <a:solidFill>
                  <a:srgbClr val="000000"/>
                </a:solidFill>
              </a:rPr>
              <a:pPr>
                <a:defRPr/>
              </a:pPr>
              <a:t>2024-12-09</a:t>
            </a:fld>
            <a:endParaRPr lang="af-ZA">
              <a:solidFill>
                <a:srgbClr val="000000"/>
              </a:solidFill>
            </a:endParaRPr>
          </a:p>
        </p:txBody>
      </p:sp>
      <p:sp>
        <p:nvSpPr>
          <p:cNvPr id="9" name="Footer Placeholder 3">
            <a:extLst>
              <a:ext uri="{FF2B5EF4-FFF2-40B4-BE49-F238E27FC236}">
                <a16:creationId xmlns:a16="http://schemas.microsoft.com/office/drawing/2014/main" id="{C40CA5EC-4F3F-86E4-9FDA-9067F05533A7}"/>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6BD7DA59-E7AD-347F-F673-3EA856DC7D1F}"/>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Tree>
    <p:extLst>
      <p:ext uri="{BB962C8B-B14F-4D97-AF65-F5344CB8AC3E}">
        <p14:creationId xmlns:p14="http://schemas.microsoft.com/office/powerpoint/2010/main" val="28753462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3660FB6-1A4C-55C2-D28B-8FB81592BE68}"/>
              </a:ext>
            </a:extLst>
          </p:cNvPr>
          <p:cNvGraphicFramePr>
            <a:graphicFrameLocks noChangeAspect="1"/>
          </p:cNvGraphicFramePr>
          <p:nvPr userDrawn="1">
            <p:custDataLst>
              <p:tags r:id="rId1"/>
            </p:custDataLst>
            <p:extLst>
              <p:ext uri="{D42A27DB-BD31-4B8C-83A1-F6EECF244321}">
                <p14:modId xmlns:p14="http://schemas.microsoft.com/office/powerpoint/2010/main" val="2371410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73660FB6-1A4C-55C2-D28B-8FB81592BE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ctrTitle" hasCustomPrompt="1"/>
          </p:nvPr>
        </p:nvSpPr>
        <p:spPr>
          <a:xfrm>
            <a:off x="1143000" y="841375"/>
            <a:ext cx="6858000" cy="1790700"/>
          </a:xfrm>
        </p:spPr>
        <p:txBody>
          <a:bodyPr vert="horz" anchor="b"/>
          <a:lstStyle>
            <a:lvl1pPr algn="ctr" rtl="0">
              <a:defRPr sz="6000"/>
            </a:lvl1pPr>
          </a:lstStyle>
          <a:p>
            <a:r>
              <a:rPr lang="af-ZA"/>
              <a:t>Muokkaa perustyyl. napsautt.</a:t>
            </a:r>
          </a:p>
        </p:txBody>
      </p:sp>
      <p:sp>
        <p:nvSpPr>
          <p:cNvPr id="3" name="Alaotsikko 2"/>
          <p:cNvSpPr>
            <a:spLocks noGrp="1"/>
          </p:cNvSpPr>
          <p:nvPr>
            <p:ph type="subTitle" idx="1" hasCustomPrompt="1"/>
          </p:nvPr>
        </p:nvSpPr>
        <p:spPr>
          <a:xfrm>
            <a:off x="1143000" y="2701925"/>
            <a:ext cx="6858000" cy="1241425"/>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af-ZA"/>
              <a:t>Muokkaa alaotsikon perustyyliä napsautt.</a:t>
            </a:r>
          </a:p>
        </p:txBody>
      </p:sp>
      <p:sp>
        <p:nvSpPr>
          <p:cNvPr id="4" name="Päivämäärän paikkamerkki 3"/>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5" name="Alatunnisteen paikkamerkki 4"/>
          <p:cNvSpPr>
            <a:spLocks noGrp="1"/>
          </p:cNvSpPr>
          <p:nvPr>
            <p:ph type="ftr" sz="quarter" idx="11"/>
          </p:nvPr>
        </p:nvSpPr>
        <p:spPr/>
        <p:txBody>
          <a:bodyPr/>
          <a:lstStyle>
            <a:lvl1pPr rtl="0">
              <a:defRPr/>
            </a:lvl1pPr>
          </a:lstStyle>
          <a:p>
            <a:endParaRPr lang="af-ZA"/>
          </a:p>
        </p:txBody>
      </p:sp>
      <p:sp>
        <p:nvSpPr>
          <p:cNvPr id="6" name="Dian numeron paikkamerkki 5"/>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26051231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349AA76-0FFE-28E8-AC0E-87FEB1ADA9A9}"/>
              </a:ext>
            </a:extLst>
          </p:cNvPr>
          <p:cNvGraphicFramePr>
            <a:graphicFrameLocks noChangeAspect="1"/>
          </p:cNvGraphicFramePr>
          <p:nvPr userDrawn="1">
            <p:custDataLst>
              <p:tags r:id="rId1"/>
            </p:custDataLst>
            <p:extLst>
              <p:ext uri="{D42A27DB-BD31-4B8C-83A1-F6EECF244321}">
                <p14:modId xmlns:p14="http://schemas.microsoft.com/office/powerpoint/2010/main" val="4411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2349AA76-0FFE-28E8-AC0E-87FEB1ADA9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title" hasCustomPrompt="1"/>
          </p:nvPr>
        </p:nvSpPr>
        <p:spPr/>
        <p:txBody>
          <a:bodyPr vert="horz"/>
          <a:lstStyle>
            <a:lvl1pPr rtl="0">
              <a:defRPr/>
            </a:lvl1pPr>
          </a:lstStyle>
          <a:p>
            <a:r>
              <a:rPr lang="af-ZA"/>
              <a:t>Muokkaa perustyyl. napsautt.</a:t>
            </a:r>
          </a:p>
        </p:txBody>
      </p:sp>
      <p:sp>
        <p:nvSpPr>
          <p:cNvPr id="3" name="Sisällön paikkamerkki 2"/>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4" name="Päivämäärän paikkamerkki 3"/>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5" name="Alatunnisteen paikkamerkki 4"/>
          <p:cNvSpPr>
            <a:spLocks noGrp="1"/>
          </p:cNvSpPr>
          <p:nvPr>
            <p:ph type="ftr" sz="quarter" idx="11"/>
          </p:nvPr>
        </p:nvSpPr>
        <p:spPr/>
        <p:txBody>
          <a:bodyPr/>
          <a:lstStyle>
            <a:lvl1pPr rtl="0">
              <a:defRPr/>
            </a:lvl1pPr>
          </a:lstStyle>
          <a:p>
            <a:endParaRPr lang="af-ZA"/>
          </a:p>
        </p:txBody>
      </p:sp>
      <p:sp>
        <p:nvSpPr>
          <p:cNvPr id="6" name="Dian numeron paikkamerkki 5"/>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2224740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6E86A58-B66D-0229-C806-2B5C06832107}"/>
              </a:ext>
            </a:extLst>
          </p:cNvPr>
          <p:cNvGraphicFramePr>
            <a:graphicFrameLocks noChangeAspect="1"/>
          </p:cNvGraphicFramePr>
          <p:nvPr userDrawn="1">
            <p:custDataLst>
              <p:tags r:id="rId1"/>
            </p:custDataLst>
            <p:extLst>
              <p:ext uri="{D42A27DB-BD31-4B8C-83A1-F6EECF244321}">
                <p14:modId xmlns:p14="http://schemas.microsoft.com/office/powerpoint/2010/main" val="207090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F6E86A58-B66D-0229-C806-2B5C068321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title" hasCustomPrompt="1"/>
          </p:nvPr>
        </p:nvSpPr>
        <p:spPr>
          <a:xfrm>
            <a:off x="623888" y="1282700"/>
            <a:ext cx="7886700" cy="2139950"/>
          </a:xfrm>
        </p:spPr>
        <p:txBody>
          <a:bodyPr vert="horz" anchor="b"/>
          <a:lstStyle>
            <a:lvl1pPr rtl="0">
              <a:defRPr sz="6000"/>
            </a:lvl1pPr>
          </a:lstStyle>
          <a:p>
            <a:r>
              <a:rPr lang="af-ZA"/>
              <a:t>Muokkaa perustyyl. napsautt.</a:t>
            </a:r>
          </a:p>
        </p:txBody>
      </p:sp>
      <p:sp>
        <p:nvSpPr>
          <p:cNvPr id="3" name="Tekstin paikkamerkki 2"/>
          <p:cNvSpPr>
            <a:spLocks noGrp="1"/>
          </p:cNvSpPr>
          <p:nvPr>
            <p:ph type="body" idx="1" hasCustomPrompt="1"/>
          </p:nvPr>
        </p:nvSpPr>
        <p:spPr>
          <a:xfrm>
            <a:off x="623888" y="3441700"/>
            <a:ext cx="7886700" cy="1125538"/>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af-ZA"/>
              <a:t>Muokkaa tekstin perustyylejä</a:t>
            </a:r>
          </a:p>
        </p:txBody>
      </p:sp>
      <p:sp>
        <p:nvSpPr>
          <p:cNvPr id="4" name="Päivämäärän paikkamerkki 3"/>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5" name="Alatunnisteen paikkamerkki 4"/>
          <p:cNvSpPr>
            <a:spLocks noGrp="1"/>
          </p:cNvSpPr>
          <p:nvPr>
            <p:ph type="ftr" sz="quarter" idx="11"/>
          </p:nvPr>
        </p:nvSpPr>
        <p:spPr/>
        <p:txBody>
          <a:bodyPr/>
          <a:lstStyle>
            <a:lvl1pPr rtl="0">
              <a:defRPr/>
            </a:lvl1pPr>
          </a:lstStyle>
          <a:p>
            <a:endParaRPr lang="af-ZA"/>
          </a:p>
        </p:txBody>
      </p:sp>
      <p:sp>
        <p:nvSpPr>
          <p:cNvPr id="6" name="Dian numeron paikkamerkki 5"/>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25548681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52A9C99-F592-5660-E0D0-FE664FC6E82E}"/>
              </a:ext>
            </a:extLst>
          </p:cNvPr>
          <p:cNvGraphicFramePr>
            <a:graphicFrameLocks noChangeAspect="1"/>
          </p:cNvGraphicFramePr>
          <p:nvPr userDrawn="1">
            <p:custDataLst>
              <p:tags r:id="rId1"/>
            </p:custDataLst>
            <p:extLst>
              <p:ext uri="{D42A27DB-BD31-4B8C-83A1-F6EECF244321}">
                <p14:modId xmlns:p14="http://schemas.microsoft.com/office/powerpoint/2010/main" val="4173760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B52A9C99-F592-5660-E0D0-FE664FC6E8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title" hasCustomPrompt="1"/>
          </p:nvPr>
        </p:nvSpPr>
        <p:spPr/>
        <p:txBody>
          <a:bodyPr vert="horz"/>
          <a:lstStyle>
            <a:lvl1pPr rtl="0">
              <a:defRPr/>
            </a:lvl1pPr>
          </a:lstStyle>
          <a:p>
            <a:r>
              <a:rPr lang="af-ZA"/>
              <a:t>Muokkaa perustyyl. napsautt.</a:t>
            </a:r>
          </a:p>
        </p:txBody>
      </p:sp>
      <p:sp>
        <p:nvSpPr>
          <p:cNvPr id="3" name="Sisällön paikkamerkki 2"/>
          <p:cNvSpPr>
            <a:spLocks noGrp="1"/>
          </p:cNvSpPr>
          <p:nvPr>
            <p:ph sz="half" idx="1" hasCustomPrompt="1"/>
          </p:nvPr>
        </p:nvSpPr>
        <p:spPr>
          <a:xfrm>
            <a:off x="628650" y="1370013"/>
            <a:ext cx="3867150" cy="3262312"/>
          </a:xfrm>
        </p:spPr>
        <p:txBody>
          <a:bodyPr/>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4" name="Sisällön paikkamerkki 3"/>
          <p:cNvSpPr>
            <a:spLocks noGrp="1"/>
          </p:cNvSpPr>
          <p:nvPr>
            <p:ph sz="half" idx="2" hasCustomPrompt="1"/>
          </p:nvPr>
        </p:nvSpPr>
        <p:spPr>
          <a:xfrm>
            <a:off x="4648200" y="1370013"/>
            <a:ext cx="3867150" cy="3262312"/>
          </a:xfrm>
        </p:spPr>
        <p:txBody>
          <a:bodyPr/>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5" name="Päivämäärän paikkamerkki 4"/>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6" name="Alatunnisteen paikkamerkki 5"/>
          <p:cNvSpPr>
            <a:spLocks noGrp="1"/>
          </p:cNvSpPr>
          <p:nvPr>
            <p:ph type="ftr" sz="quarter" idx="11"/>
          </p:nvPr>
        </p:nvSpPr>
        <p:spPr/>
        <p:txBody>
          <a:bodyPr/>
          <a:lstStyle>
            <a:lvl1pPr rtl="0">
              <a:defRPr/>
            </a:lvl1pPr>
          </a:lstStyle>
          <a:p>
            <a:endParaRPr lang="af-ZA"/>
          </a:p>
        </p:txBody>
      </p:sp>
      <p:sp>
        <p:nvSpPr>
          <p:cNvPr id="7" name="Dian numeron paikkamerkki 6"/>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2702043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4A69DFB-88B1-0A54-22C6-8B513BCFB0C6}"/>
              </a:ext>
            </a:extLst>
          </p:cNvPr>
          <p:cNvGraphicFramePr>
            <a:graphicFrameLocks noChangeAspect="1"/>
          </p:cNvGraphicFramePr>
          <p:nvPr userDrawn="1">
            <p:custDataLst>
              <p:tags r:id="rId1"/>
            </p:custDataLst>
            <p:extLst>
              <p:ext uri="{D42A27DB-BD31-4B8C-83A1-F6EECF244321}">
                <p14:modId xmlns:p14="http://schemas.microsoft.com/office/powerpoint/2010/main" val="272260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D4A69DFB-88B1-0A54-22C6-8B513BCFB0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28650" y="397462"/>
            <a:ext cx="7203017" cy="746936"/>
          </a:xfrm>
        </p:spPr>
        <p:txBody>
          <a:bodyPr vert="horz"/>
          <a:lstStyle>
            <a:lvl1pPr rtl="0">
              <a:defRPr/>
            </a:lvl1pPr>
          </a:lstStyle>
          <a:p>
            <a:r>
              <a:rPr lang="af-ZA"/>
              <a:t>Muokkaa perustyyl. napsautt.</a:t>
            </a:r>
          </a:p>
        </p:txBody>
      </p:sp>
      <p:sp>
        <p:nvSpPr>
          <p:cNvPr id="3" name="Content Placeholder 2"/>
          <p:cNvSpPr>
            <a:spLocks noGrp="1"/>
          </p:cNvSpPr>
          <p:nvPr>
            <p:ph idx="1" hasCustomPrompt="1"/>
          </p:nvPr>
        </p:nvSpPr>
        <p:spPr>
          <a:xfrm>
            <a:off x="628650" y="1144398"/>
            <a:ext cx="7886700" cy="3335527"/>
          </a:xfrm>
        </p:spPr>
        <p:txBody>
          <a:bodyPr/>
          <a:lstStyle>
            <a:lvl1pPr rtl="0">
              <a:defRPr b="0"/>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5" name="Footer Placeholder 4"/>
          <p:cNvSpPr>
            <a:spLocks noGrp="1"/>
          </p:cNvSpPr>
          <p:nvPr>
            <p:ph type="ftr" sz="quarter" idx="11"/>
          </p:nvPr>
        </p:nvSpPr>
        <p:spPr/>
        <p:txBody>
          <a:bodyPr/>
          <a:lstStyle>
            <a:lvl1pPr rtl="0">
              <a:defRPr/>
            </a:lvl1pPr>
          </a:lstStyle>
          <a:p>
            <a:r>
              <a:rPr lang="af-ZA"/>
              <a:t>Työ- ja elinkeinoministeriö • www.tem.fi</a:t>
            </a:r>
          </a:p>
        </p:txBody>
      </p:sp>
      <p:sp>
        <p:nvSpPr>
          <p:cNvPr id="4" name="Date Placeholder 3"/>
          <p:cNvSpPr>
            <a:spLocks noGrp="1"/>
          </p:cNvSpPr>
          <p:nvPr>
            <p:ph type="dt" sz="half" idx="10"/>
          </p:nvPr>
        </p:nvSpPr>
        <p:spPr/>
        <p:txBody>
          <a:bodyPr/>
          <a:lstStyle>
            <a:lvl1pPr rtl="0">
              <a:defRPr/>
            </a:lvl1pPr>
          </a:lstStyle>
          <a:p>
            <a:fld id="{CF0B024A-9348-8F4E-84E6-1AC861A3D50B}" type="datetime1">
              <a:rPr lang="af-ZA" smtClean="0"/>
              <a:pPr/>
              <a:t>2024-12-09</a:t>
            </a:fld>
            <a:endParaRPr lang="af-ZA"/>
          </a:p>
        </p:txBody>
      </p:sp>
      <p:sp>
        <p:nvSpPr>
          <p:cNvPr id="6" name="Slide Number Placeholder 5"/>
          <p:cNvSpPr>
            <a:spLocks noGrp="1"/>
          </p:cNvSpPr>
          <p:nvPr>
            <p:ph type="sldNum" sz="quarter" idx="12"/>
          </p:nvPr>
        </p:nvSpPr>
        <p:spPr/>
        <p:txBody>
          <a:bodyPr/>
          <a:lstStyle>
            <a:lvl1pPr rtl="0">
              <a:defRPr/>
            </a:lvl1pPr>
          </a:lstStyle>
          <a:p>
            <a:fld id="{3065C9E5-8AC3-DF4B-BA99-CB03B9370A98}" type="slidenum">
              <a:rPr lang="af-ZA" smtClean="0"/>
              <a:pPr/>
              <a:t>‹#›</a:t>
            </a:fld>
            <a:endParaRPr lang="af-ZA"/>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spTree>
    <p:extLst>
      <p:ext uri="{BB962C8B-B14F-4D97-AF65-F5344CB8AC3E}">
        <p14:creationId xmlns:p14="http://schemas.microsoft.com/office/powerpoint/2010/main" val="14724218"/>
      </p:ext>
    </p:extLst>
  </p:cSld>
  <p:clrMapOvr>
    <a:masterClrMapping/>
  </p:clrMapOvr>
  <p:extLst>
    <p:ext uri="{DCECCB84-F9BA-43D5-87BE-67443E8EF086}">
      <p15:sldGuideLst xmlns:p15="http://schemas.microsoft.com/office/powerpoint/2012/main">
        <p15:guide id="1" orient="horz" pos="3748">
          <p15:clr>
            <a:srgbClr val="FBAE40"/>
          </p15:clr>
        </p15:guide>
        <p15:guide id="2" pos="38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F39DCD1-1E75-40EA-102F-C5DDD13D85AF}"/>
              </a:ext>
            </a:extLst>
          </p:cNvPr>
          <p:cNvGraphicFramePr>
            <a:graphicFrameLocks noChangeAspect="1"/>
          </p:cNvGraphicFramePr>
          <p:nvPr userDrawn="1">
            <p:custDataLst>
              <p:tags r:id="rId1"/>
            </p:custDataLst>
            <p:extLst>
              <p:ext uri="{D42A27DB-BD31-4B8C-83A1-F6EECF244321}">
                <p14:modId xmlns:p14="http://schemas.microsoft.com/office/powerpoint/2010/main" val="3326157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1" name="think-cell data - do not delete" hidden="1">
                        <a:extLst>
                          <a:ext uri="{FF2B5EF4-FFF2-40B4-BE49-F238E27FC236}">
                            <a16:creationId xmlns:a16="http://schemas.microsoft.com/office/drawing/2014/main" id="{4F39DCD1-1E75-40EA-102F-C5DDD13D85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title" hasCustomPrompt="1"/>
          </p:nvPr>
        </p:nvSpPr>
        <p:spPr>
          <a:xfrm>
            <a:off x="630238" y="274638"/>
            <a:ext cx="7886700" cy="993775"/>
          </a:xfrm>
        </p:spPr>
        <p:txBody>
          <a:bodyPr vert="horz"/>
          <a:lstStyle>
            <a:lvl1pPr rtl="0">
              <a:defRPr/>
            </a:lvl1pPr>
          </a:lstStyle>
          <a:p>
            <a:r>
              <a:rPr lang="af-ZA"/>
              <a:t>Muokkaa perustyyl. napsautt.</a:t>
            </a:r>
          </a:p>
        </p:txBody>
      </p:sp>
      <p:sp>
        <p:nvSpPr>
          <p:cNvPr id="3" name="Tekstin paikkamerkki 2"/>
          <p:cNvSpPr>
            <a:spLocks noGrp="1"/>
          </p:cNvSpPr>
          <p:nvPr>
            <p:ph type="body" idx="1" hasCustomPrompt="1"/>
          </p:nvPr>
        </p:nvSpPr>
        <p:spPr>
          <a:xfrm>
            <a:off x="630238" y="1260475"/>
            <a:ext cx="3868737" cy="619125"/>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f-ZA"/>
              <a:t>Muokkaa tekstin perustyylejä</a:t>
            </a:r>
          </a:p>
        </p:txBody>
      </p:sp>
      <p:sp>
        <p:nvSpPr>
          <p:cNvPr id="4" name="Sisällön paikkamerkki 3"/>
          <p:cNvSpPr>
            <a:spLocks noGrp="1"/>
          </p:cNvSpPr>
          <p:nvPr>
            <p:ph sz="half" idx="2" hasCustomPrompt="1"/>
          </p:nvPr>
        </p:nvSpPr>
        <p:spPr>
          <a:xfrm>
            <a:off x="630238" y="1879600"/>
            <a:ext cx="3868737" cy="2762250"/>
          </a:xfrm>
        </p:spPr>
        <p:txBody>
          <a:bodyPr/>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5" name="Tekstin paikkamerkki 4"/>
          <p:cNvSpPr>
            <a:spLocks noGrp="1"/>
          </p:cNvSpPr>
          <p:nvPr>
            <p:ph type="body" sz="quarter" idx="3" hasCustomPrompt="1"/>
          </p:nvPr>
        </p:nvSpPr>
        <p:spPr>
          <a:xfrm>
            <a:off x="4629150" y="1260475"/>
            <a:ext cx="3887788" cy="619125"/>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af-ZA"/>
              <a:t>Muokkaa tekstin perustyylejä</a:t>
            </a:r>
          </a:p>
        </p:txBody>
      </p:sp>
      <p:sp>
        <p:nvSpPr>
          <p:cNvPr id="6" name="Sisällön paikkamerkki 5"/>
          <p:cNvSpPr>
            <a:spLocks noGrp="1"/>
          </p:cNvSpPr>
          <p:nvPr>
            <p:ph sz="quarter" idx="4" hasCustomPrompt="1"/>
          </p:nvPr>
        </p:nvSpPr>
        <p:spPr>
          <a:xfrm>
            <a:off x="4629150" y="1879600"/>
            <a:ext cx="3887788" cy="2762250"/>
          </a:xfrm>
        </p:spPr>
        <p:txBody>
          <a:bodyPr/>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7" name="Päivämäärän paikkamerkki 6"/>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8" name="Alatunnisteen paikkamerkki 7"/>
          <p:cNvSpPr>
            <a:spLocks noGrp="1"/>
          </p:cNvSpPr>
          <p:nvPr>
            <p:ph type="ftr" sz="quarter" idx="11"/>
          </p:nvPr>
        </p:nvSpPr>
        <p:spPr/>
        <p:txBody>
          <a:bodyPr/>
          <a:lstStyle>
            <a:lvl1pPr rtl="0">
              <a:defRPr/>
            </a:lvl1pPr>
          </a:lstStyle>
          <a:p>
            <a:endParaRPr lang="af-ZA"/>
          </a:p>
        </p:txBody>
      </p:sp>
      <p:sp>
        <p:nvSpPr>
          <p:cNvPr id="9" name="Dian numeron paikkamerkki 8"/>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22518205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DC3DB0-DDAA-7495-7741-9900E39786CF}"/>
              </a:ext>
            </a:extLst>
          </p:cNvPr>
          <p:cNvGraphicFramePr>
            <a:graphicFrameLocks noChangeAspect="1"/>
          </p:cNvGraphicFramePr>
          <p:nvPr userDrawn="1">
            <p:custDataLst>
              <p:tags r:id="rId1"/>
            </p:custDataLst>
            <p:extLst>
              <p:ext uri="{D42A27DB-BD31-4B8C-83A1-F6EECF244321}">
                <p14:modId xmlns:p14="http://schemas.microsoft.com/office/powerpoint/2010/main" val="1915174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think-cell data - do not delete" hidden="1">
                        <a:extLst>
                          <a:ext uri="{FF2B5EF4-FFF2-40B4-BE49-F238E27FC236}">
                            <a16:creationId xmlns:a16="http://schemas.microsoft.com/office/drawing/2014/main" id="{14DC3DB0-DDAA-7495-7741-9900E39786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title" hasCustomPrompt="1"/>
          </p:nvPr>
        </p:nvSpPr>
        <p:spPr/>
        <p:txBody>
          <a:bodyPr vert="horz"/>
          <a:lstStyle>
            <a:lvl1pPr rtl="0">
              <a:defRPr/>
            </a:lvl1pPr>
          </a:lstStyle>
          <a:p>
            <a:r>
              <a:rPr lang="af-ZA"/>
              <a:t>Muokkaa perustyyl. napsautt.</a:t>
            </a:r>
          </a:p>
        </p:txBody>
      </p:sp>
      <p:sp>
        <p:nvSpPr>
          <p:cNvPr id="3" name="Päivämäärän paikkamerkki 2"/>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4" name="Alatunnisteen paikkamerkki 3"/>
          <p:cNvSpPr>
            <a:spLocks noGrp="1"/>
          </p:cNvSpPr>
          <p:nvPr>
            <p:ph type="ftr" sz="quarter" idx="11"/>
          </p:nvPr>
        </p:nvSpPr>
        <p:spPr/>
        <p:txBody>
          <a:bodyPr/>
          <a:lstStyle>
            <a:lvl1pPr rtl="0">
              <a:defRPr/>
            </a:lvl1pPr>
          </a:lstStyle>
          <a:p>
            <a:endParaRPr lang="af-ZA"/>
          </a:p>
        </p:txBody>
      </p:sp>
      <p:sp>
        <p:nvSpPr>
          <p:cNvPr id="5" name="Dian numeron paikkamerkki 4"/>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10414654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A5BF317-F112-EC5F-7B1F-2B3ED022727E}"/>
              </a:ext>
            </a:extLst>
          </p:cNvPr>
          <p:cNvGraphicFramePr>
            <a:graphicFrameLocks noChangeAspect="1"/>
          </p:cNvGraphicFramePr>
          <p:nvPr userDrawn="1">
            <p:custDataLst>
              <p:tags r:id="rId1"/>
            </p:custDataLst>
            <p:extLst>
              <p:ext uri="{D42A27DB-BD31-4B8C-83A1-F6EECF244321}">
                <p14:modId xmlns:p14="http://schemas.microsoft.com/office/powerpoint/2010/main" val="675601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think-cell data - do not delete" hidden="1">
                        <a:extLst>
                          <a:ext uri="{FF2B5EF4-FFF2-40B4-BE49-F238E27FC236}">
                            <a16:creationId xmlns:a16="http://schemas.microsoft.com/office/drawing/2014/main" id="{3A5BF317-F112-EC5F-7B1F-2B3ED02272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äivämäärän paikkamerkki 1"/>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3" name="Alatunnisteen paikkamerkki 2"/>
          <p:cNvSpPr>
            <a:spLocks noGrp="1"/>
          </p:cNvSpPr>
          <p:nvPr>
            <p:ph type="ftr" sz="quarter" idx="11"/>
          </p:nvPr>
        </p:nvSpPr>
        <p:spPr/>
        <p:txBody>
          <a:bodyPr/>
          <a:lstStyle>
            <a:lvl1pPr rtl="0">
              <a:defRPr/>
            </a:lvl1pPr>
          </a:lstStyle>
          <a:p>
            <a:endParaRPr lang="af-ZA"/>
          </a:p>
        </p:txBody>
      </p:sp>
      <p:sp>
        <p:nvSpPr>
          <p:cNvPr id="4" name="Dian numeron paikkamerkki 3"/>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33152050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B2DB9D0-411D-C429-FDDE-BBDC00DFBBA3}"/>
              </a:ext>
            </a:extLst>
          </p:cNvPr>
          <p:cNvGraphicFramePr>
            <a:graphicFrameLocks noChangeAspect="1"/>
          </p:cNvGraphicFramePr>
          <p:nvPr userDrawn="1">
            <p:custDataLst>
              <p:tags r:id="rId1"/>
            </p:custDataLst>
            <p:extLst>
              <p:ext uri="{D42A27DB-BD31-4B8C-83A1-F6EECF244321}">
                <p14:modId xmlns:p14="http://schemas.microsoft.com/office/powerpoint/2010/main" val="2052778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EB2DB9D0-411D-C429-FDDE-BBDC00DFBB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title" hasCustomPrompt="1"/>
          </p:nvPr>
        </p:nvSpPr>
        <p:spPr>
          <a:xfrm>
            <a:off x="630238" y="342900"/>
            <a:ext cx="2949575" cy="1200150"/>
          </a:xfrm>
        </p:spPr>
        <p:txBody>
          <a:bodyPr vert="horz" anchor="b"/>
          <a:lstStyle>
            <a:lvl1pPr rtl="0">
              <a:defRPr sz="3200"/>
            </a:lvl1pPr>
          </a:lstStyle>
          <a:p>
            <a:r>
              <a:rPr lang="af-ZA"/>
              <a:t>Muokkaa perustyyl. napsautt.</a:t>
            </a:r>
          </a:p>
        </p:txBody>
      </p:sp>
      <p:sp>
        <p:nvSpPr>
          <p:cNvPr id="3" name="Sisällön paikkamerkki 2"/>
          <p:cNvSpPr>
            <a:spLocks noGrp="1"/>
          </p:cNvSpPr>
          <p:nvPr>
            <p:ph idx="1" hasCustomPrompt="1"/>
          </p:nvPr>
        </p:nvSpPr>
        <p:spPr>
          <a:xfrm>
            <a:off x="3887788" y="741363"/>
            <a:ext cx="4629150" cy="36544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4" name="Tekstin paikkamerkki 3"/>
          <p:cNvSpPr>
            <a:spLocks noGrp="1"/>
          </p:cNvSpPr>
          <p:nvPr>
            <p:ph type="body" sz="half" idx="2" hasCustomPrompt="1"/>
          </p:nvPr>
        </p:nvSpPr>
        <p:spPr>
          <a:xfrm>
            <a:off x="630238" y="1543050"/>
            <a:ext cx="2949575" cy="28590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af-ZA"/>
              <a:t>Muokkaa tekstin perustyylejä</a:t>
            </a:r>
          </a:p>
        </p:txBody>
      </p:sp>
      <p:sp>
        <p:nvSpPr>
          <p:cNvPr id="5" name="Päivämäärän paikkamerkki 4"/>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6" name="Alatunnisteen paikkamerkki 5"/>
          <p:cNvSpPr>
            <a:spLocks noGrp="1"/>
          </p:cNvSpPr>
          <p:nvPr>
            <p:ph type="ftr" sz="quarter" idx="11"/>
          </p:nvPr>
        </p:nvSpPr>
        <p:spPr/>
        <p:txBody>
          <a:bodyPr/>
          <a:lstStyle>
            <a:lvl1pPr rtl="0">
              <a:defRPr/>
            </a:lvl1pPr>
          </a:lstStyle>
          <a:p>
            <a:endParaRPr lang="af-ZA"/>
          </a:p>
        </p:txBody>
      </p:sp>
      <p:sp>
        <p:nvSpPr>
          <p:cNvPr id="7" name="Dian numeron paikkamerkki 6"/>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19377529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B20E476-587A-13B4-070D-B1E3B1B25EED}"/>
              </a:ext>
            </a:extLst>
          </p:cNvPr>
          <p:cNvGraphicFramePr>
            <a:graphicFrameLocks noChangeAspect="1"/>
          </p:cNvGraphicFramePr>
          <p:nvPr userDrawn="1">
            <p:custDataLst>
              <p:tags r:id="rId1"/>
            </p:custDataLst>
            <p:extLst>
              <p:ext uri="{D42A27DB-BD31-4B8C-83A1-F6EECF244321}">
                <p14:modId xmlns:p14="http://schemas.microsoft.com/office/powerpoint/2010/main" val="1991470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BB20E476-587A-13B4-070D-B1E3B1B25E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title" hasCustomPrompt="1"/>
          </p:nvPr>
        </p:nvSpPr>
        <p:spPr>
          <a:xfrm>
            <a:off x="630238" y="342900"/>
            <a:ext cx="2949575" cy="1200150"/>
          </a:xfrm>
        </p:spPr>
        <p:txBody>
          <a:bodyPr vert="horz" anchor="b"/>
          <a:lstStyle>
            <a:lvl1pPr rtl="0">
              <a:defRPr sz="3200"/>
            </a:lvl1pPr>
          </a:lstStyle>
          <a:p>
            <a:r>
              <a:rPr lang="af-ZA"/>
              <a:t>Muokkaa perustyyl. napsautt.</a:t>
            </a:r>
          </a:p>
        </p:txBody>
      </p:sp>
      <p:sp>
        <p:nvSpPr>
          <p:cNvPr id="3" name="Kuvan paikkamerkki 2"/>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kstin paikkamerkki 3"/>
          <p:cNvSpPr>
            <a:spLocks noGrp="1"/>
          </p:cNvSpPr>
          <p:nvPr>
            <p:ph type="body" sz="half" idx="2" hasCustomPrompt="1"/>
          </p:nvPr>
        </p:nvSpPr>
        <p:spPr>
          <a:xfrm>
            <a:off x="630238" y="1543050"/>
            <a:ext cx="2949575" cy="28590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af-ZA"/>
              <a:t>Muokkaa tekstin perustyylejä</a:t>
            </a:r>
          </a:p>
        </p:txBody>
      </p:sp>
      <p:sp>
        <p:nvSpPr>
          <p:cNvPr id="5" name="Päivämäärän paikkamerkki 4"/>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6" name="Alatunnisteen paikkamerkki 5"/>
          <p:cNvSpPr>
            <a:spLocks noGrp="1"/>
          </p:cNvSpPr>
          <p:nvPr>
            <p:ph type="ftr" sz="quarter" idx="11"/>
          </p:nvPr>
        </p:nvSpPr>
        <p:spPr/>
        <p:txBody>
          <a:bodyPr/>
          <a:lstStyle>
            <a:lvl1pPr rtl="0">
              <a:defRPr/>
            </a:lvl1pPr>
          </a:lstStyle>
          <a:p>
            <a:endParaRPr lang="af-ZA"/>
          </a:p>
        </p:txBody>
      </p:sp>
      <p:sp>
        <p:nvSpPr>
          <p:cNvPr id="7" name="Dian numeron paikkamerkki 6"/>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11043322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8799282-BC6B-7F6D-1696-D96080B6122E}"/>
              </a:ext>
            </a:extLst>
          </p:cNvPr>
          <p:cNvGraphicFramePr>
            <a:graphicFrameLocks noChangeAspect="1"/>
          </p:cNvGraphicFramePr>
          <p:nvPr userDrawn="1">
            <p:custDataLst>
              <p:tags r:id="rId1"/>
            </p:custDataLst>
            <p:extLst>
              <p:ext uri="{D42A27DB-BD31-4B8C-83A1-F6EECF244321}">
                <p14:modId xmlns:p14="http://schemas.microsoft.com/office/powerpoint/2010/main" val="1036176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B8799282-BC6B-7F6D-1696-D96080B612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title" hasCustomPrompt="1"/>
          </p:nvPr>
        </p:nvSpPr>
        <p:spPr/>
        <p:txBody>
          <a:bodyPr vert="horz"/>
          <a:lstStyle>
            <a:lvl1pPr rtl="0">
              <a:defRPr/>
            </a:lvl1pPr>
          </a:lstStyle>
          <a:p>
            <a:r>
              <a:rPr lang="af-ZA"/>
              <a:t>Muokkaa perustyyl. napsautt.</a:t>
            </a:r>
          </a:p>
        </p:txBody>
      </p:sp>
      <p:sp>
        <p:nvSpPr>
          <p:cNvPr id="3" name="Pystysuoran tekstin paikkamerkki 2"/>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4" name="Päivämäärän paikkamerkki 3"/>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5" name="Alatunnisteen paikkamerkki 4"/>
          <p:cNvSpPr>
            <a:spLocks noGrp="1"/>
          </p:cNvSpPr>
          <p:nvPr>
            <p:ph type="ftr" sz="quarter" idx="11"/>
          </p:nvPr>
        </p:nvSpPr>
        <p:spPr/>
        <p:txBody>
          <a:bodyPr/>
          <a:lstStyle>
            <a:lvl1pPr rtl="0">
              <a:defRPr/>
            </a:lvl1pPr>
          </a:lstStyle>
          <a:p>
            <a:endParaRPr lang="af-ZA"/>
          </a:p>
        </p:txBody>
      </p:sp>
      <p:sp>
        <p:nvSpPr>
          <p:cNvPr id="6" name="Dian numeron paikkamerkki 5"/>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1633102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E910512-800C-F669-3069-A4356D0E5F40}"/>
              </a:ext>
            </a:extLst>
          </p:cNvPr>
          <p:cNvGraphicFramePr>
            <a:graphicFrameLocks noChangeAspect="1"/>
          </p:cNvGraphicFramePr>
          <p:nvPr userDrawn="1">
            <p:custDataLst>
              <p:tags r:id="rId1"/>
            </p:custDataLst>
            <p:extLst>
              <p:ext uri="{D42A27DB-BD31-4B8C-83A1-F6EECF244321}">
                <p14:modId xmlns:p14="http://schemas.microsoft.com/office/powerpoint/2010/main" val="2015716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7E910512-800C-F669-3069-A4356D0E5F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ystysuora otsikko 1"/>
          <p:cNvSpPr>
            <a:spLocks noGrp="1"/>
          </p:cNvSpPr>
          <p:nvPr>
            <p:ph type="title" orient="vert" hasCustomPrompt="1"/>
          </p:nvPr>
        </p:nvSpPr>
        <p:spPr>
          <a:xfrm>
            <a:off x="6543675" y="274638"/>
            <a:ext cx="1971675" cy="4357687"/>
          </a:xfrm>
        </p:spPr>
        <p:txBody>
          <a:bodyPr vert="eaVert"/>
          <a:lstStyle>
            <a:lvl1pPr rtl="0">
              <a:defRPr/>
            </a:lvl1pPr>
          </a:lstStyle>
          <a:p>
            <a:r>
              <a:rPr lang="af-ZA"/>
              <a:t>Muokkaa perustyyl. napsautt.</a:t>
            </a:r>
          </a:p>
        </p:txBody>
      </p:sp>
      <p:sp>
        <p:nvSpPr>
          <p:cNvPr id="3" name="Pystysuoran tekstin paikkamerkki 2"/>
          <p:cNvSpPr>
            <a:spLocks noGrp="1"/>
          </p:cNvSpPr>
          <p:nvPr>
            <p:ph type="body" orient="vert" idx="1" hasCustomPrompt="1"/>
          </p:nvPr>
        </p:nvSpPr>
        <p:spPr>
          <a:xfrm>
            <a:off x="628650" y="274638"/>
            <a:ext cx="5762625" cy="4357687"/>
          </a:xfrm>
        </p:spPr>
        <p:txBody>
          <a:bodyPr vert="eaVert"/>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4" name="Päivämäärän paikkamerkki 3"/>
          <p:cNvSpPr>
            <a:spLocks noGrp="1"/>
          </p:cNvSpPr>
          <p:nvPr>
            <p:ph type="dt" sz="half" idx="10"/>
          </p:nvPr>
        </p:nvSpPr>
        <p:spPr/>
        <p:txBody>
          <a:bodyPr/>
          <a:lstStyle>
            <a:lvl1pPr rtl="0">
              <a:defRPr/>
            </a:lvl1pPr>
          </a:lstStyle>
          <a:p>
            <a:fld id="{E65D78B3-2EFA-425A-AE02-B135B5EE2BC1}" type="datetimeFigureOut">
              <a:rPr lang="af-ZA" smtClean="0"/>
              <a:pPr/>
              <a:t>2024-12-09</a:t>
            </a:fld>
            <a:endParaRPr lang="af-ZA"/>
          </a:p>
        </p:txBody>
      </p:sp>
      <p:sp>
        <p:nvSpPr>
          <p:cNvPr id="5" name="Alatunnisteen paikkamerkki 4"/>
          <p:cNvSpPr>
            <a:spLocks noGrp="1"/>
          </p:cNvSpPr>
          <p:nvPr>
            <p:ph type="ftr" sz="quarter" idx="11"/>
          </p:nvPr>
        </p:nvSpPr>
        <p:spPr/>
        <p:txBody>
          <a:bodyPr/>
          <a:lstStyle>
            <a:lvl1pPr rtl="0">
              <a:defRPr/>
            </a:lvl1pPr>
          </a:lstStyle>
          <a:p>
            <a:endParaRPr lang="af-ZA"/>
          </a:p>
        </p:txBody>
      </p:sp>
      <p:sp>
        <p:nvSpPr>
          <p:cNvPr id="6" name="Dian numeron paikkamerkki 5"/>
          <p:cNvSpPr>
            <a:spLocks noGrp="1"/>
          </p:cNvSpPr>
          <p:nvPr>
            <p:ph type="sldNum" sz="quarter" idx="12"/>
          </p:nvPr>
        </p:nvSpPr>
        <p:spPr/>
        <p:txBody>
          <a:bodyPr/>
          <a:lstStyle>
            <a:lvl1pPr rtl="0">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26953136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Otsikkodia kaare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7626CB-894C-6E3E-CCE4-67BFACBDF16E}"/>
              </a:ext>
            </a:extLst>
          </p:cNvPr>
          <p:cNvGraphicFramePr>
            <a:graphicFrameLocks noChangeAspect="1"/>
          </p:cNvGraphicFramePr>
          <p:nvPr userDrawn="1">
            <p:custDataLst>
              <p:tags r:id="rId1"/>
            </p:custDataLst>
            <p:extLst>
              <p:ext uri="{D42A27DB-BD31-4B8C-83A1-F6EECF244321}">
                <p14:modId xmlns:p14="http://schemas.microsoft.com/office/powerpoint/2010/main" val="97289596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777626CB-894C-6E3E-CCE4-67BFACBDF16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rgbClr val="E6F3E9"/>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wrap="square" anchor="b">
            <a:noAutofit/>
          </a:bodyPr>
          <a:lstStyle>
            <a:lvl1pPr algn="l" rtl="0">
              <a:lnSpc>
                <a:spcPts val="3000"/>
              </a:lnSpc>
              <a:defRPr sz="3000">
                <a:latin typeface="Arial Nova Light" panose="020B0304020202020204" pitchFamily="34" charset="0"/>
              </a:defRPr>
            </a:lvl1pPr>
          </a:lstStyle>
          <a:p>
            <a:endParaRPr lang="af-ZA"/>
          </a:p>
        </p:txBody>
      </p:sp>
      <p:pic>
        <p:nvPicPr>
          <p:cNvPr id="4" name="Picture 4" descr="Logo&#10;&#10;Description automatically generated">
            <a:extLst>
              <a:ext uri="{FF2B5EF4-FFF2-40B4-BE49-F238E27FC236}">
                <a16:creationId xmlns:a16="http://schemas.microsoft.com/office/drawing/2014/main" id="{AB63EA70-EAB7-3EA1-23F8-F76F6B74A03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
        <p:nvSpPr>
          <p:cNvPr id="6" name="Alaotsikko 2">
            <a:extLst>
              <a:ext uri="{FF2B5EF4-FFF2-40B4-BE49-F238E27FC236}">
                <a16:creationId xmlns:a16="http://schemas.microsoft.com/office/drawing/2014/main" id="{C972F7EA-AF28-866B-6739-EEAA8937FBFA}"/>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spTree>
    <p:extLst>
      <p:ext uri="{BB962C8B-B14F-4D97-AF65-F5344CB8AC3E}">
        <p14:creationId xmlns:p14="http://schemas.microsoft.com/office/powerpoint/2010/main" val="1214457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Otsikkodia kaaret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8008C6-ED63-CBDE-E6D9-B982820BCDA3}"/>
              </a:ext>
            </a:extLst>
          </p:cNvPr>
          <p:cNvGraphicFramePr>
            <a:graphicFrameLocks noChangeAspect="1"/>
          </p:cNvGraphicFramePr>
          <p:nvPr userDrawn="1">
            <p:custDataLst>
              <p:tags r:id="rId1"/>
            </p:custDataLst>
            <p:extLst>
              <p:ext uri="{D42A27DB-BD31-4B8C-83A1-F6EECF244321}">
                <p14:modId xmlns:p14="http://schemas.microsoft.com/office/powerpoint/2010/main" val="11699650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78008C6-ED63-CBDE-E6D9-B982820BCDA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rgbClr val="FDF5F2"/>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vert="horz" wrap="square" lIns="91440" tIns="45720" rIns="91440" bIns="45720" rtlCol="0" anchor="b">
            <a:noAutofit/>
          </a:bodyPr>
          <a:lstStyle>
            <a:lvl1pPr rtl="0">
              <a:defRPr lang="fi-FI" sz="3000" dirty="0">
                <a:latin typeface="Arial Nova Light" panose="020B0304020202020204" pitchFamily="34" charset="0"/>
              </a:defRPr>
            </a:lvl1pPr>
          </a:lstStyle>
          <a:p>
            <a:pPr lvl="0">
              <a:lnSpc>
                <a:spcPts val="3000"/>
              </a:lnSpc>
            </a:pPr>
            <a:endParaRPr lang="af-ZA"/>
          </a:p>
        </p:txBody>
      </p:sp>
      <p:sp>
        <p:nvSpPr>
          <p:cNvPr id="3" name="Alaotsikko 2">
            <a:extLst>
              <a:ext uri="{FF2B5EF4-FFF2-40B4-BE49-F238E27FC236}">
                <a16:creationId xmlns:a16="http://schemas.microsoft.com/office/drawing/2014/main" id="{4450810A-C251-0A07-4BAA-6E21DA1FA879}"/>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pic>
        <p:nvPicPr>
          <p:cNvPr id="4" name="Picture 4" descr="Logo&#10;&#10;Description automatically generated">
            <a:extLst>
              <a:ext uri="{FF2B5EF4-FFF2-40B4-BE49-F238E27FC236}">
                <a16:creationId xmlns:a16="http://schemas.microsoft.com/office/drawing/2014/main" id="{3F2D702C-D2E6-69B4-9576-F07B874A3F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Tree>
    <p:extLst>
      <p:ext uri="{BB962C8B-B14F-4D97-AF65-F5344CB8AC3E}">
        <p14:creationId xmlns:p14="http://schemas.microsoft.com/office/powerpoint/2010/main" val="3066910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Otsikkodia kaaret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8008C6-ED63-CBDE-E6D9-B982820BCDA3}"/>
              </a:ext>
            </a:extLst>
          </p:cNvPr>
          <p:cNvGraphicFramePr>
            <a:graphicFrameLocks noChangeAspect="1"/>
          </p:cNvGraphicFramePr>
          <p:nvPr userDrawn="1">
            <p:custDataLst>
              <p:tags r:id="rId1"/>
            </p:custDataLst>
            <p:extLst>
              <p:ext uri="{D42A27DB-BD31-4B8C-83A1-F6EECF244321}">
                <p14:modId xmlns:p14="http://schemas.microsoft.com/office/powerpoint/2010/main" val="22129128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78008C6-ED63-CBDE-E6D9-B982820BCDA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chemeClr val="accent2">
              <a:lumMod val="20000"/>
              <a:lumOff val="80000"/>
            </a:schemeClr>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vert="horz" wrap="square" lIns="91440" tIns="45720" rIns="91440" bIns="45720" rtlCol="0" anchor="b">
            <a:noAutofit/>
          </a:bodyPr>
          <a:lstStyle>
            <a:lvl1pPr rtl="0">
              <a:defRPr lang="fi-FI" sz="3000" dirty="0">
                <a:latin typeface="Arial Nova Light" panose="020B0304020202020204" pitchFamily="34" charset="0"/>
              </a:defRPr>
            </a:lvl1pPr>
          </a:lstStyle>
          <a:p>
            <a:pPr lvl="0">
              <a:lnSpc>
                <a:spcPts val="3000"/>
              </a:lnSpc>
            </a:pPr>
            <a:endParaRPr lang="af-ZA"/>
          </a:p>
        </p:txBody>
      </p:sp>
      <p:sp>
        <p:nvSpPr>
          <p:cNvPr id="3" name="Alaotsikko 2">
            <a:extLst>
              <a:ext uri="{FF2B5EF4-FFF2-40B4-BE49-F238E27FC236}">
                <a16:creationId xmlns:a16="http://schemas.microsoft.com/office/drawing/2014/main" id="{4450810A-C251-0A07-4BAA-6E21DA1FA879}"/>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pic>
        <p:nvPicPr>
          <p:cNvPr id="4" name="Picture 4" descr="Logo&#10;&#10;Description automatically generated">
            <a:extLst>
              <a:ext uri="{FF2B5EF4-FFF2-40B4-BE49-F238E27FC236}">
                <a16:creationId xmlns:a16="http://schemas.microsoft.com/office/drawing/2014/main" id="{3F2D702C-D2E6-69B4-9576-F07B874A3F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Tree>
    <p:extLst>
      <p:ext uri="{BB962C8B-B14F-4D97-AF65-F5344CB8AC3E}">
        <p14:creationId xmlns:p14="http://schemas.microsoft.com/office/powerpoint/2010/main" val="1922472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ertailu">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861001F-A5F3-478F-7450-EB3357B14B6B}"/>
              </a:ext>
            </a:extLst>
          </p:cNvPr>
          <p:cNvGraphicFramePr>
            <a:graphicFrameLocks noChangeAspect="1"/>
          </p:cNvGraphicFramePr>
          <p:nvPr userDrawn="1">
            <p:custDataLst>
              <p:tags r:id="rId1"/>
            </p:custDataLst>
            <p:extLst>
              <p:ext uri="{D42A27DB-BD31-4B8C-83A1-F6EECF244321}">
                <p14:modId xmlns:p14="http://schemas.microsoft.com/office/powerpoint/2010/main" val="2022705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1" name="think-cell data - do not delete" hidden="1">
                        <a:extLst>
                          <a:ext uri="{FF2B5EF4-FFF2-40B4-BE49-F238E27FC236}">
                            <a16:creationId xmlns:a16="http://schemas.microsoft.com/office/drawing/2014/main" id="{F861001F-A5F3-478F-7450-EB3357B14B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29841" y="397462"/>
            <a:ext cx="7201826" cy="746936"/>
          </a:xfrm>
        </p:spPr>
        <p:txBody>
          <a:bodyPr vert="horz"/>
          <a:lstStyle>
            <a:lvl1pPr rtl="0">
              <a:defRPr/>
            </a:lvl1pPr>
          </a:lstStyle>
          <a:p>
            <a:r>
              <a:rPr lang="af-ZA"/>
              <a:t>Muokkaa perustyyl. napsautt.</a:t>
            </a:r>
          </a:p>
        </p:txBody>
      </p:sp>
      <p:sp>
        <p:nvSpPr>
          <p:cNvPr id="3" name="Text Placeholder 2"/>
          <p:cNvSpPr>
            <a:spLocks noGrp="1"/>
          </p:cNvSpPr>
          <p:nvPr>
            <p:ph type="body" idx="1" hasCustomPrompt="1"/>
          </p:nvPr>
        </p:nvSpPr>
        <p:spPr>
          <a:xfrm>
            <a:off x="629842" y="1144398"/>
            <a:ext cx="3868340" cy="464263"/>
          </a:xfrm>
        </p:spPr>
        <p:txBody>
          <a:bodyPr anchor="b"/>
          <a:lstStyle>
            <a:lvl1pPr marL="0" indent="0" rtl="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af-ZA"/>
              <a:t>Muokkaa tekstin perustyylejä</a:t>
            </a:r>
          </a:p>
        </p:txBody>
      </p:sp>
      <p:sp>
        <p:nvSpPr>
          <p:cNvPr id="4" name="Content Placeholder 3"/>
          <p:cNvSpPr>
            <a:spLocks noGrp="1"/>
          </p:cNvSpPr>
          <p:nvPr>
            <p:ph sz="half" idx="2" hasCustomPrompt="1"/>
          </p:nvPr>
        </p:nvSpPr>
        <p:spPr>
          <a:xfrm>
            <a:off x="629842" y="1715511"/>
            <a:ext cx="3868340" cy="2764413"/>
          </a:xfrm>
        </p:spPr>
        <p:txBody>
          <a:bodyPr/>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5" name="Text Placeholder 4"/>
          <p:cNvSpPr>
            <a:spLocks noGrp="1"/>
          </p:cNvSpPr>
          <p:nvPr>
            <p:ph type="body" sz="quarter" idx="3" hasCustomPrompt="1"/>
          </p:nvPr>
        </p:nvSpPr>
        <p:spPr>
          <a:xfrm>
            <a:off x="4629152" y="1144398"/>
            <a:ext cx="3887391" cy="464263"/>
          </a:xfrm>
        </p:spPr>
        <p:txBody>
          <a:bodyPr anchor="b"/>
          <a:lstStyle>
            <a:lvl1pPr marL="0" indent="0" rtl="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af-ZA"/>
              <a:t>Muokkaa tekstin perustyylejä</a:t>
            </a:r>
          </a:p>
        </p:txBody>
      </p:sp>
      <p:sp>
        <p:nvSpPr>
          <p:cNvPr id="6" name="Content Placeholder 5"/>
          <p:cNvSpPr>
            <a:spLocks noGrp="1"/>
          </p:cNvSpPr>
          <p:nvPr>
            <p:ph sz="quarter" idx="4" hasCustomPrompt="1"/>
          </p:nvPr>
        </p:nvSpPr>
        <p:spPr>
          <a:xfrm>
            <a:off x="4629152" y="1608661"/>
            <a:ext cx="3887391" cy="2871264"/>
          </a:xfrm>
        </p:spPr>
        <p:txBody>
          <a:bodyPr/>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9" name="Footer Placeholder 8"/>
          <p:cNvSpPr>
            <a:spLocks noGrp="1"/>
          </p:cNvSpPr>
          <p:nvPr>
            <p:ph type="ftr" sz="quarter" idx="11"/>
          </p:nvPr>
        </p:nvSpPr>
        <p:spPr/>
        <p:txBody>
          <a:bodyPr/>
          <a:lstStyle>
            <a:lvl1pPr rtl="0">
              <a:defRPr/>
            </a:lvl1pPr>
          </a:lstStyle>
          <a:p>
            <a:r>
              <a:rPr lang="af-ZA"/>
              <a:t>Työ- ja elinkeinoministeriö • www.tem.fi</a:t>
            </a:r>
          </a:p>
        </p:txBody>
      </p:sp>
      <p:sp>
        <p:nvSpPr>
          <p:cNvPr id="8" name="Date Placeholder 7"/>
          <p:cNvSpPr>
            <a:spLocks noGrp="1"/>
          </p:cNvSpPr>
          <p:nvPr>
            <p:ph type="dt" sz="half" idx="10"/>
          </p:nvPr>
        </p:nvSpPr>
        <p:spPr/>
        <p:txBody>
          <a:bodyPr/>
          <a:lstStyle>
            <a:lvl1pPr rtl="0">
              <a:defRPr/>
            </a:lvl1pPr>
          </a:lstStyle>
          <a:p>
            <a:fld id="{E6F78301-0B2F-DD49-84BB-AA91E35A26A2}" type="datetime1">
              <a:rPr lang="af-ZA" smtClean="0"/>
              <a:pPr/>
              <a:t>2024-12-09</a:t>
            </a:fld>
            <a:endParaRPr lang="af-ZA"/>
          </a:p>
        </p:txBody>
      </p:sp>
      <p:sp>
        <p:nvSpPr>
          <p:cNvPr id="13" name="Slide Number Placeholder 12"/>
          <p:cNvSpPr>
            <a:spLocks noGrp="1"/>
          </p:cNvSpPr>
          <p:nvPr>
            <p:ph type="sldNum" sz="quarter" idx="12"/>
          </p:nvPr>
        </p:nvSpPr>
        <p:spPr/>
        <p:txBody>
          <a:bodyPr/>
          <a:lstStyle>
            <a:lvl1pPr rtl="0">
              <a:defRPr/>
            </a:lvl1pPr>
          </a:lstStyle>
          <a:p>
            <a:fld id="{3065C9E5-8AC3-DF4B-BA99-CB03B9370A98}" type="slidenum">
              <a:rPr lang="af-ZA" smtClean="0"/>
              <a:pPr/>
              <a:t>‹#›</a:t>
            </a:fld>
            <a:endParaRPr lang="af-ZA"/>
          </a:p>
        </p:txBody>
      </p:sp>
      <p:pic>
        <p:nvPicPr>
          <p:cNvPr id="10" name="Picture 9">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spTree>
    <p:extLst>
      <p:ext uri="{BB962C8B-B14F-4D97-AF65-F5344CB8AC3E}">
        <p14:creationId xmlns:p14="http://schemas.microsoft.com/office/powerpoint/2010/main" val="509312521"/>
      </p:ext>
    </p:extLst>
  </p:cSld>
  <p:clrMapOvr>
    <a:masterClrMapping/>
  </p:clrMapOvr>
  <p:extLst>
    <p:ext uri="{DCECCB84-F9BA-43D5-87BE-67443E8EF086}">
      <p15:sldGuideLst xmlns:p15="http://schemas.microsoft.com/office/powerpoint/2012/main">
        <p15:guide id="1" pos="385" userDrawn="1">
          <p15:clr>
            <a:srgbClr val="FBAE40"/>
          </p15:clr>
        </p15:guide>
        <p15:guide id="2" orient="horz" pos="37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Otsikkodia kaaret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8008C6-ED63-CBDE-E6D9-B982820BCDA3}"/>
              </a:ext>
            </a:extLst>
          </p:cNvPr>
          <p:cNvGraphicFramePr>
            <a:graphicFrameLocks noChangeAspect="1"/>
          </p:cNvGraphicFramePr>
          <p:nvPr userDrawn="1">
            <p:custDataLst>
              <p:tags r:id="rId1"/>
            </p:custDataLst>
            <p:extLst>
              <p:ext uri="{D42A27DB-BD31-4B8C-83A1-F6EECF244321}">
                <p14:modId xmlns:p14="http://schemas.microsoft.com/office/powerpoint/2010/main" val="36593244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78008C6-ED63-CBDE-E6D9-B982820BCDA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chemeClr val="accent5">
              <a:lumMod val="20000"/>
              <a:lumOff val="80000"/>
            </a:schemeClr>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vert="horz" wrap="square" lIns="91440" tIns="45720" rIns="91440" bIns="45720" rtlCol="0" anchor="b">
            <a:noAutofit/>
          </a:bodyPr>
          <a:lstStyle>
            <a:lvl1pPr rtl="0">
              <a:defRPr lang="fi-FI" sz="3000" dirty="0">
                <a:latin typeface="Arial Nova Light" panose="020B0304020202020204" pitchFamily="34" charset="0"/>
              </a:defRPr>
            </a:lvl1pPr>
          </a:lstStyle>
          <a:p>
            <a:pPr lvl="0">
              <a:lnSpc>
                <a:spcPts val="3000"/>
              </a:lnSpc>
            </a:pPr>
            <a:endParaRPr lang="af-ZA"/>
          </a:p>
        </p:txBody>
      </p:sp>
      <p:sp>
        <p:nvSpPr>
          <p:cNvPr id="3" name="Alaotsikko 2">
            <a:extLst>
              <a:ext uri="{FF2B5EF4-FFF2-40B4-BE49-F238E27FC236}">
                <a16:creationId xmlns:a16="http://schemas.microsoft.com/office/drawing/2014/main" id="{4450810A-C251-0A07-4BAA-6E21DA1FA879}"/>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pic>
        <p:nvPicPr>
          <p:cNvPr id="4" name="Picture 4" descr="Logo&#10;&#10;Description automatically generated">
            <a:extLst>
              <a:ext uri="{FF2B5EF4-FFF2-40B4-BE49-F238E27FC236}">
                <a16:creationId xmlns:a16="http://schemas.microsoft.com/office/drawing/2014/main" id="{3F2D702C-D2E6-69B4-9576-F07B874A3F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Tree>
    <p:extLst>
      <p:ext uri="{BB962C8B-B14F-4D97-AF65-F5344CB8AC3E}">
        <p14:creationId xmlns:p14="http://schemas.microsoft.com/office/powerpoint/2010/main" val="3141177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Otsikkodia kaarill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7626CB-894C-6E3E-CCE4-67BFACBDF16E}"/>
              </a:ext>
            </a:extLst>
          </p:cNvPr>
          <p:cNvGraphicFramePr>
            <a:graphicFrameLocks noChangeAspect="1"/>
          </p:cNvGraphicFramePr>
          <p:nvPr userDrawn="1">
            <p:custDataLst>
              <p:tags r:id="rId1"/>
            </p:custDataLst>
            <p:extLst>
              <p:ext uri="{D42A27DB-BD31-4B8C-83A1-F6EECF244321}">
                <p14:modId xmlns:p14="http://schemas.microsoft.com/office/powerpoint/2010/main" val="24100096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777626CB-894C-6E3E-CCE4-67BFACBDF16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rgbClr val="E6F3E9"/>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pic>
        <p:nvPicPr>
          <p:cNvPr id="4" name="Picture 4" descr="Logo&#10;&#10;Description automatically generated">
            <a:extLst>
              <a:ext uri="{FF2B5EF4-FFF2-40B4-BE49-F238E27FC236}">
                <a16:creationId xmlns:a16="http://schemas.microsoft.com/office/drawing/2014/main" id="{AB63EA70-EAB7-3EA1-23F8-F76F6B74A03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
        <p:nvSpPr>
          <p:cNvPr id="3" name="Tekstin paikkamerkki 17">
            <a:extLst>
              <a:ext uri="{FF2B5EF4-FFF2-40B4-BE49-F238E27FC236}">
                <a16:creationId xmlns:a16="http://schemas.microsoft.com/office/drawing/2014/main" id="{188B090F-5724-BCA7-498B-FBBA73B034CB}"/>
              </a:ext>
            </a:extLst>
          </p:cNvPr>
          <p:cNvSpPr>
            <a:spLocks noGrp="1"/>
          </p:cNvSpPr>
          <p:nvPr>
            <p:ph type="body" sz="quarter" idx="17" hasCustomPrompt="1"/>
          </p:nvPr>
        </p:nvSpPr>
        <p:spPr>
          <a:xfrm>
            <a:off x="5042297" y="1858877"/>
            <a:ext cx="3747636" cy="251532"/>
          </a:xfrm>
          <a:prstGeom prst="rect">
            <a:avLst/>
          </a:prstGeom>
        </p:spPr>
        <p:txBody>
          <a:bodyPr wrap="square">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7" name="Tekstin paikkamerkki 17">
            <a:extLst>
              <a:ext uri="{FF2B5EF4-FFF2-40B4-BE49-F238E27FC236}">
                <a16:creationId xmlns:a16="http://schemas.microsoft.com/office/drawing/2014/main" id="{017DCF2B-E437-5398-F5F1-E99099B08FF5}"/>
              </a:ext>
            </a:extLst>
          </p:cNvPr>
          <p:cNvSpPr>
            <a:spLocks noGrp="1"/>
          </p:cNvSpPr>
          <p:nvPr>
            <p:ph type="body" sz="quarter" idx="18" hasCustomPrompt="1"/>
          </p:nvPr>
        </p:nvSpPr>
        <p:spPr>
          <a:xfrm>
            <a:off x="5042297" y="2385651"/>
            <a:ext cx="3742134" cy="185272"/>
          </a:xfrm>
          <a:prstGeom prst="rect">
            <a:avLst/>
          </a:prstGeom>
        </p:spPr>
        <p:txBody>
          <a:bodyPr wrap="square">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8" name="Tekstin paikkamerkki 17">
            <a:extLst>
              <a:ext uri="{FF2B5EF4-FFF2-40B4-BE49-F238E27FC236}">
                <a16:creationId xmlns:a16="http://schemas.microsoft.com/office/drawing/2014/main" id="{898C38DF-E2DF-F7CD-D2B1-2191B2EE9590}"/>
              </a:ext>
            </a:extLst>
          </p:cNvPr>
          <p:cNvSpPr>
            <a:spLocks noGrp="1"/>
          </p:cNvSpPr>
          <p:nvPr>
            <p:ph type="body" sz="quarter" idx="19"/>
          </p:nvPr>
        </p:nvSpPr>
        <p:spPr>
          <a:xfrm>
            <a:off x="5042297" y="2574288"/>
            <a:ext cx="3742134" cy="185272"/>
          </a:xfrm>
          <a:prstGeom prst="rect">
            <a:avLst/>
          </a:prstGeom>
        </p:spPr>
        <p:txBody>
          <a:bodyPr wrap="squar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9" name="Tekstin paikkamerkki 17">
            <a:extLst>
              <a:ext uri="{FF2B5EF4-FFF2-40B4-BE49-F238E27FC236}">
                <a16:creationId xmlns:a16="http://schemas.microsoft.com/office/drawing/2014/main" id="{5C83FE15-296A-4037-D19B-D40AC0A628D9}"/>
              </a:ext>
            </a:extLst>
          </p:cNvPr>
          <p:cNvSpPr>
            <a:spLocks noGrp="1"/>
          </p:cNvSpPr>
          <p:nvPr>
            <p:ph type="body" sz="quarter" idx="20"/>
          </p:nvPr>
        </p:nvSpPr>
        <p:spPr>
          <a:xfrm>
            <a:off x="5042297" y="2998566"/>
            <a:ext cx="3742134" cy="367489"/>
          </a:xfrm>
          <a:prstGeom prst="rect">
            <a:avLst/>
          </a:prstGeom>
        </p:spPr>
        <p:txBody>
          <a:bodyPr wrap="square">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10" name="Tekstin paikkamerkki 17">
            <a:extLst>
              <a:ext uri="{FF2B5EF4-FFF2-40B4-BE49-F238E27FC236}">
                <a16:creationId xmlns:a16="http://schemas.microsoft.com/office/drawing/2014/main" id="{F4CF242F-6E6B-C438-C4FD-F82D99A02CDB}"/>
              </a:ext>
            </a:extLst>
          </p:cNvPr>
          <p:cNvSpPr>
            <a:spLocks noGrp="1"/>
          </p:cNvSpPr>
          <p:nvPr>
            <p:ph type="body" sz="quarter" idx="21" hasCustomPrompt="1"/>
          </p:nvPr>
        </p:nvSpPr>
        <p:spPr>
          <a:xfrm>
            <a:off x="5042297" y="3628042"/>
            <a:ext cx="3742134" cy="185272"/>
          </a:xfrm>
          <a:prstGeom prst="rect">
            <a:avLst/>
          </a:prstGeom>
        </p:spPr>
        <p:txBody>
          <a:bodyPr wrap="squar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
        <p:nvSpPr>
          <p:cNvPr id="11" name="Title 1">
            <a:extLst>
              <a:ext uri="{FF2B5EF4-FFF2-40B4-BE49-F238E27FC236}">
                <a16:creationId xmlns:a16="http://schemas.microsoft.com/office/drawing/2014/main" id="{0E484260-9FAE-4446-A4AD-3AFBC3DC7423}"/>
              </a:ext>
            </a:extLst>
          </p:cNvPr>
          <p:cNvSpPr>
            <a:spLocks noGrp="1"/>
          </p:cNvSpPr>
          <p:nvPr>
            <p:ph type="title" hasCustomPrompt="1"/>
          </p:nvPr>
        </p:nvSpPr>
        <p:spPr>
          <a:xfrm>
            <a:off x="5042453" y="1222515"/>
            <a:ext cx="3747637" cy="668563"/>
          </a:xfrm>
        </p:spPr>
        <p:txBody>
          <a:bodyPr vert="horz" wrap="square"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Tree>
    <p:extLst>
      <p:ext uri="{BB962C8B-B14F-4D97-AF65-F5344CB8AC3E}">
        <p14:creationId xmlns:p14="http://schemas.microsoft.com/office/powerpoint/2010/main" val="2194775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Otsikkodia kuvalla">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19183737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BD9661-1094-F647-B9A0-4BF57A377AEC}"/>
              </a:ext>
            </a:extLst>
          </p:cNvPr>
          <p:cNvSpPr>
            <a:spLocks noGrp="1"/>
          </p:cNvSpPr>
          <p:nvPr>
            <p:ph type="title" hasCustomPrompt="1"/>
          </p:nvPr>
        </p:nvSpPr>
        <p:spPr>
          <a:xfrm>
            <a:off x="5042453" y="1222515"/>
            <a:ext cx="3747637" cy="668563"/>
          </a:xfrm>
        </p:spPr>
        <p:txBody>
          <a:bodyPr vert="horz"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18" name="Tekstin paikkamerkki 17">
            <a:extLst>
              <a:ext uri="{FF2B5EF4-FFF2-40B4-BE49-F238E27FC236}">
                <a16:creationId xmlns:a16="http://schemas.microsoft.com/office/drawing/2014/main" id="{BBDCDADC-7213-983C-3A27-21EDE0BA84DF}"/>
              </a:ext>
            </a:extLst>
          </p:cNvPr>
          <p:cNvSpPr>
            <a:spLocks noGrp="1"/>
          </p:cNvSpPr>
          <p:nvPr>
            <p:ph type="body" sz="quarter" idx="17" hasCustomPrompt="1"/>
          </p:nvPr>
        </p:nvSpPr>
        <p:spPr>
          <a:xfrm>
            <a:off x="5042297" y="1858877"/>
            <a:ext cx="3747637" cy="251532"/>
          </a:xfrm>
          <a:prstGeom prst="rect">
            <a:avLst/>
          </a:prstGeom>
        </p:spPr>
        <p:txBody>
          <a:bodyPr wrap="none">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19" name="Tekstin paikkamerkki 17">
            <a:extLst>
              <a:ext uri="{FF2B5EF4-FFF2-40B4-BE49-F238E27FC236}">
                <a16:creationId xmlns:a16="http://schemas.microsoft.com/office/drawing/2014/main" id="{16ECC0F3-3624-5E2A-75FD-2E1673164FE7}"/>
              </a:ext>
            </a:extLst>
          </p:cNvPr>
          <p:cNvSpPr>
            <a:spLocks noGrp="1"/>
          </p:cNvSpPr>
          <p:nvPr>
            <p:ph type="body" sz="quarter" idx="18" hasCustomPrompt="1"/>
          </p:nvPr>
        </p:nvSpPr>
        <p:spPr>
          <a:xfrm>
            <a:off x="5042297" y="2385651"/>
            <a:ext cx="3742134" cy="185272"/>
          </a:xfrm>
          <a:prstGeom prst="rect">
            <a:avLst/>
          </a:prstGeom>
        </p:spPr>
        <p:txBody>
          <a:bodyPr wrap="none">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20" name="Tekstin paikkamerkki 17">
            <a:extLst>
              <a:ext uri="{FF2B5EF4-FFF2-40B4-BE49-F238E27FC236}">
                <a16:creationId xmlns:a16="http://schemas.microsoft.com/office/drawing/2014/main" id="{06AAD213-B42B-C0B0-06B2-ADD1EF7268D7}"/>
              </a:ext>
            </a:extLst>
          </p:cNvPr>
          <p:cNvSpPr>
            <a:spLocks noGrp="1"/>
          </p:cNvSpPr>
          <p:nvPr>
            <p:ph type="body" sz="quarter" idx="19"/>
          </p:nvPr>
        </p:nvSpPr>
        <p:spPr>
          <a:xfrm>
            <a:off x="5042297" y="2573100"/>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1" name="Tekstin paikkamerkki 17">
            <a:extLst>
              <a:ext uri="{FF2B5EF4-FFF2-40B4-BE49-F238E27FC236}">
                <a16:creationId xmlns:a16="http://schemas.microsoft.com/office/drawing/2014/main" id="{200AAA17-A2F6-D764-0026-EF87A3FC173A}"/>
              </a:ext>
            </a:extLst>
          </p:cNvPr>
          <p:cNvSpPr>
            <a:spLocks noGrp="1"/>
          </p:cNvSpPr>
          <p:nvPr>
            <p:ph type="body" sz="quarter" idx="20"/>
          </p:nvPr>
        </p:nvSpPr>
        <p:spPr>
          <a:xfrm>
            <a:off x="5042297" y="2998566"/>
            <a:ext cx="3742134" cy="367489"/>
          </a:xfrm>
          <a:prstGeom prst="rect">
            <a:avLst/>
          </a:prstGeom>
        </p:spPr>
        <p:txBody>
          <a:bodyPr wrap="none">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2" name="Tekstin paikkamerkki 17">
            <a:extLst>
              <a:ext uri="{FF2B5EF4-FFF2-40B4-BE49-F238E27FC236}">
                <a16:creationId xmlns:a16="http://schemas.microsoft.com/office/drawing/2014/main" id="{39C9CB15-A1BF-C965-A127-236E98F91E8A}"/>
              </a:ext>
            </a:extLst>
          </p:cNvPr>
          <p:cNvSpPr>
            <a:spLocks noGrp="1"/>
          </p:cNvSpPr>
          <p:nvPr>
            <p:ph type="body" sz="quarter" idx="21" hasCustomPrompt="1"/>
          </p:nvPr>
        </p:nvSpPr>
        <p:spPr>
          <a:xfrm>
            <a:off x="5042297" y="3628042"/>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Tree>
    <p:extLst>
      <p:ext uri="{BB962C8B-B14F-4D97-AF65-F5344CB8AC3E}">
        <p14:creationId xmlns:p14="http://schemas.microsoft.com/office/powerpoint/2010/main" val="24593126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Otsikkodia kuvalla_flipped">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flipH="1">
            <a:off x="4555435"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21881177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BD9661-1094-F647-B9A0-4BF57A377AEC}"/>
              </a:ext>
            </a:extLst>
          </p:cNvPr>
          <p:cNvSpPr>
            <a:spLocks noGrp="1"/>
          </p:cNvSpPr>
          <p:nvPr>
            <p:ph type="title" hasCustomPrompt="1"/>
          </p:nvPr>
        </p:nvSpPr>
        <p:spPr>
          <a:xfrm>
            <a:off x="421200" y="1223100"/>
            <a:ext cx="3747637" cy="668563"/>
          </a:xfrm>
        </p:spPr>
        <p:txBody>
          <a:bodyPr vert="horz"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18" name="Tekstin paikkamerkki 17">
            <a:extLst>
              <a:ext uri="{FF2B5EF4-FFF2-40B4-BE49-F238E27FC236}">
                <a16:creationId xmlns:a16="http://schemas.microsoft.com/office/drawing/2014/main" id="{BBDCDADC-7213-983C-3A27-21EDE0BA84DF}"/>
              </a:ext>
            </a:extLst>
          </p:cNvPr>
          <p:cNvSpPr>
            <a:spLocks noGrp="1"/>
          </p:cNvSpPr>
          <p:nvPr>
            <p:ph type="body" sz="quarter" idx="17" hasCustomPrompt="1"/>
          </p:nvPr>
        </p:nvSpPr>
        <p:spPr>
          <a:xfrm>
            <a:off x="421200" y="1891663"/>
            <a:ext cx="3747637" cy="251532"/>
          </a:xfrm>
          <a:prstGeom prst="rect">
            <a:avLst/>
          </a:prstGeom>
        </p:spPr>
        <p:txBody>
          <a:bodyPr wrap="none">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19" name="Tekstin paikkamerkki 17">
            <a:extLst>
              <a:ext uri="{FF2B5EF4-FFF2-40B4-BE49-F238E27FC236}">
                <a16:creationId xmlns:a16="http://schemas.microsoft.com/office/drawing/2014/main" id="{16ECC0F3-3624-5E2A-75FD-2E1673164FE7}"/>
              </a:ext>
            </a:extLst>
          </p:cNvPr>
          <p:cNvSpPr>
            <a:spLocks noGrp="1"/>
          </p:cNvSpPr>
          <p:nvPr>
            <p:ph type="body" sz="quarter" idx="18" hasCustomPrompt="1"/>
          </p:nvPr>
        </p:nvSpPr>
        <p:spPr>
          <a:xfrm>
            <a:off x="421201" y="2418437"/>
            <a:ext cx="3742134" cy="185272"/>
          </a:xfrm>
          <a:prstGeom prst="rect">
            <a:avLst/>
          </a:prstGeom>
        </p:spPr>
        <p:txBody>
          <a:bodyPr wrap="none">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20" name="Tekstin paikkamerkki 17">
            <a:extLst>
              <a:ext uri="{FF2B5EF4-FFF2-40B4-BE49-F238E27FC236}">
                <a16:creationId xmlns:a16="http://schemas.microsoft.com/office/drawing/2014/main" id="{06AAD213-B42B-C0B0-06B2-ADD1EF7268D7}"/>
              </a:ext>
            </a:extLst>
          </p:cNvPr>
          <p:cNvSpPr>
            <a:spLocks noGrp="1"/>
          </p:cNvSpPr>
          <p:nvPr>
            <p:ph type="body" sz="quarter" idx="19"/>
          </p:nvPr>
        </p:nvSpPr>
        <p:spPr>
          <a:xfrm>
            <a:off x="421201" y="2605887"/>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1" name="Tekstin paikkamerkki 17">
            <a:extLst>
              <a:ext uri="{FF2B5EF4-FFF2-40B4-BE49-F238E27FC236}">
                <a16:creationId xmlns:a16="http://schemas.microsoft.com/office/drawing/2014/main" id="{200AAA17-A2F6-D764-0026-EF87A3FC173A}"/>
              </a:ext>
            </a:extLst>
          </p:cNvPr>
          <p:cNvSpPr>
            <a:spLocks noGrp="1"/>
          </p:cNvSpPr>
          <p:nvPr>
            <p:ph type="body" sz="quarter" idx="20"/>
          </p:nvPr>
        </p:nvSpPr>
        <p:spPr>
          <a:xfrm>
            <a:off x="421201" y="3031352"/>
            <a:ext cx="3742134" cy="367489"/>
          </a:xfrm>
          <a:prstGeom prst="rect">
            <a:avLst/>
          </a:prstGeom>
        </p:spPr>
        <p:txBody>
          <a:bodyPr wrap="none">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2" name="Tekstin paikkamerkki 17">
            <a:extLst>
              <a:ext uri="{FF2B5EF4-FFF2-40B4-BE49-F238E27FC236}">
                <a16:creationId xmlns:a16="http://schemas.microsoft.com/office/drawing/2014/main" id="{39C9CB15-A1BF-C965-A127-236E98F91E8A}"/>
              </a:ext>
            </a:extLst>
          </p:cNvPr>
          <p:cNvSpPr>
            <a:spLocks noGrp="1"/>
          </p:cNvSpPr>
          <p:nvPr>
            <p:ph type="body" sz="quarter" idx="21" hasCustomPrompt="1"/>
          </p:nvPr>
        </p:nvSpPr>
        <p:spPr>
          <a:xfrm>
            <a:off x="421201" y="3660828"/>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Tree>
    <p:extLst>
      <p:ext uri="{BB962C8B-B14F-4D97-AF65-F5344CB8AC3E}">
        <p14:creationId xmlns:p14="http://schemas.microsoft.com/office/powerpoint/2010/main" val="4261253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Otsikkodia kuvalla 2">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251536567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18" name="Tekstin paikkamerkki 17">
            <a:extLst>
              <a:ext uri="{FF2B5EF4-FFF2-40B4-BE49-F238E27FC236}">
                <a16:creationId xmlns:a16="http://schemas.microsoft.com/office/drawing/2014/main" id="{BBDCDADC-7213-983C-3A27-21EDE0BA84DF}"/>
              </a:ext>
            </a:extLst>
          </p:cNvPr>
          <p:cNvSpPr>
            <a:spLocks noGrp="1"/>
          </p:cNvSpPr>
          <p:nvPr>
            <p:ph type="body" sz="quarter" idx="17" hasCustomPrompt="1"/>
          </p:nvPr>
        </p:nvSpPr>
        <p:spPr>
          <a:xfrm>
            <a:off x="5042297" y="1858877"/>
            <a:ext cx="3747637" cy="251532"/>
          </a:xfrm>
          <a:prstGeom prst="rect">
            <a:avLst/>
          </a:prstGeom>
        </p:spPr>
        <p:txBody>
          <a:bodyPr>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19" name="Tekstin paikkamerkki 17">
            <a:extLst>
              <a:ext uri="{FF2B5EF4-FFF2-40B4-BE49-F238E27FC236}">
                <a16:creationId xmlns:a16="http://schemas.microsoft.com/office/drawing/2014/main" id="{16ECC0F3-3624-5E2A-75FD-2E1673164FE7}"/>
              </a:ext>
            </a:extLst>
          </p:cNvPr>
          <p:cNvSpPr>
            <a:spLocks noGrp="1"/>
          </p:cNvSpPr>
          <p:nvPr>
            <p:ph type="body" sz="quarter" idx="18" hasCustomPrompt="1"/>
          </p:nvPr>
        </p:nvSpPr>
        <p:spPr>
          <a:xfrm>
            <a:off x="5042297" y="2385651"/>
            <a:ext cx="3742134" cy="185272"/>
          </a:xfrm>
          <a:prstGeom prst="rect">
            <a:avLst/>
          </a:prstGeom>
        </p:spPr>
        <p:txBody>
          <a:bodyPr>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20" name="Tekstin paikkamerkki 17">
            <a:extLst>
              <a:ext uri="{FF2B5EF4-FFF2-40B4-BE49-F238E27FC236}">
                <a16:creationId xmlns:a16="http://schemas.microsoft.com/office/drawing/2014/main" id="{06AAD213-B42B-C0B0-06B2-ADD1EF7268D7}"/>
              </a:ext>
            </a:extLst>
          </p:cNvPr>
          <p:cNvSpPr>
            <a:spLocks noGrp="1"/>
          </p:cNvSpPr>
          <p:nvPr>
            <p:ph type="body" sz="quarter" idx="19"/>
          </p:nvPr>
        </p:nvSpPr>
        <p:spPr>
          <a:xfrm>
            <a:off x="5042297" y="2574288"/>
            <a:ext cx="3742134" cy="185272"/>
          </a:xfrm>
          <a:prstGeom prst="rect">
            <a:avLst/>
          </a:prstGeom>
        </p:spPr>
        <p:txBody>
          <a:bodyPr>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1" name="Tekstin paikkamerkki 17">
            <a:extLst>
              <a:ext uri="{FF2B5EF4-FFF2-40B4-BE49-F238E27FC236}">
                <a16:creationId xmlns:a16="http://schemas.microsoft.com/office/drawing/2014/main" id="{200AAA17-A2F6-D764-0026-EF87A3FC173A}"/>
              </a:ext>
            </a:extLst>
          </p:cNvPr>
          <p:cNvSpPr>
            <a:spLocks noGrp="1"/>
          </p:cNvSpPr>
          <p:nvPr>
            <p:ph type="body" sz="quarter" idx="20"/>
          </p:nvPr>
        </p:nvSpPr>
        <p:spPr>
          <a:xfrm>
            <a:off x="5042297" y="2998566"/>
            <a:ext cx="3742134" cy="367489"/>
          </a:xfrm>
          <a:prstGeom prst="rect">
            <a:avLst/>
          </a:prstGeom>
        </p:spPr>
        <p:txBody>
          <a:bodyPr>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2" name="Tekstin paikkamerkki 17">
            <a:extLst>
              <a:ext uri="{FF2B5EF4-FFF2-40B4-BE49-F238E27FC236}">
                <a16:creationId xmlns:a16="http://schemas.microsoft.com/office/drawing/2014/main" id="{39C9CB15-A1BF-C965-A127-236E98F91E8A}"/>
              </a:ext>
            </a:extLst>
          </p:cNvPr>
          <p:cNvSpPr>
            <a:spLocks noGrp="1"/>
          </p:cNvSpPr>
          <p:nvPr>
            <p:ph type="body" sz="quarter" idx="21" hasCustomPrompt="1"/>
          </p:nvPr>
        </p:nvSpPr>
        <p:spPr>
          <a:xfrm>
            <a:off x="5042297" y="3628042"/>
            <a:ext cx="3742134" cy="185272"/>
          </a:xfrm>
          <a:prstGeom prst="rect">
            <a:avLst/>
          </a:prstGeom>
        </p:spPr>
        <p:txBody>
          <a:bodyPr>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
        <p:nvSpPr>
          <p:cNvPr id="3" name="Title 1">
            <a:extLst>
              <a:ext uri="{FF2B5EF4-FFF2-40B4-BE49-F238E27FC236}">
                <a16:creationId xmlns:a16="http://schemas.microsoft.com/office/drawing/2014/main" id="{3CDFA3ED-0062-34BE-1507-BA1E771F4DDD}"/>
              </a:ext>
            </a:extLst>
          </p:cNvPr>
          <p:cNvSpPr>
            <a:spLocks noGrp="1"/>
          </p:cNvSpPr>
          <p:nvPr>
            <p:ph type="title" hasCustomPrompt="1"/>
          </p:nvPr>
        </p:nvSpPr>
        <p:spPr>
          <a:xfrm>
            <a:off x="5042453" y="1222515"/>
            <a:ext cx="3747637" cy="668563"/>
          </a:xfrm>
        </p:spPr>
        <p:txBody>
          <a:bodyPr vert="horz"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Tree>
    <p:extLst>
      <p:ext uri="{BB962C8B-B14F-4D97-AF65-F5344CB8AC3E}">
        <p14:creationId xmlns:p14="http://schemas.microsoft.com/office/powerpoint/2010/main" val="8153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Otsikkodia kuvalla">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35868748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3" name="Title 1">
            <a:extLst>
              <a:ext uri="{FF2B5EF4-FFF2-40B4-BE49-F238E27FC236}">
                <a16:creationId xmlns:a16="http://schemas.microsoft.com/office/drawing/2014/main" id="{9D6A1A1F-E432-7453-A688-0AAC2B593121}"/>
              </a:ext>
            </a:extLst>
          </p:cNvPr>
          <p:cNvSpPr>
            <a:spLocks noGrp="1"/>
          </p:cNvSpPr>
          <p:nvPr>
            <p:ph type="title" hasCustomPrompt="1"/>
          </p:nvPr>
        </p:nvSpPr>
        <p:spPr>
          <a:xfrm>
            <a:off x="4718498" y="1058549"/>
            <a:ext cx="4065933" cy="594662"/>
          </a:xfrm>
        </p:spPr>
        <p:txBody>
          <a:bodyPr vert="horz" wrap="square">
            <a:noAutofit/>
          </a:bodyPr>
          <a:lstStyle>
            <a:lvl1pPr rtl="0">
              <a:defRPr b="0"/>
            </a:lvl1pPr>
          </a:lstStyle>
          <a:p>
            <a:r>
              <a:rPr lang="af-ZA" noProof="0"/>
              <a:t>Lisää otsikko</a:t>
            </a:r>
          </a:p>
        </p:txBody>
      </p:sp>
      <p:sp>
        <p:nvSpPr>
          <p:cNvPr id="4" name="Text Placeholder 2">
            <a:extLst>
              <a:ext uri="{FF2B5EF4-FFF2-40B4-BE49-F238E27FC236}">
                <a16:creationId xmlns:a16="http://schemas.microsoft.com/office/drawing/2014/main" id="{C96D2A0B-6950-0B85-4CA3-2BAEED4E44B1}"/>
              </a:ext>
            </a:extLst>
          </p:cNvPr>
          <p:cNvSpPr>
            <a:spLocks noGrp="1"/>
          </p:cNvSpPr>
          <p:nvPr>
            <p:ph type="body" sz="quarter" idx="13"/>
          </p:nvPr>
        </p:nvSpPr>
        <p:spPr>
          <a:xfrm>
            <a:off x="4718498" y="1653210"/>
            <a:ext cx="4065934" cy="3133102"/>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151805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_Otsikkodia kuvalla">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flipH="1">
            <a:off x="4555435"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30123547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3" name="Title 1">
            <a:extLst>
              <a:ext uri="{FF2B5EF4-FFF2-40B4-BE49-F238E27FC236}">
                <a16:creationId xmlns:a16="http://schemas.microsoft.com/office/drawing/2014/main" id="{9D6A1A1F-E432-7453-A688-0AAC2B593121}"/>
              </a:ext>
            </a:extLst>
          </p:cNvPr>
          <p:cNvSpPr>
            <a:spLocks noGrp="1"/>
          </p:cNvSpPr>
          <p:nvPr>
            <p:ph type="title" hasCustomPrompt="1"/>
          </p:nvPr>
        </p:nvSpPr>
        <p:spPr>
          <a:xfrm>
            <a:off x="421201" y="1058400"/>
            <a:ext cx="4065933" cy="594662"/>
          </a:xfrm>
        </p:spPr>
        <p:txBody>
          <a:bodyPr vert="horz" wrap="square">
            <a:noAutofit/>
          </a:bodyPr>
          <a:lstStyle>
            <a:lvl1pPr rtl="0">
              <a:defRPr b="0"/>
            </a:lvl1pPr>
          </a:lstStyle>
          <a:p>
            <a:r>
              <a:rPr lang="af-ZA" noProof="0"/>
              <a:t>Lisää otsikko</a:t>
            </a:r>
          </a:p>
        </p:txBody>
      </p:sp>
      <p:sp>
        <p:nvSpPr>
          <p:cNvPr id="4" name="Text Placeholder 2">
            <a:extLst>
              <a:ext uri="{FF2B5EF4-FFF2-40B4-BE49-F238E27FC236}">
                <a16:creationId xmlns:a16="http://schemas.microsoft.com/office/drawing/2014/main" id="{C96D2A0B-6950-0B85-4CA3-2BAEED4E44B1}"/>
              </a:ext>
            </a:extLst>
          </p:cNvPr>
          <p:cNvSpPr>
            <a:spLocks noGrp="1"/>
          </p:cNvSpPr>
          <p:nvPr>
            <p:ph type="body" sz="quarter" idx="13"/>
          </p:nvPr>
        </p:nvSpPr>
        <p:spPr>
          <a:xfrm>
            <a:off x="421200" y="1653062"/>
            <a:ext cx="4065934" cy="3133102"/>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2995334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Otsikkodia kuvalla 2">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40128420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2" name="Title 1">
            <a:extLst>
              <a:ext uri="{FF2B5EF4-FFF2-40B4-BE49-F238E27FC236}">
                <a16:creationId xmlns:a16="http://schemas.microsoft.com/office/drawing/2014/main" id="{8CC87460-BE63-65F4-6D3A-E0F1A3BED4BE}"/>
              </a:ext>
            </a:extLst>
          </p:cNvPr>
          <p:cNvSpPr>
            <a:spLocks noGrp="1"/>
          </p:cNvSpPr>
          <p:nvPr>
            <p:ph type="title" hasCustomPrompt="1"/>
          </p:nvPr>
        </p:nvSpPr>
        <p:spPr>
          <a:xfrm>
            <a:off x="4718498" y="1058549"/>
            <a:ext cx="4065933" cy="594662"/>
          </a:xfrm>
        </p:spPr>
        <p:txBody>
          <a:bodyPr vert="horz" wrap="square">
            <a:noAutofit/>
          </a:bodyPr>
          <a:lstStyle>
            <a:lvl1pPr rtl="0">
              <a:defRPr b="0"/>
            </a:lvl1pPr>
          </a:lstStyle>
          <a:p>
            <a:r>
              <a:rPr lang="af-ZA" noProof="0"/>
              <a:t>Lisää otsikko</a:t>
            </a:r>
          </a:p>
        </p:txBody>
      </p:sp>
      <p:sp>
        <p:nvSpPr>
          <p:cNvPr id="4" name="Text Placeholder 2">
            <a:extLst>
              <a:ext uri="{FF2B5EF4-FFF2-40B4-BE49-F238E27FC236}">
                <a16:creationId xmlns:a16="http://schemas.microsoft.com/office/drawing/2014/main" id="{18D3E47C-BE3A-9A3A-C42D-6B0D39BB439A}"/>
              </a:ext>
            </a:extLst>
          </p:cNvPr>
          <p:cNvSpPr>
            <a:spLocks noGrp="1"/>
          </p:cNvSpPr>
          <p:nvPr>
            <p:ph type="body" sz="quarter" idx="13"/>
          </p:nvPr>
        </p:nvSpPr>
        <p:spPr>
          <a:xfrm>
            <a:off x="4718498" y="1653210"/>
            <a:ext cx="4065934" cy="3133102"/>
          </a:xfrm>
          <a:prstGeom prst="rect">
            <a:avLst/>
          </a:prstGeom>
        </p:spPr>
        <p:txBody>
          <a:bodyPr wrap="square">
            <a:noAutofit/>
          </a:bodyPr>
          <a:lstStyle>
            <a:lvl1pPr rtl="0">
              <a:defRPr/>
            </a:lvl1pPr>
            <a:lvl2pPr rtl="0">
              <a:lnSpc>
                <a:spcPct val="100000"/>
              </a:lnSpc>
              <a:defRPr/>
            </a:lvl2pPr>
            <a:lvl3pPr marL="405000" indent="-135000" rtl="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a:p>
            <a:pPr lvl="2"/>
            <a:r>
              <a:rPr lang="af-ZA"/>
              <a:t>Third level</a:t>
            </a:r>
          </a:p>
        </p:txBody>
      </p:sp>
    </p:spTree>
    <p:extLst>
      <p:ext uri="{BB962C8B-B14F-4D97-AF65-F5344CB8AC3E}">
        <p14:creationId xmlns:p14="http://schemas.microsoft.com/office/powerpoint/2010/main" val="19890214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elkkä otsikk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E18252-4192-D3A7-61AE-F081A4E7EA42}"/>
              </a:ext>
            </a:extLst>
          </p:cNvPr>
          <p:cNvGraphicFramePr>
            <a:graphicFrameLocks noChangeAspect="1"/>
          </p:cNvGraphicFramePr>
          <p:nvPr userDrawn="1">
            <p:custDataLst>
              <p:tags r:id="rId1"/>
            </p:custDataLst>
            <p:extLst>
              <p:ext uri="{D42A27DB-BD31-4B8C-83A1-F6EECF244321}">
                <p14:modId xmlns:p14="http://schemas.microsoft.com/office/powerpoint/2010/main" val="1936185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0E18252-4192-D3A7-61AE-F081A4E7EA4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122DEA15-1457-EF4E-6FF7-4F46D7D0DD41}"/>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8" name="Date Placeholder 2">
            <a:extLst>
              <a:ext uri="{FF2B5EF4-FFF2-40B4-BE49-F238E27FC236}">
                <a16:creationId xmlns:a16="http://schemas.microsoft.com/office/drawing/2014/main" id="{D0D48DB8-1A5F-F761-48F4-99512B34C47A}"/>
              </a:ext>
            </a:extLst>
          </p:cNvPr>
          <p:cNvSpPr>
            <a:spLocks noGrp="1"/>
          </p:cNvSpPr>
          <p:nvPr>
            <p:ph type="dt" sz="half" idx="10"/>
          </p:nvPr>
        </p:nvSpPr>
        <p:spPr>
          <a:xfrm>
            <a:off x="7610236" y="4883762"/>
            <a:ext cx="972741" cy="164194"/>
          </a:xfrm>
          <a:prstGeom prst="rect">
            <a:avLst/>
          </a:prstGeom>
        </p:spPr>
        <p:txBody>
          <a:bodyPr wrap="square">
            <a:noAutofit/>
          </a:bodyPr>
          <a:lstStyle>
            <a:lvl1pPr algn="ctr" rtl="0">
              <a:defRPr sz="675"/>
            </a:lvl1pPr>
          </a:lstStyle>
          <a:p>
            <a:pPr>
              <a:defRPr/>
            </a:pPr>
            <a:fld id="{8A038578-546F-45C1-9982-7076BA6E898B}" type="datetime1">
              <a:rPr lang="af-ZA" smtClean="0">
                <a:solidFill>
                  <a:srgbClr val="000000"/>
                </a:solidFill>
              </a:rPr>
              <a:pPr>
                <a:defRPr/>
              </a:pPr>
              <a:t>2024-12-09</a:t>
            </a:fld>
            <a:endParaRPr lang="af-ZA">
              <a:solidFill>
                <a:srgbClr val="000000"/>
              </a:solidFill>
            </a:endParaRPr>
          </a:p>
        </p:txBody>
      </p:sp>
      <p:sp>
        <p:nvSpPr>
          <p:cNvPr id="9" name="Footer Placeholder 3">
            <a:extLst>
              <a:ext uri="{FF2B5EF4-FFF2-40B4-BE49-F238E27FC236}">
                <a16:creationId xmlns:a16="http://schemas.microsoft.com/office/drawing/2014/main" id="{C40CA5EC-4F3F-86E4-9FDA-9067F05533A7}"/>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6BD7DA59-E7AD-347F-F673-3EA856DC7D1F}"/>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Tree>
    <p:extLst>
      <p:ext uri="{BB962C8B-B14F-4D97-AF65-F5344CB8AC3E}">
        <p14:creationId xmlns:p14="http://schemas.microsoft.com/office/powerpoint/2010/main" val="25400701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tsikko + Sisältö">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03EA1F9-2126-03D3-BEC2-B3C7DB1CA4BF}"/>
              </a:ext>
            </a:extLst>
          </p:cNvPr>
          <p:cNvGraphicFramePr>
            <a:graphicFrameLocks noChangeAspect="1"/>
          </p:cNvGraphicFramePr>
          <p:nvPr userDrawn="1">
            <p:custDataLst>
              <p:tags r:id="rId1"/>
            </p:custDataLst>
            <p:extLst>
              <p:ext uri="{D42A27DB-BD31-4B8C-83A1-F6EECF244321}">
                <p14:modId xmlns:p14="http://schemas.microsoft.com/office/powerpoint/2010/main" val="218406161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F03EA1F9-2126-03D3-BEC2-B3C7DB1CA4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192156AB-D327-31E5-6752-B7CF946A971F}"/>
              </a:ext>
            </a:extLst>
          </p:cNvPr>
          <p:cNvSpPr>
            <a:spLocks noGrp="1"/>
          </p:cNvSpPr>
          <p:nvPr>
            <p:ph type="title" hasCustomPrompt="1"/>
          </p:nvPr>
        </p:nvSpPr>
        <p:spPr>
          <a:xfrm>
            <a:off x="359568" y="249493"/>
            <a:ext cx="8424862" cy="594662"/>
          </a:xfrm>
        </p:spPr>
        <p:txBody>
          <a:bodyPr vert="horz" wrap="square">
            <a:noAutofit/>
          </a:bodyPr>
          <a:lstStyle>
            <a:lvl1pPr rtl="0">
              <a:defRPr b="0"/>
            </a:lvl1pPr>
          </a:lstStyle>
          <a:p>
            <a:r>
              <a:rPr lang="af-ZA" noProof="0"/>
              <a:t>Lisää otsikko</a:t>
            </a:r>
          </a:p>
        </p:txBody>
      </p:sp>
      <p:sp>
        <p:nvSpPr>
          <p:cNvPr id="17" name="Footer Placeholder 3">
            <a:extLst>
              <a:ext uri="{FF2B5EF4-FFF2-40B4-BE49-F238E27FC236}">
                <a16:creationId xmlns:a16="http://schemas.microsoft.com/office/drawing/2014/main" id="{DB511F4F-BAB0-73C5-5D43-7CE38A07B7F1}"/>
              </a:ext>
            </a:extLst>
          </p:cNvPr>
          <p:cNvSpPr>
            <a:spLocks noGrp="1"/>
          </p:cNvSpPr>
          <p:nvPr>
            <p:ph type="ftr" sz="quarter" idx="11"/>
          </p:nvPr>
        </p:nvSpPr>
        <p:spPr>
          <a:xfrm>
            <a:off x="1331638" y="4884056"/>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8" name="Slide Number Placeholder 4">
            <a:extLst>
              <a:ext uri="{FF2B5EF4-FFF2-40B4-BE49-F238E27FC236}">
                <a16:creationId xmlns:a16="http://schemas.microsoft.com/office/drawing/2014/main" id="{F731E737-ABBF-54D7-429E-714E7E5AF65E}"/>
              </a:ext>
            </a:extLst>
          </p:cNvPr>
          <p:cNvSpPr>
            <a:spLocks noGrp="1"/>
          </p:cNvSpPr>
          <p:nvPr>
            <p:ph type="sldNum" sz="quarter" idx="12"/>
          </p:nvPr>
        </p:nvSpPr>
        <p:spPr>
          <a:xfrm>
            <a:off x="8597026" y="4883517"/>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
        <p:nvSpPr>
          <p:cNvPr id="3" name="Text Placeholder 2">
            <a:extLst>
              <a:ext uri="{FF2B5EF4-FFF2-40B4-BE49-F238E27FC236}">
                <a16:creationId xmlns:a16="http://schemas.microsoft.com/office/drawing/2014/main" id="{BCFE88D8-A34A-4AE0-6D81-E1186BC0871B}"/>
              </a:ext>
            </a:extLst>
          </p:cNvPr>
          <p:cNvSpPr>
            <a:spLocks noGrp="1"/>
          </p:cNvSpPr>
          <p:nvPr>
            <p:ph type="body" sz="quarter" idx="13"/>
          </p:nvPr>
        </p:nvSpPr>
        <p:spPr>
          <a:xfrm>
            <a:off x="359569" y="926100"/>
            <a:ext cx="8424863" cy="3805444"/>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3910115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0EE332-5590-8FE4-C754-A901057F141D}"/>
              </a:ext>
            </a:extLst>
          </p:cNvPr>
          <p:cNvGraphicFramePr>
            <a:graphicFrameLocks noChangeAspect="1"/>
          </p:cNvGraphicFramePr>
          <p:nvPr userDrawn="1">
            <p:custDataLst>
              <p:tags r:id="rId1"/>
            </p:custDataLst>
            <p:extLst>
              <p:ext uri="{D42A27DB-BD31-4B8C-83A1-F6EECF244321}">
                <p14:modId xmlns:p14="http://schemas.microsoft.com/office/powerpoint/2010/main" val="4197063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930EE332-5590-8FE4-C754-A901057F14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29841" y="397462"/>
            <a:ext cx="7201826" cy="746936"/>
          </a:xfrm>
        </p:spPr>
        <p:txBody>
          <a:bodyPr vert="horz"/>
          <a:lstStyle>
            <a:lvl1pPr rtl="0">
              <a:defRPr/>
            </a:lvl1pPr>
          </a:lstStyle>
          <a:p>
            <a:r>
              <a:rPr lang="af-ZA"/>
              <a:t>Muokkaa perustyyl. napsautt.</a:t>
            </a:r>
          </a:p>
        </p:txBody>
      </p:sp>
      <p:sp>
        <p:nvSpPr>
          <p:cNvPr id="3" name="Text Placeholder 2"/>
          <p:cNvSpPr>
            <a:spLocks noGrp="1"/>
          </p:cNvSpPr>
          <p:nvPr>
            <p:ph type="body" idx="1" hasCustomPrompt="1"/>
          </p:nvPr>
        </p:nvSpPr>
        <p:spPr>
          <a:xfrm>
            <a:off x="629842" y="1144398"/>
            <a:ext cx="7885508" cy="464263"/>
          </a:xfrm>
        </p:spPr>
        <p:txBody>
          <a:bodyPr anchor="b"/>
          <a:lstStyle>
            <a:lvl1pPr marL="0" indent="0" rtl="0">
              <a:buNone/>
              <a:defRPr sz="1800" b="1"/>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af-ZA"/>
              <a:t>Muokkaa tekstin perustyylejä</a:t>
            </a:r>
          </a:p>
        </p:txBody>
      </p:sp>
      <p:sp>
        <p:nvSpPr>
          <p:cNvPr id="4" name="Content Placeholder 3"/>
          <p:cNvSpPr>
            <a:spLocks noGrp="1"/>
          </p:cNvSpPr>
          <p:nvPr>
            <p:ph sz="half" idx="2" hasCustomPrompt="1"/>
          </p:nvPr>
        </p:nvSpPr>
        <p:spPr>
          <a:xfrm>
            <a:off x="629842" y="1715511"/>
            <a:ext cx="7885508" cy="2764413"/>
          </a:xfrm>
        </p:spPr>
        <p:txBody>
          <a:bodyPr/>
          <a:lstStyle>
            <a:lvl1pPr rtl="0">
              <a:defRPr/>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9" name="Footer Placeholder 8"/>
          <p:cNvSpPr>
            <a:spLocks noGrp="1"/>
          </p:cNvSpPr>
          <p:nvPr>
            <p:ph type="ftr" sz="quarter" idx="11"/>
          </p:nvPr>
        </p:nvSpPr>
        <p:spPr/>
        <p:txBody>
          <a:bodyPr/>
          <a:lstStyle>
            <a:lvl1pPr rtl="0">
              <a:defRPr/>
            </a:lvl1pPr>
          </a:lstStyle>
          <a:p>
            <a:r>
              <a:rPr lang="af-ZA"/>
              <a:t>Työ- ja elinkeinoministeriö • www.tem.fi</a:t>
            </a:r>
          </a:p>
        </p:txBody>
      </p:sp>
      <p:sp>
        <p:nvSpPr>
          <p:cNvPr id="8" name="Date Placeholder 7"/>
          <p:cNvSpPr>
            <a:spLocks noGrp="1"/>
          </p:cNvSpPr>
          <p:nvPr>
            <p:ph type="dt" sz="half" idx="10"/>
          </p:nvPr>
        </p:nvSpPr>
        <p:spPr/>
        <p:txBody>
          <a:bodyPr/>
          <a:lstStyle>
            <a:lvl1pPr rtl="0">
              <a:defRPr/>
            </a:lvl1pPr>
          </a:lstStyle>
          <a:p>
            <a:fld id="{07485DFD-2799-7041-80D0-99A07D09A2CA}" type="datetime1">
              <a:rPr lang="af-ZA" smtClean="0"/>
              <a:pPr/>
              <a:t>2024-12-09</a:t>
            </a:fld>
            <a:endParaRPr lang="af-ZA"/>
          </a:p>
        </p:txBody>
      </p:sp>
      <p:sp>
        <p:nvSpPr>
          <p:cNvPr id="13" name="Slide Number Placeholder 12"/>
          <p:cNvSpPr>
            <a:spLocks noGrp="1"/>
          </p:cNvSpPr>
          <p:nvPr>
            <p:ph type="sldNum" sz="quarter" idx="12"/>
          </p:nvPr>
        </p:nvSpPr>
        <p:spPr/>
        <p:txBody>
          <a:bodyPr/>
          <a:lstStyle>
            <a:lvl1pPr rtl="0">
              <a:defRPr/>
            </a:lvl1pPr>
          </a:lstStyle>
          <a:p>
            <a:fld id="{3065C9E5-8AC3-DF4B-BA99-CB03B9370A98}" type="slidenum">
              <a:rPr lang="af-ZA" smtClean="0"/>
              <a:pPr/>
              <a:t>‹#›</a:t>
            </a:fld>
            <a:endParaRPr lang="af-ZA"/>
          </a:p>
        </p:txBody>
      </p:sp>
      <p:pic>
        <p:nvPicPr>
          <p:cNvPr id="10" name="Picture 9">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spTree>
    <p:extLst>
      <p:ext uri="{BB962C8B-B14F-4D97-AF65-F5344CB8AC3E}">
        <p14:creationId xmlns:p14="http://schemas.microsoft.com/office/powerpoint/2010/main" val="1317347232"/>
      </p:ext>
    </p:extLst>
  </p:cSld>
  <p:clrMapOvr>
    <a:masterClrMapping/>
  </p:clrMapOvr>
  <p:extLst>
    <p:ext uri="{DCECCB84-F9BA-43D5-87BE-67443E8EF086}">
      <p15:sldGuideLst xmlns:p15="http://schemas.microsoft.com/office/powerpoint/2012/main">
        <p15:guide id="1" pos="385">
          <p15:clr>
            <a:srgbClr val="FBAE40"/>
          </p15:clr>
        </p15:guide>
        <p15:guide id="2" orient="horz" pos="37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tsikko+sisältö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B3E3B1-0295-C419-445A-2232FC2244BF}"/>
              </a:ext>
            </a:extLst>
          </p:cNvPr>
          <p:cNvGraphicFramePr>
            <a:graphicFrameLocks noChangeAspect="1"/>
          </p:cNvGraphicFramePr>
          <p:nvPr userDrawn="1">
            <p:custDataLst>
              <p:tags r:id="rId1"/>
            </p:custDataLst>
            <p:extLst>
              <p:ext uri="{D42A27DB-BD31-4B8C-83A1-F6EECF244321}">
                <p14:modId xmlns:p14="http://schemas.microsoft.com/office/powerpoint/2010/main" val="7327356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10B3E3B1-0295-C419-445A-2232FC2244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1D29E5C8-6823-D1E7-64E8-C14BA3E04270}"/>
              </a:ext>
            </a:extLst>
          </p:cNvPr>
          <p:cNvSpPr>
            <a:spLocks noGrp="1"/>
          </p:cNvSpPr>
          <p:nvPr>
            <p:ph type="body" sz="quarter" idx="18"/>
          </p:nvPr>
        </p:nvSpPr>
        <p:spPr>
          <a:xfrm>
            <a:off x="4599385" y="845100"/>
            <a:ext cx="4184538"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5" name="Text Placeholder 2">
            <a:extLst>
              <a:ext uri="{FF2B5EF4-FFF2-40B4-BE49-F238E27FC236}">
                <a16:creationId xmlns:a16="http://schemas.microsoft.com/office/drawing/2014/main" id="{A569A1D6-EB3A-33A2-82EF-BB9B581FE771}"/>
              </a:ext>
            </a:extLst>
          </p:cNvPr>
          <p:cNvSpPr>
            <a:spLocks noGrp="1"/>
          </p:cNvSpPr>
          <p:nvPr>
            <p:ph type="body" sz="quarter" idx="17"/>
          </p:nvPr>
        </p:nvSpPr>
        <p:spPr>
          <a:xfrm>
            <a:off x="359100" y="845100"/>
            <a:ext cx="4183856"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14" name="Text Placeholder 13">
            <a:extLst>
              <a:ext uri="{FF2B5EF4-FFF2-40B4-BE49-F238E27FC236}">
                <a16:creationId xmlns:a16="http://schemas.microsoft.com/office/drawing/2014/main" id="{69A74296-832D-5533-EFCE-18837184E4A2}"/>
              </a:ext>
            </a:extLst>
          </p:cNvPr>
          <p:cNvSpPr>
            <a:spLocks noGrp="1"/>
          </p:cNvSpPr>
          <p:nvPr>
            <p:ph type="body" sz="quarter" idx="20"/>
          </p:nvPr>
        </p:nvSpPr>
        <p:spPr>
          <a:xfrm>
            <a:off x="4599385" y="1059656"/>
            <a:ext cx="4183856" cy="3726655"/>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
        <p:nvSpPr>
          <p:cNvPr id="7" name="Title 1">
            <a:extLst>
              <a:ext uri="{FF2B5EF4-FFF2-40B4-BE49-F238E27FC236}">
                <a16:creationId xmlns:a16="http://schemas.microsoft.com/office/drawing/2014/main" id="{106382E3-9A3E-85C7-B109-DDD29E760F97}"/>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488005BF-D040-D204-6F6D-41287A824521}"/>
              </a:ext>
            </a:extLst>
          </p:cNvPr>
          <p:cNvSpPr>
            <a:spLocks noGrp="1"/>
          </p:cNvSpPr>
          <p:nvPr>
            <p:ph type="ftr" sz="quarter" idx="11"/>
          </p:nvPr>
        </p:nvSpPr>
        <p:spPr>
          <a:xfrm>
            <a:off x="1331640" y="4883762"/>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991CBCBC-08C9-7FB3-781B-EABE97D75B5B}"/>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cxnSp>
        <p:nvCxnSpPr>
          <p:cNvPr id="15" name="Straight Connector 14">
            <a:extLst>
              <a:ext uri="{FF2B5EF4-FFF2-40B4-BE49-F238E27FC236}">
                <a16:creationId xmlns:a16="http://schemas.microsoft.com/office/drawing/2014/main" id="{E2A94CB8-0118-6482-6DDF-8588F00E909F}"/>
              </a:ext>
            </a:extLst>
          </p:cNvPr>
          <p:cNvCxnSpPr>
            <a:cxnSpLocks/>
          </p:cNvCxnSpPr>
          <p:nvPr userDrawn="1"/>
        </p:nvCxnSpPr>
        <p:spPr>
          <a:xfrm>
            <a:off x="359100" y="1061100"/>
            <a:ext cx="418551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FE6B5CF-ABAD-97F7-D317-1D7DC4259113}"/>
              </a:ext>
            </a:extLst>
          </p:cNvPr>
          <p:cNvCxnSpPr>
            <a:cxnSpLocks/>
          </p:cNvCxnSpPr>
          <p:nvPr userDrawn="1"/>
        </p:nvCxnSpPr>
        <p:spPr>
          <a:xfrm flipV="1">
            <a:off x="4599385" y="1061100"/>
            <a:ext cx="418504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3FE52E0-9D88-4E19-4557-2712647129CB}"/>
              </a:ext>
            </a:extLst>
          </p:cNvPr>
          <p:cNvSpPr>
            <a:spLocks noGrp="1"/>
          </p:cNvSpPr>
          <p:nvPr>
            <p:ph type="body" sz="quarter" idx="19"/>
          </p:nvPr>
        </p:nvSpPr>
        <p:spPr>
          <a:xfrm>
            <a:off x="359569" y="1059656"/>
            <a:ext cx="4185047" cy="3726655"/>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3015215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tsikko+sisältö 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9F96-6D25-ABCB-2CFE-9A86F8F74330}"/>
              </a:ext>
            </a:extLst>
          </p:cNvPr>
          <p:cNvGraphicFramePr>
            <a:graphicFrameLocks noChangeAspect="1"/>
          </p:cNvGraphicFramePr>
          <p:nvPr userDrawn="1">
            <p:custDataLst>
              <p:tags r:id="rId1"/>
            </p:custDataLst>
            <p:extLst>
              <p:ext uri="{D42A27DB-BD31-4B8C-83A1-F6EECF244321}">
                <p14:modId xmlns:p14="http://schemas.microsoft.com/office/powerpoint/2010/main" val="5871824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17F79F96-6D25-ABCB-2CFE-9A86F8F7433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BF3E4873-A3FE-5859-6A6E-B75D540D9B9E}"/>
              </a:ext>
            </a:extLst>
          </p:cNvPr>
          <p:cNvSpPr>
            <a:spLocks noGrp="1"/>
          </p:cNvSpPr>
          <p:nvPr>
            <p:ph type="body" sz="quarter" idx="17"/>
          </p:nvPr>
        </p:nvSpPr>
        <p:spPr>
          <a:xfrm>
            <a:off x="359100" y="844153"/>
            <a:ext cx="2809154"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7" name="Title 1">
            <a:extLst>
              <a:ext uri="{FF2B5EF4-FFF2-40B4-BE49-F238E27FC236}">
                <a16:creationId xmlns:a16="http://schemas.microsoft.com/office/drawing/2014/main" id="{151F0D4B-A93B-8C76-8AF5-6A0295EA50FA}"/>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0C176388-DE66-C57A-44EE-B515ABC23DE6}"/>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9B90BCF1-4B02-7CA6-4A79-A6A5A8FF76A5}"/>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cxnSp>
        <p:nvCxnSpPr>
          <p:cNvPr id="14" name="Straight Connector 13">
            <a:extLst>
              <a:ext uri="{FF2B5EF4-FFF2-40B4-BE49-F238E27FC236}">
                <a16:creationId xmlns:a16="http://schemas.microsoft.com/office/drawing/2014/main" id="{57093ED4-B5E3-F4D2-7939-3F9ACACECF61}"/>
              </a:ext>
            </a:extLst>
          </p:cNvPr>
          <p:cNvCxnSpPr>
            <a:cxnSpLocks/>
          </p:cNvCxnSpPr>
          <p:nvPr userDrawn="1"/>
        </p:nvCxnSpPr>
        <p:spPr>
          <a:xfrm>
            <a:off x="359568" y="1060153"/>
            <a:ext cx="280868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CFA28FB-47BC-2840-1681-FA4375FE310B}"/>
              </a:ext>
            </a:extLst>
          </p:cNvPr>
          <p:cNvSpPr>
            <a:spLocks noGrp="1"/>
          </p:cNvSpPr>
          <p:nvPr>
            <p:ph type="body" sz="quarter" idx="18"/>
          </p:nvPr>
        </p:nvSpPr>
        <p:spPr>
          <a:xfrm>
            <a:off x="359568" y="1059657"/>
            <a:ext cx="2808685" cy="3726656"/>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26261731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tsikko+sisältö 4">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98323-8A25-C253-27EB-39E2DFDA1217}"/>
              </a:ext>
            </a:extLst>
          </p:cNvPr>
          <p:cNvGraphicFramePr>
            <a:graphicFrameLocks noChangeAspect="1"/>
          </p:cNvGraphicFramePr>
          <p:nvPr userDrawn="1">
            <p:custDataLst>
              <p:tags r:id="rId1"/>
            </p:custDataLst>
            <p:extLst>
              <p:ext uri="{D42A27DB-BD31-4B8C-83A1-F6EECF244321}">
                <p14:modId xmlns:p14="http://schemas.microsoft.com/office/powerpoint/2010/main" val="36702411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0E98323-8A25-C253-27EB-39E2DFDA121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ext Placeholder 2">
            <a:extLst>
              <a:ext uri="{FF2B5EF4-FFF2-40B4-BE49-F238E27FC236}">
                <a16:creationId xmlns:a16="http://schemas.microsoft.com/office/drawing/2014/main" id="{76DD23B0-AE12-DBB4-9E35-F6B1AE499867}"/>
              </a:ext>
            </a:extLst>
          </p:cNvPr>
          <p:cNvSpPr>
            <a:spLocks noGrp="1"/>
          </p:cNvSpPr>
          <p:nvPr>
            <p:ph type="body" sz="quarter" idx="17"/>
          </p:nvPr>
        </p:nvSpPr>
        <p:spPr>
          <a:xfrm>
            <a:off x="5975747" y="845100"/>
            <a:ext cx="2808681"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7" name="Title 1">
            <a:extLst>
              <a:ext uri="{FF2B5EF4-FFF2-40B4-BE49-F238E27FC236}">
                <a16:creationId xmlns:a16="http://schemas.microsoft.com/office/drawing/2014/main" id="{B71A24D8-E6A7-0246-4C67-38236DD797B6}"/>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09046346-2EF0-3D3C-F935-BE12522FC1FC}"/>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3C362734-7C01-2B7C-7199-559268159F1D}"/>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cxnSp>
        <p:nvCxnSpPr>
          <p:cNvPr id="14" name="Straight Connector 13">
            <a:extLst>
              <a:ext uri="{FF2B5EF4-FFF2-40B4-BE49-F238E27FC236}">
                <a16:creationId xmlns:a16="http://schemas.microsoft.com/office/drawing/2014/main" id="{497C1CED-253F-92B4-9DD5-0031980A71BC}"/>
              </a:ext>
            </a:extLst>
          </p:cNvPr>
          <p:cNvCxnSpPr>
            <a:cxnSpLocks/>
          </p:cNvCxnSpPr>
          <p:nvPr userDrawn="1"/>
        </p:nvCxnSpPr>
        <p:spPr>
          <a:xfrm flipV="1">
            <a:off x="5975745" y="1061100"/>
            <a:ext cx="28086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94F76256-9441-83BF-AA4C-C23EB2F3BEDC}"/>
              </a:ext>
            </a:extLst>
          </p:cNvPr>
          <p:cNvSpPr>
            <a:spLocks noGrp="1"/>
          </p:cNvSpPr>
          <p:nvPr>
            <p:ph type="body" sz="quarter" idx="18"/>
          </p:nvPr>
        </p:nvSpPr>
        <p:spPr>
          <a:xfrm>
            <a:off x="5975747" y="1060154"/>
            <a:ext cx="2808684" cy="3726158"/>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7625931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tsikko+alaotsikko+teksti dumm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9F96-6D25-ABCB-2CFE-9A86F8F74330}"/>
              </a:ext>
            </a:extLst>
          </p:cNvPr>
          <p:cNvGraphicFramePr>
            <a:graphicFrameLocks noChangeAspect="1"/>
          </p:cNvGraphicFramePr>
          <p:nvPr userDrawn="1">
            <p:custDataLst>
              <p:tags r:id="rId1"/>
            </p:custDataLst>
            <p:extLst>
              <p:ext uri="{D42A27DB-BD31-4B8C-83A1-F6EECF244321}">
                <p14:modId xmlns:p14="http://schemas.microsoft.com/office/powerpoint/2010/main" val="3045202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17F79F96-6D25-ABCB-2CFE-9A86F8F7433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BF3E4873-A3FE-5859-6A6E-B75D540D9B9E}"/>
              </a:ext>
            </a:extLst>
          </p:cNvPr>
          <p:cNvSpPr>
            <a:spLocks noGrp="1"/>
          </p:cNvSpPr>
          <p:nvPr>
            <p:ph type="body" sz="quarter" idx="17"/>
          </p:nvPr>
        </p:nvSpPr>
        <p:spPr>
          <a:xfrm>
            <a:off x="359100" y="844153"/>
            <a:ext cx="2809154" cy="216000"/>
          </a:xfrm>
          <a:prstGeom prst="rect">
            <a:avLst/>
          </a:prstGeom>
        </p:spPr>
        <p:txBody>
          <a:bodyPr wrap="square" anchor="b">
            <a:noAutofit/>
          </a:bodyPr>
          <a:lstStyle>
            <a:lvl1pPr marL="0" indent="0" rtl="0">
              <a:buNone/>
              <a:defRPr b="1" i="0" u="none" cap="all" baseline="0">
                <a:solidFill>
                  <a:schemeClr val="accent1"/>
                </a:solidFill>
                <a:latin typeface="Arial Nova" panose="020B0504020202020204" pitchFamily="34" charset="0"/>
              </a:defRPr>
            </a:lvl1pPr>
          </a:lstStyle>
          <a:p>
            <a:pPr lvl="0"/>
            <a:endParaRPr lang="af-ZA"/>
          </a:p>
        </p:txBody>
      </p:sp>
      <p:sp>
        <p:nvSpPr>
          <p:cNvPr id="7" name="Title 1">
            <a:extLst>
              <a:ext uri="{FF2B5EF4-FFF2-40B4-BE49-F238E27FC236}">
                <a16:creationId xmlns:a16="http://schemas.microsoft.com/office/drawing/2014/main" id="{151F0D4B-A93B-8C76-8AF5-6A0295EA50FA}"/>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0C176388-DE66-C57A-44EE-B515ABC23DE6}"/>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9B90BCF1-4B02-7CA6-4A79-A6A5A8FF76A5}"/>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
        <p:nvSpPr>
          <p:cNvPr id="3" name="Text Placeholder 2">
            <a:extLst>
              <a:ext uri="{FF2B5EF4-FFF2-40B4-BE49-F238E27FC236}">
                <a16:creationId xmlns:a16="http://schemas.microsoft.com/office/drawing/2014/main" id="{ACFA28FB-47BC-2840-1681-FA4375FE310B}"/>
              </a:ext>
            </a:extLst>
          </p:cNvPr>
          <p:cNvSpPr>
            <a:spLocks noGrp="1"/>
          </p:cNvSpPr>
          <p:nvPr>
            <p:ph type="body" sz="quarter" idx="18"/>
          </p:nvPr>
        </p:nvSpPr>
        <p:spPr>
          <a:xfrm>
            <a:off x="359568" y="1060153"/>
            <a:ext cx="2808685" cy="3726160"/>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11691521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Lopetusdi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F9D3DE-D157-EBAC-DAAE-343101521988}"/>
              </a:ext>
            </a:extLst>
          </p:cNvPr>
          <p:cNvGraphicFramePr>
            <a:graphicFrameLocks noChangeAspect="1"/>
          </p:cNvGraphicFramePr>
          <p:nvPr userDrawn="1">
            <p:custDataLst>
              <p:tags r:id="rId1"/>
            </p:custDataLst>
            <p:extLst>
              <p:ext uri="{D42A27DB-BD31-4B8C-83A1-F6EECF244321}">
                <p14:modId xmlns:p14="http://schemas.microsoft.com/office/powerpoint/2010/main" val="38673962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F9D3DE-D157-EBAC-DAAE-34310152198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F6D00AA3-F995-012F-A3F1-A27AC9AB143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22"/>
            <a:ext cx="9144000" cy="5142857"/>
          </a:xfrm>
          <a:prstGeom prst="rect">
            <a:avLst/>
          </a:prstGeom>
        </p:spPr>
      </p:pic>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1149626" y="1921564"/>
            <a:ext cx="6848061" cy="834887"/>
          </a:xfrm>
        </p:spPr>
        <p:txBody>
          <a:bodyPr anchor="ctr" anchorCtr="0"/>
          <a:lstStyle>
            <a:lvl1pPr algn="ctr" rtl="0">
              <a:lnSpc>
                <a:spcPts val="3000"/>
              </a:lnSpc>
              <a:defRPr sz="3000"/>
            </a:lvl1pPr>
          </a:lstStyle>
          <a:p>
            <a:endParaRPr lang="af-ZA"/>
          </a:p>
        </p:txBody>
      </p:sp>
      <p:pic>
        <p:nvPicPr>
          <p:cNvPr id="7" name="Picture 4" descr="Logo&#10;&#10;Description automatically generated">
            <a:extLst>
              <a:ext uri="{FF2B5EF4-FFF2-40B4-BE49-F238E27FC236}">
                <a16:creationId xmlns:a16="http://schemas.microsoft.com/office/drawing/2014/main" id="{251C7349-0BAA-36EF-9EC3-F615CA236B6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76765" y="3649861"/>
            <a:ext cx="995721" cy="534514"/>
          </a:xfrm>
          <a:prstGeom prst="rect">
            <a:avLst/>
          </a:prstGeom>
        </p:spPr>
      </p:pic>
    </p:spTree>
    <p:extLst>
      <p:ext uri="{BB962C8B-B14F-4D97-AF65-F5344CB8AC3E}">
        <p14:creationId xmlns:p14="http://schemas.microsoft.com/office/powerpoint/2010/main" val="1853161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Otsikkodia kaare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7626CB-894C-6E3E-CCE4-67BFACBDF16E}"/>
              </a:ext>
            </a:extLst>
          </p:cNvPr>
          <p:cNvGraphicFramePr>
            <a:graphicFrameLocks noChangeAspect="1"/>
          </p:cNvGraphicFramePr>
          <p:nvPr userDrawn="1">
            <p:custDataLst>
              <p:tags r:id="rId1"/>
            </p:custDataLst>
            <p:extLst>
              <p:ext uri="{D42A27DB-BD31-4B8C-83A1-F6EECF244321}">
                <p14:modId xmlns:p14="http://schemas.microsoft.com/office/powerpoint/2010/main" val="25858175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777626CB-894C-6E3E-CCE4-67BFACBDF16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rgbClr val="E6F3E9"/>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wrap="square" anchor="b">
            <a:noAutofit/>
          </a:bodyPr>
          <a:lstStyle>
            <a:lvl1pPr algn="l" rtl="0">
              <a:lnSpc>
                <a:spcPts val="3000"/>
              </a:lnSpc>
              <a:defRPr sz="3000">
                <a:latin typeface="Arial Nova Light" panose="020B0304020202020204" pitchFamily="34" charset="0"/>
              </a:defRPr>
            </a:lvl1pPr>
          </a:lstStyle>
          <a:p>
            <a:endParaRPr lang="af-ZA"/>
          </a:p>
        </p:txBody>
      </p:sp>
      <p:pic>
        <p:nvPicPr>
          <p:cNvPr id="4" name="Picture 4" descr="Logo&#10;&#10;Description automatically generated">
            <a:extLst>
              <a:ext uri="{FF2B5EF4-FFF2-40B4-BE49-F238E27FC236}">
                <a16:creationId xmlns:a16="http://schemas.microsoft.com/office/drawing/2014/main" id="{AB63EA70-EAB7-3EA1-23F8-F76F6B74A03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
        <p:nvSpPr>
          <p:cNvPr id="6" name="Alaotsikko 2">
            <a:extLst>
              <a:ext uri="{FF2B5EF4-FFF2-40B4-BE49-F238E27FC236}">
                <a16:creationId xmlns:a16="http://schemas.microsoft.com/office/drawing/2014/main" id="{C972F7EA-AF28-866B-6739-EEAA8937FBFA}"/>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spTree>
    <p:extLst>
      <p:ext uri="{BB962C8B-B14F-4D97-AF65-F5344CB8AC3E}">
        <p14:creationId xmlns:p14="http://schemas.microsoft.com/office/powerpoint/2010/main" val="3419052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Otsikkodia kaaret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8008C6-ED63-CBDE-E6D9-B982820BCDA3}"/>
              </a:ext>
            </a:extLst>
          </p:cNvPr>
          <p:cNvGraphicFramePr>
            <a:graphicFrameLocks noChangeAspect="1"/>
          </p:cNvGraphicFramePr>
          <p:nvPr userDrawn="1">
            <p:custDataLst>
              <p:tags r:id="rId1"/>
            </p:custDataLst>
            <p:extLst>
              <p:ext uri="{D42A27DB-BD31-4B8C-83A1-F6EECF244321}">
                <p14:modId xmlns:p14="http://schemas.microsoft.com/office/powerpoint/2010/main" val="28038947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78008C6-ED63-CBDE-E6D9-B982820BCDA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rgbClr val="FDF5F2"/>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vert="horz" wrap="square" lIns="91440" tIns="45720" rIns="91440" bIns="45720" rtlCol="0" anchor="b">
            <a:noAutofit/>
          </a:bodyPr>
          <a:lstStyle>
            <a:lvl1pPr rtl="0">
              <a:defRPr lang="fi-FI" sz="3000" dirty="0">
                <a:latin typeface="Arial Nova Light" panose="020B0304020202020204" pitchFamily="34" charset="0"/>
              </a:defRPr>
            </a:lvl1pPr>
          </a:lstStyle>
          <a:p>
            <a:pPr lvl="0">
              <a:lnSpc>
                <a:spcPts val="3000"/>
              </a:lnSpc>
            </a:pPr>
            <a:endParaRPr lang="af-ZA"/>
          </a:p>
        </p:txBody>
      </p:sp>
      <p:sp>
        <p:nvSpPr>
          <p:cNvPr id="3" name="Alaotsikko 2">
            <a:extLst>
              <a:ext uri="{FF2B5EF4-FFF2-40B4-BE49-F238E27FC236}">
                <a16:creationId xmlns:a16="http://schemas.microsoft.com/office/drawing/2014/main" id="{4450810A-C251-0A07-4BAA-6E21DA1FA879}"/>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pic>
        <p:nvPicPr>
          <p:cNvPr id="4" name="Picture 4" descr="Logo&#10;&#10;Description automatically generated">
            <a:extLst>
              <a:ext uri="{FF2B5EF4-FFF2-40B4-BE49-F238E27FC236}">
                <a16:creationId xmlns:a16="http://schemas.microsoft.com/office/drawing/2014/main" id="{3F2D702C-D2E6-69B4-9576-F07B874A3F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Tree>
    <p:extLst>
      <p:ext uri="{BB962C8B-B14F-4D97-AF65-F5344CB8AC3E}">
        <p14:creationId xmlns:p14="http://schemas.microsoft.com/office/powerpoint/2010/main" val="36123192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Otsikkodia kaaret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8008C6-ED63-CBDE-E6D9-B982820BCDA3}"/>
              </a:ext>
            </a:extLst>
          </p:cNvPr>
          <p:cNvGraphicFramePr>
            <a:graphicFrameLocks noChangeAspect="1"/>
          </p:cNvGraphicFramePr>
          <p:nvPr userDrawn="1">
            <p:custDataLst>
              <p:tags r:id="rId1"/>
            </p:custDataLst>
            <p:extLst>
              <p:ext uri="{D42A27DB-BD31-4B8C-83A1-F6EECF244321}">
                <p14:modId xmlns:p14="http://schemas.microsoft.com/office/powerpoint/2010/main" val="17770613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78008C6-ED63-CBDE-E6D9-B982820BCDA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chemeClr val="accent2">
              <a:lumMod val="20000"/>
              <a:lumOff val="80000"/>
            </a:schemeClr>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vert="horz" wrap="square" lIns="91440" tIns="45720" rIns="91440" bIns="45720" rtlCol="0" anchor="b">
            <a:noAutofit/>
          </a:bodyPr>
          <a:lstStyle>
            <a:lvl1pPr rtl="0">
              <a:defRPr lang="fi-FI" sz="3000" dirty="0">
                <a:latin typeface="Arial Nova Light" panose="020B0304020202020204" pitchFamily="34" charset="0"/>
              </a:defRPr>
            </a:lvl1pPr>
          </a:lstStyle>
          <a:p>
            <a:pPr lvl="0">
              <a:lnSpc>
                <a:spcPts val="3000"/>
              </a:lnSpc>
            </a:pPr>
            <a:endParaRPr lang="af-ZA"/>
          </a:p>
        </p:txBody>
      </p:sp>
      <p:sp>
        <p:nvSpPr>
          <p:cNvPr id="3" name="Alaotsikko 2">
            <a:extLst>
              <a:ext uri="{FF2B5EF4-FFF2-40B4-BE49-F238E27FC236}">
                <a16:creationId xmlns:a16="http://schemas.microsoft.com/office/drawing/2014/main" id="{4450810A-C251-0A07-4BAA-6E21DA1FA879}"/>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pic>
        <p:nvPicPr>
          <p:cNvPr id="4" name="Picture 4" descr="Logo&#10;&#10;Description automatically generated">
            <a:extLst>
              <a:ext uri="{FF2B5EF4-FFF2-40B4-BE49-F238E27FC236}">
                <a16:creationId xmlns:a16="http://schemas.microsoft.com/office/drawing/2014/main" id="{3F2D702C-D2E6-69B4-9576-F07B874A3F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Tree>
    <p:extLst>
      <p:ext uri="{BB962C8B-B14F-4D97-AF65-F5344CB8AC3E}">
        <p14:creationId xmlns:p14="http://schemas.microsoft.com/office/powerpoint/2010/main" val="42010814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Otsikkodia kaaret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8008C6-ED63-CBDE-E6D9-B982820BCDA3}"/>
              </a:ext>
            </a:extLst>
          </p:cNvPr>
          <p:cNvGraphicFramePr>
            <a:graphicFrameLocks noChangeAspect="1"/>
          </p:cNvGraphicFramePr>
          <p:nvPr userDrawn="1">
            <p:custDataLst>
              <p:tags r:id="rId1"/>
            </p:custDataLst>
            <p:extLst>
              <p:ext uri="{D42A27DB-BD31-4B8C-83A1-F6EECF244321}">
                <p14:modId xmlns:p14="http://schemas.microsoft.com/office/powerpoint/2010/main" val="222465920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78008C6-ED63-CBDE-E6D9-B982820BCDA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chemeClr val="accent5">
              <a:lumMod val="20000"/>
              <a:lumOff val="80000"/>
            </a:schemeClr>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vert="horz" wrap="square" lIns="91440" tIns="45720" rIns="91440" bIns="45720" rtlCol="0" anchor="b">
            <a:noAutofit/>
          </a:bodyPr>
          <a:lstStyle>
            <a:lvl1pPr rtl="0">
              <a:defRPr lang="fi-FI" sz="3000" dirty="0">
                <a:latin typeface="Arial Nova Light" panose="020B0304020202020204" pitchFamily="34" charset="0"/>
              </a:defRPr>
            </a:lvl1pPr>
          </a:lstStyle>
          <a:p>
            <a:pPr lvl="0">
              <a:lnSpc>
                <a:spcPts val="3000"/>
              </a:lnSpc>
            </a:pPr>
            <a:endParaRPr lang="af-ZA"/>
          </a:p>
        </p:txBody>
      </p:sp>
      <p:sp>
        <p:nvSpPr>
          <p:cNvPr id="3" name="Alaotsikko 2">
            <a:extLst>
              <a:ext uri="{FF2B5EF4-FFF2-40B4-BE49-F238E27FC236}">
                <a16:creationId xmlns:a16="http://schemas.microsoft.com/office/drawing/2014/main" id="{4450810A-C251-0A07-4BAA-6E21DA1FA879}"/>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pic>
        <p:nvPicPr>
          <p:cNvPr id="4" name="Picture 4" descr="Logo&#10;&#10;Description automatically generated">
            <a:extLst>
              <a:ext uri="{FF2B5EF4-FFF2-40B4-BE49-F238E27FC236}">
                <a16:creationId xmlns:a16="http://schemas.microsoft.com/office/drawing/2014/main" id="{3F2D702C-D2E6-69B4-9576-F07B874A3F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Tree>
    <p:extLst>
      <p:ext uri="{BB962C8B-B14F-4D97-AF65-F5344CB8AC3E}">
        <p14:creationId xmlns:p14="http://schemas.microsoft.com/office/powerpoint/2010/main" val="770408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Otsikkodia kaarill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7626CB-894C-6E3E-CCE4-67BFACBDF16E}"/>
              </a:ext>
            </a:extLst>
          </p:cNvPr>
          <p:cNvGraphicFramePr>
            <a:graphicFrameLocks noChangeAspect="1"/>
          </p:cNvGraphicFramePr>
          <p:nvPr userDrawn="1">
            <p:custDataLst>
              <p:tags r:id="rId1"/>
            </p:custDataLst>
            <p:extLst>
              <p:ext uri="{D42A27DB-BD31-4B8C-83A1-F6EECF244321}">
                <p14:modId xmlns:p14="http://schemas.microsoft.com/office/powerpoint/2010/main" val="21500628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777626CB-894C-6E3E-CCE4-67BFACBDF16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rgbClr val="E6F3E9"/>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pic>
        <p:nvPicPr>
          <p:cNvPr id="4" name="Picture 4" descr="Logo&#10;&#10;Description automatically generated">
            <a:extLst>
              <a:ext uri="{FF2B5EF4-FFF2-40B4-BE49-F238E27FC236}">
                <a16:creationId xmlns:a16="http://schemas.microsoft.com/office/drawing/2014/main" id="{AB63EA70-EAB7-3EA1-23F8-F76F6B74A03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
        <p:nvSpPr>
          <p:cNvPr id="3" name="Tekstin paikkamerkki 17">
            <a:extLst>
              <a:ext uri="{FF2B5EF4-FFF2-40B4-BE49-F238E27FC236}">
                <a16:creationId xmlns:a16="http://schemas.microsoft.com/office/drawing/2014/main" id="{188B090F-5724-BCA7-498B-FBBA73B034CB}"/>
              </a:ext>
            </a:extLst>
          </p:cNvPr>
          <p:cNvSpPr>
            <a:spLocks noGrp="1"/>
          </p:cNvSpPr>
          <p:nvPr>
            <p:ph type="body" sz="quarter" idx="17" hasCustomPrompt="1"/>
          </p:nvPr>
        </p:nvSpPr>
        <p:spPr>
          <a:xfrm>
            <a:off x="5042297" y="1858877"/>
            <a:ext cx="3747636" cy="251532"/>
          </a:xfrm>
          <a:prstGeom prst="rect">
            <a:avLst/>
          </a:prstGeom>
        </p:spPr>
        <p:txBody>
          <a:bodyPr wrap="square">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7" name="Tekstin paikkamerkki 17">
            <a:extLst>
              <a:ext uri="{FF2B5EF4-FFF2-40B4-BE49-F238E27FC236}">
                <a16:creationId xmlns:a16="http://schemas.microsoft.com/office/drawing/2014/main" id="{017DCF2B-E437-5398-F5F1-E99099B08FF5}"/>
              </a:ext>
            </a:extLst>
          </p:cNvPr>
          <p:cNvSpPr>
            <a:spLocks noGrp="1"/>
          </p:cNvSpPr>
          <p:nvPr>
            <p:ph type="body" sz="quarter" idx="18" hasCustomPrompt="1"/>
          </p:nvPr>
        </p:nvSpPr>
        <p:spPr>
          <a:xfrm>
            <a:off x="5042297" y="2385651"/>
            <a:ext cx="3742134" cy="185272"/>
          </a:xfrm>
          <a:prstGeom prst="rect">
            <a:avLst/>
          </a:prstGeom>
        </p:spPr>
        <p:txBody>
          <a:bodyPr wrap="square">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8" name="Tekstin paikkamerkki 17">
            <a:extLst>
              <a:ext uri="{FF2B5EF4-FFF2-40B4-BE49-F238E27FC236}">
                <a16:creationId xmlns:a16="http://schemas.microsoft.com/office/drawing/2014/main" id="{898C38DF-E2DF-F7CD-D2B1-2191B2EE9590}"/>
              </a:ext>
            </a:extLst>
          </p:cNvPr>
          <p:cNvSpPr>
            <a:spLocks noGrp="1"/>
          </p:cNvSpPr>
          <p:nvPr>
            <p:ph type="body" sz="quarter" idx="19"/>
          </p:nvPr>
        </p:nvSpPr>
        <p:spPr>
          <a:xfrm>
            <a:off x="5042297" y="2574288"/>
            <a:ext cx="3742134" cy="185272"/>
          </a:xfrm>
          <a:prstGeom prst="rect">
            <a:avLst/>
          </a:prstGeom>
        </p:spPr>
        <p:txBody>
          <a:bodyPr wrap="squar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9" name="Tekstin paikkamerkki 17">
            <a:extLst>
              <a:ext uri="{FF2B5EF4-FFF2-40B4-BE49-F238E27FC236}">
                <a16:creationId xmlns:a16="http://schemas.microsoft.com/office/drawing/2014/main" id="{5C83FE15-296A-4037-D19B-D40AC0A628D9}"/>
              </a:ext>
            </a:extLst>
          </p:cNvPr>
          <p:cNvSpPr>
            <a:spLocks noGrp="1"/>
          </p:cNvSpPr>
          <p:nvPr>
            <p:ph type="body" sz="quarter" idx="20"/>
          </p:nvPr>
        </p:nvSpPr>
        <p:spPr>
          <a:xfrm>
            <a:off x="5042297" y="2998566"/>
            <a:ext cx="3742134" cy="367489"/>
          </a:xfrm>
          <a:prstGeom prst="rect">
            <a:avLst/>
          </a:prstGeom>
        </p:spPr>
        <p:txBody>
          <a:bodyPr wrap="square">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10" name="Tekstin paikkamerkki 17">
            <a:extLst>
              <a:ext uri="{FF2B5EF4-FFF2-40B4-BE49-F238E27FC236}">
                <a16:creationId xmlns:a16="http://schemas.microsoft.com/office/drawing/2014/main" id="{F4CF242F-6E6B-C438-C4FD-F82D99A02CDB}"/>
              </a:ext>
            </a:extLst>
          </p:cNvPr>
          <p:cNvSpPr>
            <a:spLocks noGrp="1"/>
          </p:cNvSpPr>
          <p:nvPr>
            <p:ph type="body" sz="quarter" idx="21" hasCustomPrompt="1"/>
          </p:nvPr>
        </p:nvSpPr>
        <p:spPr>
          <a:xfrm>
            <a:off x="5042297" y="3628042"/>
            <a:ext cx="3742134" cy="185272"/>
          </a:xfrm>
          <a:prstGeom prst="rect">
            <a:avLst/>
          </a:prstGeom>
        </p:spPr>
        <p:txBody>
          <a:bodyPr wrap="squar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
        <p:nvSpPr>
          <p:cNvPr id="11" name="Title 1">
            <a:extLst>
              <a:ext uri="{FF2B5EF4-FFF2-40B4-BE49-F238E27FC236}">
                <a16:creationId xmlns:a16="http://schemas.microsoft.com/office/drawing/2014/main" id="{0E484260-9FAE-4446-A4AD-3AFBC3DC7423}"/>
              </a:ext>
            </a:extLst>
          </p:cNvPr>
          <p:cNvSpPr>
            <a:spLocks noGrp="1"/>
          </p:cNvSpPr>
          <p:nvPr>
            <p:ph type="title" hasCustomPrompt="1"/>
          </p:nvPr>
        </p:nvSpPr>
        <p:spPr>
          <a:xfrm>
            <a:off x="5042453" y="1222515"/>
            <a:ext cx="3747637" cy="668563"/>
          </a:xfrm>
        </p:spPr>
        <p:txBody>
          <a:bodyPr vert="horz" wrap="square"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Tree>
    <p:extLst>
      <p:ext uri="{BB962C8B-B14F-4D97-AF65-F5344CB8AC3E}">
        <p14:creationId xmlns:p14="http://schemas.microsoft.com/office/powerpoint/2010/main" val="34831290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36D6534-374C-6004-A07E-A1C944FC6F26}"/>
              </a:ext>
            </a:extLst>
          </p:cNvPr>
          <p:cNvGraphicFramePr>
            <a:graphicFrameLocks noChangeAspect="1"/>
          </p:cNvGraphicFramePr>
          <p:nvPr userDrawn="1">
            <p:custDataLst>
              <p:tags r:id="rId1"/>
            </p:custDataLst>
            <p:extLst>
              <p:ext uri="{D42A27DB-BD31-4B8C-83A1-F6EECF244321}">
                <p14:modId xmlns:p14="http://schemas.microsoft.com/office/powerpoint/2010/main" val="418021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think-cell data - do not delete" hidden="1">
                        <a:extLst>
                          <a:ext uri="{FF2B5EF4-FFF2-40B4-BE49-F238E27FC236}">
                            <a16:creationId xmlns:a16="http://schemas.microsoft.com/office/drawing/2014/main" id="{936D6534-374C-6004-A07E-A1C944FC6F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p:cNvSpPr>
            <a:spLocks noGrp="1"/>
          </p:cNvSpPr>
          <p:nvPr>
            <p:ph type="ftr" sz="quarter" idx="11"/>
          </p:nvPr>
        </p:nvSpPr>
        <p:spPr/>
        <p:txBody>
          <a:bodyPr/>
          <a:lstStyle>
            <a:lvl1pPr rtl="0">
              <a:defRPr/>
            </a:lvl1pPr>
          </a:lstStyle>
          <a:p>
            <a:r>
              <a:rPr lang="af-ZA"/>
              <a:t>Työ- ja elinkeinoministeriö • www.tem.fi</a:t>
            </a:r>
          </a:p>
        </p:txBody>
      </p:sp>
      <p:sp>
        <p:nvSpPr>
          <p:cNvPr id="5" name="Date Placeholder 4"/>
          <p:cNvSpPr>
            <a:spLocks noGrp="1"/>
          </p:cNvSpPr>
          <p:nvPr>
            <p:ph type="dt" sz="half" idx="10"/>
          </p:nvPr>
        </p:nvSpPr>
        <p:spPr/>
        <p:txBody>
          <a:bodyPr/>
          <a:lstStyle>
            <a:lvl1pPr rtl="0">
              <a:defRPr/>
            </a:lvl1pPr>
          </a:lstStyle>
          <a:p>
            <a:fld id="{585218D1-828F-624F-B233-BF7AD71CC7E8}" type="datetime1">
              <a:rPr lang="af-ZA" smtClean="0"/>
              <a:pPr/>
              <a:t>2024-12-09</a:t>
            </a:fld>
            <a:endParaRPr lang="af-ZA"/>
          </a:p>
        </p:txBody>
      </p:sp>
      <p:sp>
        <p:nvSpPr>
          <p:cNvPr id="7" name="Slide Number Placeholder 6"/>
          <p:cNvSpPr>
            <a:spLocks noGrp="1"/>
          </p:cNvSpPr>
          <p:nvPr>
            <p:ph type="sldNum" sz="quarter" idx="12"/>
          </p:nvPr>
        </p:nvSpPr>
        <p:spPr/>
        <p:txBody>
          <a:bodyPr/>
          <a:lstStyle>
            <a:lvl1pPr rtl="0">
              <a:defRPr/>
            </a:lvl1pPr>
          </a:lstStyle>
          <a:p>
            <a:fld id="{1B5C75AB-37F2-194C-B2B6-38235384CF06}" type="slidenum">
              <a:rPr lang="af-ZA" smtClean="0"/>
              <a:pPr/>
              <a:t>‹#›</a:t>
            </a:fld>
            <a:endParaRPr lang="af-ZA"/>
          </a:p>
        </p:txBody>
      </p:sp>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spTree>
    <p:extLst>
      <p:ext uri="{BB962C8B-B14F-4D97-AF65-F5344CB8AC3E}">
        <p14:creationId xmlns:p14="http://schemas.microsoft.com/office/powerpoint/2010/main" val="10435909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Otsikkodia kuvalla">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25981387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BD9661-1094-F647-B9A0-4BF57A377AEC}"/>
              </a:ext>
            </a:extLst>
          </p:cNvPr>
          <p:cNvSpPr>
            <a:spLocks noGrp="1"/>
          </p:cNvSpPr>
          <p:nvPr>
            <p:ph type="title" hasCustomPrompt="1"/>
          </p:nvPr>
        </p:nvSpPr>
        <p:spPr>
          <a:xfrm>
            <a:off x="5042453" y="1222515"/>
            <a:ext cx="3747637" cy="668563"/>
          </a:xfrm>
        </p:spPr>
        <p:txBody>
          <a:bodyPr vert="horz"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18" name="Tekstin paikkamerkki 17">
            <a:extLst>
              <a:ext uri="{FF2B5EF4-FFF2-40B4-BE49-F238E27FC236}">
                <a16:creationId xmlns:a16="http://schemas.microsoft.com/office/drawing/2014/main" id="{BBDCDADC-7213-983C-3A27-21EDE0BA84DF}"/>
              </a:ext>
            </a:extLst>
          </p:cNvPr>
          <p:cNvSpPr>
            <a:spLocks noGrp="1"/>
          </p:cNvSpPr>
          <p:nvPr>
            <p:ph type="body" sz="quarter" idx="17" hasCustomPrompt="1"/>
          </p:nvPr>
        </p:nvSpPr>
        <p:spPr>
          <a:xfrm>
            <a:off x="5042297" y="1858877"/>
            <a:ext cx="3747637" cy="251532"/>
          </a:xfrm>
          <a:prstGeom prst="rect">
            <a:avLst/>
          </a:prstGeom>
        </p:spPr>
        <p:txBody>
          <a:bodyPr wrap="none">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19" name="Tekstin paikkamerkki 17">
            <a:extLst>
              <a:ext uri="{FF2B5EF4-FFF2-40B4-BE49-F238E27FC236}">
                <a16:creationId xmlns:a16="http://schemas.microsoft.com/office/drawing/2014/main" id="{16ECC0F3-3624-5E2A-75FD-2E1673164FE7}"/>
              </a:ext>
            </a:extLst>
          </p:cNvPr>
          <p:cNvSpPr>
            <a:spLocks noGrp="1"/>
          </p:cNvSpPr>
          <p:nvPr>
            <p:ph type="body" sz="quarter" idx="18" hasCustomPrompt="1"/>
          </p:nvPr>
        </p:nvSpPr>
        <p:spPr>
          <a:xfrm>
            <a:off x="5042297" y="2385651"/>
            <a:ext cx="3742134" cy="185272"/>
          </a:xfrm>
          <a:prstGeom prst="rect">
            <a:avLst/>
          </a:prstGeom>
        </p:spPr>
        <p:txBody>
          <a:bodyPr wrap="none">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20" name="Tekstin paikkamerkki 17">
            <a:extLst>
              <a:ext uri="{FF2B5EF4-FFF2-40B4-BE49-F238E27FC236}">
                <a16:creationId xmlns:a16="http://schemas.microsoft.com/office/drawing/2014/main" id="{06AAD213-B42B-C0B0-06B2-ADD1EF7268D7}"/>
              </a:ext>
            </a:extLst>
          </p:cNvPr>
          <p:cNvSpPr>
            <a:spLocks noGrp="1"/>
          </p:cNvSpPr>
          <p:nvPr>
            <p:ph type="body" sz="quarter" idx="19"/>
          </p:nvPr>
        </p:nvSpPr>
        <p:spPr>
          <a:xfrm>
            <a:off x="5042297" y="2573100"/>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1" name="Tekstin paikkamerkki 17">
            <a:extLst>
              <a:ext uri="{FF2B5EF4-FFF2-40B4-BE49-F238E27FC236}">
                <a16:creationId xmlns:a16="http://schemas.microsoft.com/office/drawing/2014/main" id="{200AAA17-A2F6-D764-0026-EF87A3FC173A}"/>
              </a:ext>
            </a:extLst>
          </p:cNvPr>
          <p:cNvSpPr>
            <a:spLocks noGrp="1"/>
          </p:cNvSpPr>
          <p:nvPr>
            <p:ph type="body" sz="quarter" idx="20"/>
          </p:nvPr>
        </p:nvSpPr>
        <p:spPr>
          <a:xfrm>
            <a:off x="5042297" y="2998566"/>
            <a:ext cx="3742134" cy="367489"/>
          </a:xfrm>
          <a:prstGeom prst="rect">
            <a:avLst/>
          </a:prstGeom>
        </p:spPr>
        <p:txBody>
          <a:bodyPr wrap="none">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2" name="Tekstin paikkamerkki 17">
            <a:extLst>
              <a:ext uri="{FF2B5EF4-FFF2-40B4-BE49-F238E27FC236}">
                <a16:creationId xmlns:a16="http://schemas.microsoft.com/office/drawing/2014/main" id="{39C9CB15-A1BF-C965-A127-236E98F91E8A}"/>
              </a:ext>
            </a:extLst>
          </p:cNvPr>
          <p:cNvSpPr>
            <a:spLocks noGrp="1"/>
          </p:cNvSpPr>
          <p:nvPr>
            <p:ph type="body" sz="quarter" idx="21" hasCustomPrompt="1"/>
          </p:nvPr>
        </p:nvSpPr>
        <p:spPr>
          <a:xfrm>
            <a:off x="5042297" y="3628042"/>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Tree>
    <p:extLst>
      <p:ext uri="{BB962C8B-B14F-4D97-AF65-F5344CB8AC3E}">
        <p14:creationId xmlns:p14="http://schemas.microsoft.com/office/powerpoint/2010/main" val="3039844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Otsikkodia kuvalla_flipped">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flipH="1">
            <a:off x="4555435"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41706361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BD9661-1094-F647-B9A0-4BF57A377AEC}"/>
              </a:ext>
            </a:extLst>
          </p:cNvPr>
          <p:cNvSpPr>
            <a:spLocks noGrp="1"/>
          </p:cNvSpPr>
          <p:nvPr>
            <p:ph type="title" hasCustomPrompt="1"/>
          </p:nvPr>
        </p:nvSpPr>
        <p:spPr>
          <a:xfrm>
            <a:off x="421200" y="1223100"/>
            <a:ext cx="3747637" cy="668563"/>
          </a:xfrm>
        </p:spPr>
        <p:txBody>
          <a:bodyPr vert="horz"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18" name="Tekstin paikkamerkki 17">
            <a:extLst>
              <a:ext uri="{FF2B5EF4-FFF2-40B4-BE49-F238E27FC236}">
                <a16:creationId xmlns:a16="http://schemas.microsoft.com/office/drawing/2014/main" id="{BBDCDADC-7213-983C-3A27-21EDE0BA84DF}"/>
              </a:ext>
            </a:extLst>
          </p:cNvPr>
          <p:cNvSpPr>
            <a:spLocks noGrp="1"/>
          </p:cNvSpPr>
          <p:nvPr>
            <p:ph type="body" sz="quarter" idx="17" hasCustomPrompt="1"/>
          </p:nvPr>
        </p:nvSpPr>
        <p:spPr>
          <a:xfrm>
            <a:off x="421200" y="1891663"/>
            <a:ext cx="3747637" cy="251532"/>
          </a:xfrm>
          <a:prstGeom prst="rect">
            <a:avLst/>
          </a:prstGeom>
        </p:spPr>
        <p:txBody>
          <a:bodyPr wrap="none">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19" name="Tekstin paikkamerkki 17">
            <a:extLst>
              <a:ext uri="{FF2B5EF4-FFF2-40B4-BE49-F238E27FC236}">
                <a16:creationId xmlns:a16="http://schemas.microsoft.com/office/drawing/2014/main" id="{16ECC0F3-3624-5E2A-75FD-2E1673164FE7}"/>
              </a:ext>
            </a:extLst>
          </p:cNvPr>
          <p:cNvSpPr>
            <a:spLocks noGrp="1"/>
          </p:cNvSpPr>
          <p:nvPr>
            <p:ph type="body" sz="quarter" idx="18" hasCustomPrompt="1"/>
          </p:nvPr>
        </p:nvSpPr>
        <p:spPr>
          <a:xfrm>
            <a:off x="421201" y="2418437"/>
            <a:ext cx="3742134" cy="185272"/>
          </a:xfrm>
          <a:prstGeom prst="rect">
            <a:avLst/>
          </a:prstGeom>
        </p:spPr>
        <p:txBody>
          <a:bodyPr wrap="none">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20" name="Tekstin paikkamerkki 17">
            <a:extLst>
              <a:ext uri="{FF2B5EF4-FFF2-40B4-BE49-F238E27FC236}">
                <a16:creationId xmlns:a16="http://schemas.microsoft.com/office/drawing/2014/main" id="{06AAD213-B42B-C0B0-06B2-ADD1EF7268D7}"/>
              </a:ext>
            </a:extLst>
          </p:cNvPr>
          <p:cNvSpPr>
            <a:spLocks noGrp="1"/>
          </p:cNvSpPr>
          <p:nvPr>
            <p:ph type="body" sz="quarter" idx="19"/>
          </p:nvPr>
        </p:nvSpPr>
        <p:spPr>
          <a:xfrm>
            <a:off x="421201" y="2605887"/>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1" name="Tekstin paikkamerkki 17">
            <a:extLst>
              <a:ext uri="{FF2B5EF4-FFF2-40B4-BE49-F238E27FC236}">
                <a16:creationId xmlns:a16="http://schemas.microsoft.com/office/drawing/2014/main" id="{200AAA17-A2F6-D764-0026-EF87A3FC173A}"/>
              </a:ext>
            </a:extLst>
          </p:cNvPr>
          <p:cNvSpPr>
            <a:spLocks noGrp="1"/>
          </p:cNvSpPr>
          <p:nvPr>
            <p:ph type="body" sz="quarter" idx="20"/>
          </p:nvPr>
        </p:nvSpPr>
        <p:spPr>
          <a:xfrm>
            <a:off x="421201" y="3031352"/>
            <a:ext cx="3742134" cy="367489"/>
          </a:xfrm>
          <a:prstGeom prst="rect">
            <a:avLst/>
          </a:prstGeom>
        </p:spPr>
        <p:txBody>
          <a:bodyPr wrap="none">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2" name="Tekstin paikkamerkki 17">
            <a:extLst>
              <a:ext uri="{FF2B5EF4-FFF2-40B4-BE49-F238E27FC236}">
                <a16:creationId xmlns:a16="http://schemas.microsoft.com/office/drawing/2014/main" id="{39C9CB15-A1BF-C965-A127-236E98F91E8A}"/>
              </a:ext>
            </a:extLst>
          </p:cNvPr>
          <p:cNvSpPr>
            <a:spLocks noGrp="1"/>
          </p:cNvSpPr>
          <p:nvPr>
            <p:ph type="body" sz="quarter" idx="21" hasCustomPrompt="1"/>
          </p:nvPr>
        </p:nvSpPr>
        <p:spPr>
          <a:xfrm>
            <a:off x="421201" y="3660828"/>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Tree>
    <p:extLst>
      <p:ext uri="{BB962C8B-B14F-4D97-AF65-F5344CB8AC3E}">
        <p14:creationId xmlns:p14="http://schemas.microsoft.com/office/powerpoint/2010/main" val="1752411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Otsikkodia kuvalla 2">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42345811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18" name="Tekstin paikkamerkki 17">
            <a:extLst>
              <a:ext uri="{FF2B5EF4-FFF2-40B4-BE49-F238E27FC236}">
                <a16:creationId xmlns:a16="http://schemas.microsoft.com/office/drawing/2014/main" id="{BBDCDADC-7213-983C-3A27-21EDE0BA84DF}"/>
              </a:ext>
            </a:extLst>
          </p:cNvPr>
          <p:cNvSpPr>
            <a:spLocks noGrp="1"/>
          </p:cNvSpPr>
          <p:nvPr>
            <p:ph type="body" sz="quarter" idx="17" hasCustomPrompt="1"/>
          </p:nvPr>
        </p:nvSpPr>
        <p:spPr>
          <a:xfrm>
            <a:off x="5042297" y="1858877"/>
            <a:ext cx="3747637" cy="251532"/>
          </a:xfrm>
          <a:prstGeom prst="rect">
            <a:avLst/>
          </a:prstGeom>
        </p:spPr>
        <p:txBody>
          <a:bodyPr>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19" name="Tekstin paikkamerkki 17">
            <a:extLst>
              <a:ext uri="{FF2B5EF4-FFF2-40B4-BE49-F238E27FC236}">
                <a16:creationId xmlns:a16="http://schemas.microsoft.com/office/drawing/2014/main" id="{16ECC0F3-3624-5E2A-75FD-2E1673164FE7}"/>
              </a:ext>
            </a:extLst>
          </p:cNvPr>
          <p:cNvSpPr>
            <a:spLocks noGrp="1"/>
          </p:cNvSpPr>
          <p:nvPr>
            <p:ph type="body" sz="quarter" idx="18" hasCustomPrompt="1"/>
          </p:nvPr>
        </p:nvSpPr>
        <p:spPr>
          <a:xfrm>
            <a:off x="5042297" y="2385651"/>
            <a:ext cx="3742134" cy="185272"/>
          </a:xfrm>
          <a:prstGeom prst="rect">
            <a:avLst/>
          </a:prstGeom>
        </p:spPr>
        <p:txBody>
          <a:bodyPr>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20" name="Tekstin paikkamerkki 17">
            <a:extLst>
              <a:ext uri="{FF2B5EF4-FFF2-40B4-BE49-F238E27FC236}">
                <a16:creationId xmlns:a16="http://schemas.microsoft.com/office/drawing/2014/main" id="{06AAD213-B42B-C0B0-06B2-ADD1EF7268D7}"/>
              </a:ext>
            </a:extLst>
          </p:cNvPr>
          <p:cNvSpPr>
            <a:spLocks noGrp="1"/>
          </p:cNvSpPr>
          <p:nvPr>
            <p:ph type="body" sz="quarter" idx="19"/>
          </p:nvPr>
        </p:nvSpPr>
        <p:spPr>
          <a:xfrm>
            <a:off x="5042297" y="2574288"/>
            <a:ext cx="3742134" cy="185272"/>
          </a:xfrm>
          <a:prstGeom prst="rect">
            <a:avLst/>
          </a:prstGeom>
        </p:spPr>
        <p:txBody>
          <a:bodyPr>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1" name="Tekstin paikkamerkki 17">
            <a:extLst>
              <a:ext uri="{FF2B5EF4-FFF2-40B4-BE49-F238E27FC236}">
                <a16:creationId xmlns:a16="http://schemas.microsoft.com/office/drawing/2014/main" id="{200AAA17-A2F6-D764-0026-EF87A3FC173A}"/>
              </a:ext>
            </a:extLst>
          </p:cNvPr>
          <p:cNvSpPr>
            <a:spLocks noGrp="1"/>
          </p:cNvSpPr>
          <p:nvPr>
            <p:ph type="body" sz="quarter" idx="20"/>
          </p:nvPr>
        </p:nvSpPr>
        <p:spPr>
          <a:xfrm>
            <a:off x="5042297" y="2998566"/>
            <a:ext cx="3742134" cy="367489"/>
          </a:xfrm>
          <a:prstGeom prst="rect">
            <a:avLst/>
          </a:prstGeom>
        </p:spPr>
        <p:txBody>
          <a:bodyPr>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2" name="Tekstin paikkamerkki 17">
            <a:extLst>
              <a:ext uri="{FF2B5EF4-FFF2-40B4-BE49-F238E27FC236}">
                <a16:creationId xmlns:a16="http://schemas.microsoft.com/office/drawing/2014/main" id="{39C9CB15-A1BF-C965-A127-236E98F91E8A}"/>
              </a:ext>
            </a:extLst>
          </p:cNvPr>
          <p:cNvSpPr>
            <a:spLocks noGrp="1"/>
          </p:cNvSpPr>
          <p:nvPr>
            <p:ph type="body" sz="quarter" idx="21" hasCustomPrompt="1"/>
          </p:nvPr>
        </p:nvSpPr>
        <p:spPr>
          <a:xfrm>
            <a:off x="5042297" y="3628042"/>
            <a:ext cx="3742134" cy="185272"/>
          </a:xfrm>
          <a:prstGeom prst="rect">
            <a:avLst/>
          </a:prstGeom>
        </p:spPr>
        <p:txBody>
          <a:bodyPr>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
        <p:nvSpPr>
          <p:cNvPr id="3" name="Title 1">
            <a:extLst>
              <a:ext uri="{FF2B5EF4-FFF2-40B4-BE49-F238E27FC236}">
                <a16:creationId xmlns:a16="http://schemas.microsoft.com/office/drawing/2014/main" id="{3CDFA3ED-0062-34BE-1507-BA1E771F4DDD}"/>
              </a:ext>
            </a:extLst>
          </p:cNvPr>
          <p:cNvSpPr>
            <a:spLocks noGrp="1"/>
          </p:cNvSpPr>
          <p:nvPr>
            <p:ph type="title" hasCustomPrompt="1"/>
          </p:nvPr>
        </p:nvSpPr>
        <p:spPr>
          <a:xfrm>
            <a:off x="5042453" y="1222515"/>
            <a:ext cx="3747637" cy="668563"/>
          </a:xfrm>
        </p:spPr>
        <p:txBody>
          <a:bodyPr vert="horz"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Tree>
    <p:extLst>
      <p:ext uri="{BB962C8B-B14F-4D97-AF65-F5344CB8AC3E}">
        <p14:creationId xmlns:p14="http://schemas.microsoft.com/office/powerpoint/2010/main" val="25629654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Otsikkodia kuvalla">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3289298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3" name="Title 1">
            <a:extLst>
              <a:ext uri="{FF2B5EF4-FFF2-40B4-BE49-F238E27FC236}">
                <a16:creationId xmlns:a16="http://schemas.microsoft.com/office/drawing/2014/main" id="{9D6A1A1F-E432-7453-A688-0AAC2B593121}"/>
              </a:ext>
            </a:extLst>
          </p:cNvPr>
          <p:cNvSpPr>
            <a:spLocks noGrp="1"/>
          </p:cNvSpPr>
          <p:nvPr>
            <p:ph type="title" hasCustomPrompt="1"/>
          </p:nvPr>
        </p:nvSpPr>
        <p:spPr>
          <a:xfrm>
            <a:off x="4718498" y="1058549"/>
            <a:ext cx="4065933" cy="594662"/>
          </a:xfrm>
        </p:spPr>
        <p:txBody>
          <a:bodyPr vert="horz" wrap="square">
            <a:noAutofit/>
          </a:bodyPr>
          <a:lstStyle>
            <a:lvl1pPr rtl="0">
              <a:defRPr b="0"/>
            </a:lvl1pPr>
          </a:lstStyle>
          <a:p>
            <a:r>
              <a:rPr lang="af-ZA" noProof="0"/>
              <a:t>Lisää otsikko</a:t>
            </a:r>
          </a:p>
        </p:txBody>
      </p:sp>
      <p:sp>
        <p:nvSpPr>
          <p:cNvPr id="4" name="Text Placeholder 2">
            <a:extLst>
              <a:ext uri="{FF2B5EF4-FFF2-40B4-BE49-F238E27FC236}">
                <a16:creationId xmlns:a16="http://schemas.microsoft.com/office/drawing/2014/main" id="{C96D2A0B-6950-0B85-4CA3-2BAEED4E44B1}"/>
              </a:ext>
            </a:extLst>
          </p:cNvPr>
          <p:cNvSpPr>
            <a:spLocks noGrp="1"/>
          </p:cNvSpPr>
          <p:nvPr>
            <p:ph type="body" sz="quarter" idx="13"/>
          </p:nvPr>
        </p:nvSpPr>
        <p:spPr>
          <a:xfrm>
            <a:off x="4718498" y="1653210"/>
            <a:ext cx="4065934" cy="3133102"/>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287987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_Otsikkodia kuvalla">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flipH="1">
            <a:off x="4555435"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3754453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3" name="Title 1">
            <a:extLst>
              <a:ext uri="{FF2B5EF4-FFF2-40B4-BE49-F238E27FC236}">
                <a16:creationId xmlns:a16="http://schemas.microsoft.com/office/drawing/2014/main" id="{9D6A1A1F-E432-7453-A688-0AAC2B593121}"/>
              </a:ext>
            </a:extLst>
          </p:cNvPr>
          <p:cNvSpPr>
            <a:spLocks noGrp="1"/>
          </p:cNvSpPr>
          <p:nvPr>
            <p:ph type="title" hasCustomPrompt="1"/>
          </p:nvPr>
        </p:nvSpPr>
        <p:spPr>
          <a:xfrm>
            <a:off x="421201" y="1058400"/>
            <a:ext cx="4065933" cy="594662"/>
          </a:xfrm>
        </p:spPr>
        <p:txBody>
          <a:bodyPr vert="horz" wrap="square">
            <a:noAutofit/>
          </a:bodyPr>
          <a:lstStyle>
            <a:lvl1pPr rtl="0">
              <a:defRPr b="0"/>
            </a:lvl1pPr>
          </a:lstStyle>
          <a:p>
            <a:r>
              <a:rPr lang="af-ZA" noProof="0"/>
              <a:t>Lisää otsikko</a:t>
            </a:r>
          </a:p>
        </p:txBody>
      </p:sp>
      <p:sp>
        <p:nvSpPr>
          <p:cNvPr id="4" name="Text Placeholder 2">
            <a:extLst>
              <a:ext uri="{FF2B5EF4-FFF2-40B4-BE49-F238E27FC236}">
                <a16:creationId xmlns:a16="http://schemas.microsoft.com/office/drawing/2014/main" id="{C96D2A0B-6950-0B85-4CA3-2BAEED4E44B1}"/>
              </a:ext>
            </a:extLst>
          </p:cNvPr>
          <p:cNvSpPr>
            <a:spLocks noGrp="1"/>
          </p:cNvSpPr>
          <p:nvPr>
            <p:ph type="body" sz="quarter" idx="13"/>
          </p:nvPr>
        </p:nvSpPr>
        <p:spPr>
          <a:xfrm>
            <a:off x="421200" y="1653062"/>
            <a:ext cx="4065934" cy="3133102"/>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693410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Otsikkodia kuvalla 2">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37638717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2" name="Title 1">
            <a:extLst>
              <a:ext uri="{FF2B5EF4-FFF2-40B4-BE49-F238E27FC236}">
                <a16:creationId xmlns:a16="http://schemas.microsoft.com/office/drawing/2014/main" id="{8CC87460-BE63-65F4-6D3A-E0F1A3BED4BE}"/>
              </a:ext>
            </a:extLst>
          </p:cNvPr>
          <p:cNvSpPr>
            <a:spLocks noGrp="1"/>
          </p:cNvSpPr>
          <p:nvPr>
            <p:ph type="title" hasCustomPrompt="1"/>
          </p:nvPr>
        </p:nvSpPr>
        <p:spPr>
          <a:xfrm>
            <a:off x="4718498" y="1058549"/>
            <a:ext cx="4065933" cy="594662"/>
          </a:xfrm>
        </p:spPr>
        <p:txBody>
          <a:bodyPr vert="horz" wrap="square">
            <a:noAutofit/>
          </a:bodyPr>
          <a:lstStyle>
            <a:lvl1pPr rtl="0">
              <a:defRPr b="0"/>
            </a:lvl1pPr>
          </a:lstStyle>
          <a:p>
            <a:r>
              <a:rPr lang="af-ZA" noProof="0"/>
              <a:t>Lisää otsikko</a:t>
            </a:r>
          </a:p>
        </p:txBody>
      </p:sp>
      <p:sp>
        <p:nvSpPr>
          <p:cNvPr id="4" name="Text Placeholder 2">
            <a:extLst>
              <a:ext uri="{FF2B5EF4-FFF2-40B4-BE49-F238E27FC236}">
                <a16:creationId xmlns:a16="http://schemas.microsoft.com/office/drawing/2014/main" id="{18D3E47C-BE3A-9A3A-C42D-6B0D39BB439A}"/>
              </a:ext>
            </a:extLst>
          </p:cNvPr>
          <p:cNvSpPr>
            <a:spLocks noGrp="1"/>
          </p:cNvSpPr>
          <p:nvPr>
            <p:ph type="body" sz="quarter" idx="13"/>
          </p:nvPr>
        </p:nvSpPr>
        <p:spPr>
          <a:xfrm>
            <a:off x="4718498" y="1653210"/>
            <a:ext cx="4065934" cy="3133102"/>
          </a:xfrm>
          <a:prstGeom prst="rect">
            <a:avLst/>
          </a:prstGeom>
        </p:spPr>
        <p:txBody>
          <a:bodyPr wrap="square">
            <a:noAutofit/>
          </a:bodyPr>
          <a:lstStyle>
            <a:lvl1pPr rtl="0">
              <a:defRPr/>
            </a:lvl1pPr>
            <a:lvl2pPr rtl="0">
              <a:lnSpc>
                <a:spcPct val="100000"/>
              </a:lnSpc>
              <a:defRPr/>
            </a:lvl2pPr>
            <a:lvl3pPr marL="405000" indent="-135000" rtl="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a:p>
            <a:pPr lvl="2"/>
            <a:r>
              <a:rPr lang="af-ZA"/>
              <a:t>Third level</a:t>
            </a:r>
          </a:p>
        </p:txBody>
      </p:sp>
    </p:spTree>
    <p:extLst>
      <p:ext uri="{BB962C8B-B14F-4D97-AF65-F5344CB8AC3E}">
        <p14:creationId xmlns:p14="http://schemas.microsoft.com/office/powerpoint/2010/main" val="3883198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elkkä otsikk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E18252-4192-D3A7-61AE-F081A4E7EA42}"/>
              </a:ext>
            </a:extLst>
          </p:cNvPr>
          <p:cNvGraphicFramePr>
            <a:graphicFrameLocks noChangeAspect="1"/>
          </p:cNvGraphicFramePr>
          <p:nvPr userDrawn="1">
            <p:custDataLst>
              <p:tags r:id="rId1"/>
            </p:custDataLst>
            <p:extLst>
              <p:ext uri="{D42A27DB-BD31-4B8C-83A1-F6EECF244321}">
                <p14:modId xmlns:p14="http://schemas.microsoft.com/office/powerpoint/2010/main" val="37286357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0E18252-4192-D3A7-61AE-F081A4E7EA4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122DEA15-1457-EF4E-6FF7-4F46D7D0DD41}"/>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8" name="Date Placeholder 2">
            <a:extLst>
              <a:ext uri="{FF2B5EF4-FFF2-40B4-BE49-F238E27FC236}">
                <a16:creationId xmlns:a16="http://schemas.microsoft.com/office/drawing/2014/main" id="{D0D48DB8-1A5F-F761-48F4-99512B34C47A}"/>
              </a:ext>
            </a:extLst>
          </p:cNvPr>
          <p:cNvSpPr>
            <a:spLocks noGrp="1"/>
          </p:cNvSpPr>
          <p:nvPr>
            <p:ph type="dt" sz="half" idx="10"/>
          </p:nvPr>
        </p:nvSpPr>
        <p:spPr>
          <a:xfrm>
            <a:off x="7610236" y="4883762"/>
            <a:ext cx="972741" cy="164194"/>
          </a:xfrm>
          <a:prstGeom prst="rect">
            <a:avLst/>
          </a:prstGeom>
        </p:spPr>
        <p:txBody>
          <a:bodyPr wrap="square">
            <a:noAutofit/>
          </a:bodyPr>
          <a:lstStyle>
            <a:lvl1pPr algn="ctr" rtl="0">
              <a:defRPr sz="675"/>
            </a:lvl1pPr>
          </a:lstStyle>
          <a:p>
            <a:pPr>
              <a:defRPr/>
            </a:pPr>
            <a:fld id="{8A038578-546F-45C1-9982-7076BA6E898B}" type="datetime1">
              <a:rPr lang="af-ZA" smtClean="0">
                <a:solidFill>
                  <a:srgbClr val="000000"/>
                </a:solidFill>
              </a:rPr>
              <a:pPr>
                <a:defRPr/>
              </a:pPr>
              <a:t>2024-12-09</a:t>
            </a:fld>
            <a:endParaRPr lang="af-ZA">
              <a:solidFill>
                <a:srgbClr val="000000"/>
              </a:solidFill>
            </a:endParaRPr>
          </a:p>
        </p:txBody>
      </p:sp>
      <p:sp>
        <p:nvSpPr>
          <p:cNvPr id="9" name="Footer Placeholder 3">
            <a:extLst>
              <a:ext uri="{FF2B5EF4-FFF2-40B4-BE49-F238E27FC236}">
                <a16:creationId xmlns:a16="http://schemas.microsoft.com/office/drawing/2014/main" id="{C40CA5EC-4F3F-86E4-9FDA-9067F05533A7}"/>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6BD7DA59-E7AD-347F-F673-3EA856DC7D1F}"/>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Tree>
    <p:extLst>
      <p:ext uri="{BB962C8B-B14F-4D97-AF65-F5344CB8AC3E}">
        <p14:creationId xmlns:p14="http://schemas.microsoft.com/office/powerpoint/2010/main" val="26100809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tsikko + Sisältö">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03EA1F9-2126-03D3-BEC2-B3C7DB1CA4BF}"/>
              </a:ext>
            </a:extLst>
          </p:cNvPr>
          <p:cNvGraphicFramePr>
            <a:graphicFrameLocks noChangeAspect="1"/>
          </p:cNvGraphicFramePr>
          <p:nvPr userDrawn="1">
            <p:custDataLst>
              <p:tags r:id="rId1"/>
            </p:custDataLst>
            <p:extLst>
              <p:ext uri="{D42A27DB-BD31-4B8C-83A1-F6EECF244321}">
                <p14:modId xmlns:p14="http://schemas.microsoft.com/office/powerpoint/2010/main" val="27833611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F03EA1F9-2126-03D3-BEC2-B3C7DB1CA4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192156AB-D327-31E5-6752-B7CF946A971F}"/>
              </a:ext>
            </a:extLst>
          </p:cNvPr>
          <p:cNvSpPr>
            <a:spLocks noGrp="1"/>
          </p:cNvSpPr>
          <p:nvPr>
            <p:ph type="title" hasCustomPrompt="1"/>
          </p:nvPr>
        </p:nvSpPr>
        <p:spPr>
          <a:xfrm>
            <a:off x="359568" y="249493"/>
            <a:ext cx="8424862" cy="594662"/>
          </a:xfrm>
        </p:spPr>
        <p:txBody>
          <a:bodyPr vert="horz" wrap="square">
            <a:noAutofit/>
          </a:bodyPr>
          <a:lstStyle>
            <a:lvl1pPr rtl="0">
              <a:defRPr b="0"/>
            </a:lvl1pPr>
          </a:lstStyle>
          <a:p>
            <a:r>
              <a:rPr lang="af-ZA" noProof="0"/>
              <a:t>Lisää otsikko</a:t>
            </a:r>
          </a:p>
        </p:txBody>
      </p:sp>
      <p:sp>
        <p:nvSpPr>
          <p:cNvPr id="17" name="Footer Placeholder 3">
            <a:extLst>
              <a:ext uri="{FF2B5EF4-FFF2-40B4-BE49-F238E27FC236}">
                <a16:creationId xmlns:a16="http://schemas.microsoft.com/office/drawing/2014/main" id="{DB511F4F-BAB0-73C5-5D43-7CE38A07B7F1}"/>
              </a:ext>
            </a:extLst>
          </p:cNvPr>
          <p:cNvSpPr>
            <a:spLocks noGrp="1"/>
          </p:cNvSpPr>
          <p:nvPr>
            <p:ph type="ftr" sz="quarter" idx="11"/>
          </p:nvPr>
        </p:nvSpPr>
        <p:spPr>
          <a:xfrm>
            <a:off x="1331638" y="4884056"/>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8" name="Slide Number Placeholder 4">
            <a:extLst>
              <a:ext uri="{FF2B5EF4-FFF2-40B4-BE49-F238E27FC236}">
                <a16:creationId xmlns:a16="http://schemas.microsoft.com/office/drawing/2014/main" id="{F731E737-ABBF-54D7-429E-714E7E5AF65E}"/>
              </a:ext>
            </a:extLst>
          </p:cNvPr>
          <p:cNvSpPr>
            <a:spLocks noGrp="1"/>
          </p:cNvSpPr>
          <p:nvPr>
            <p:ph type="sldNum" sz="quarter" idx="12"/>
          </p:nvPr>
        </p:nvSpPr>
        <p:spPr>
          <a:xfrm>
            <a:off x="8597026" y="4883517"/>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
        <p:nvSpPr>
          <p:cNvPr id="3" name="Text Placeholder 2">
            <a:extLst>
              <a:ext uri="{FF2B5EF4-FFF2-40B4-BE49-F238E27FC236}">
                <a16:creationId xmlns:a16="http://schemas.microsoft.com/office/drawing/2014/main" id="{BCFE88D8-A34A-4AE0-6D81-E1186BC0871B}"/>
              </a:ext>
            </a:extLst>
          </p:cNvPr>
          <p:cNvSpPr>
            <a:spLocks noGrp="1"/>
          </p:cNvSpPr>
          <p:nvPr>
            <p:ph type="body" sz="quarter" idx="13"/>
          </p:nvPr>
        </p:nvSpPr>
        <p:spPr>
          <a:xfrm>
            <a:off x="359569" y="926100"/>
            <a:ext cx="8424863" cy="3805444"/>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5259114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tsikko+sisältö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B3E3B1-0295-C419-445A-2232FC2244BF}"/>
              </a:ext>
            </a:extLst>
          </p:cNvPr>
          <p:cNvGraphicFramePr>
            <a:graphicFrameLocks noChangeAspect="1"/>
          </p:cNvGraphicFramePr>
          <p:nvPr userDrawn="1">
            <p:custDataLst>
              <p:tags r:id="rId1"/>
            </p:custDataLst>
            <p:extLst>
              <p:ext uri="{D42A27DB-BD31-4B8C-83A1-F6EECF244321}">
                <p14:modId xmlns:p14="http://schemas.microsoft.com/office/powerpoint/2010/main" val="21172446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10B3E3B1-0295-C419-445A-2232FC2244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1D29E5C8-6823-D1E7-64E8-C14BA3E04270}"/>
              </a:ext>
            </a:extLst>
          </p:cNvPr>
          <p:cNvSpPr>
            <a:spLocks noGrp="1"/>
          </p:cNvSpPr>
          <p:nvPr>
            <p:ph type="body" sz="quarter" idx="18"/>
          </p:nvPr>
        </p:nvSpPr>
        <p:spPr>
          <a:xfrm>
            <a:off x="4599385" y="845100"/>
            <a:ext cx="4184538"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5" name="Text Placeholder 2">
            <a:extLst>
              <a:ext uri="{FF2B5EF4-FFF2-40B4-BE49-F238E27FC236}">
                <a16:creationId xmlns:a16="http://schemas.microsoft.com/office/drawing/2014/main" id="{A569A1D6-EB3A-33A2-82EF-BB9B581FE771}"/>
              </a:ext>
            </a:extLst>
          </p:cNvPr>
          <p:cNvSpPr>
            <a:spLocks noGrp="1"/>
          </p:cNvSpPr>
          <p:nvPr>
            <p:ph type="body" sz="quarter" idx="17"/>
          </p:nvPr>
        </p:nvSpPr>
        <p:spPr>
          <a:xfrm>
            <a:off x="359100" y="845100"/>
            <a:ext cx="4183856"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14" name="Text Placeholder 13">
            <a:extLst>
              <a:ext uri="{FF2B5EF4-FFF2-40B4-BE49-F238E27FC236}">
                <a16:creationId xmlns:a16="http://schemas.microsoft.com/office/drawing/2014/main" id="{69A74296-832D-5533-EFCE-18837184E4A2}"/>
              </a:ext>
            </a:extLst>
          </p:cNvPr>
          <p:cNvSpPr>
            <a:spLocks noGrp="1"/>
          </p:cNvSpPr>
          <p:nvPr>
            <p:ph type="body" sz="quarter" idx="20"/>
          </p:nvPr>
        </p:nvSpPr>
        <p:spPr>
          <a:xfrm>
            <a:off x="4599385" y="1059656"/>
            <a:ext cx="4183856" cy="3726655"/>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
        <p:nvSpPr>
          <p:cNvPr id="7" name="Title 1">
            <a:extLst>
              <a:ext uri="{FF2B5EF4-FFF2-40B4-BE49-F238E27FC236}">
                <a16:creationId xmlns:a16="http://schemas.microsoft.com/office/drawing/2014/main" id="{106382E3-9A3E-85C7-B109-DDD29E760F97}"/>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488005BF-D040-D204-6F6D-41287A824521}"/>
              </a:ext>
            </a:extLst>
          </p:cNvPr>
          <p:cNvSpPr>
            <a:spLocks noGrp="1"/>
          </p:cNvSpPr>
          <p:nvPr>
            <p:ph type="ftr" sz="quarter" idx="11"/>
          </p:nvPr>
        </p:nvSpPr>
        <p:spPr>
          <a:xfrm>
            <a:off x="1331640" y="4883762"/>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991CBCBC-08C9-7FB3-781B-EABE97D75B5B}"/>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cxnSp>
        <p:nvCxnSpPr>
          <p:cNvPr id="15" name="Straight Connector 14">
            <a:extLst>
              <a:ext uri="{FF2B5EF4-FFF2-40B4-BE49-F238E27FC236}">
                <a16:creationId xmlns:a16="http://schemas.microsoft.com/office/drawing/2014/main" id="{E2A94CB8-0118-6482-6DDF-8588F00E909F}"/>
              </a:ext>
            </a:extLst>
          </p:cNvPr>
          <p:cNvCxnSpPr>
            <a:cxnSpLocks/>
          </p:cNvCxnSpPr>
          <p:nvPr userDrawn="1"/>
        </p:nvCxnSpPr>
        <p:spPr>
          <a:xfrm>
            <a:off x="359100" y="1061100"/>
            <a:ext cx="418551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FE6B5CF-ABAD-97F7-D317-1D7DC4259113}"/>
              </a:ext>
            </a:extLst>
          </p:cNvPr>
          <p:cNvCxnSpPr>
            <a:cxnSpLocks/>
          </p:cNvCxnSpPr>
          <p:nvPr userDrawn="1"/>
        </p:nvCxnSpPr>
        <p:spPr>
          <a:xfrm flipV="1">
            <a:off x="4599385" y="1061100"/>
            <a:ext cx="418504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3FE52E0-9D88-4E19-4557-2712647129CB}"/>
              </a:ext>
            </a:extLst>
          </p:cNvPr>
          <p:cNvSpPr>
            <a:spLocks noGrp="1"/>
          </p:cNvSpPr>
          <p:nvPr>
            <p:ph type="body" sz="quarter" idx="19"/>
          </p:nvPr>
        </p:nvSpPr>
        <p:spPr>
          <a:xfrm>
            <a:off x="359569" y="1059656"/>
            <a:ext cx="4185047" cy="3726655"/>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14002056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tsikko+sisältö 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9F96-6D25-ABCB-2CFE-9A86F8F74330}"/>
              </a:ext>
            </a:extLst>
          </p:cNvPr>
          <p:cNvGraphicFramePr>
            <a:graphicFrameLocks noChangeAspect="1"/>
          </p:cNvGraphicFramePr>
          <p:nvPr userDrawn="1">
            <p:custDataLst>
              <p:tags r:id="rId1"/>
            </p:custDataLst>
            <p:extLst>
              <p:ext uri="{D42A27DB-BD31-4B8C-83A1-F6EECF244321}">
                <p14:modId xmlns:p14="http://schemas.microsoft.com/office/powerpoint/2010/main" val="19662580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17F79F96-6D25-ABCB-2CFE-9A86F8F7433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BF3E4873-A3FE-5859-6A6E-B75D540D9B9E}"/>
              </a:ext>
            </a:extLst>
          </p:cNvPr>
          <p:cNvSpPr>
            <a:spLocks noGrp="1"/>
          </p:cNvSpPr>
          <p:nvPr>
            <p:ph type="body" sz="quarter" idx="17"/>
          </p:nvPr>
        </p:nvSpPr>
        <p:spPr>
          <a:xfrm>
            <a:off x="359100" y="844153"/>
            <a:ext cx="2809154"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7" name="Title 1">
            <a:extLst>
              <a:ext uri="{FF2B5EF4-FFF2-40B4-BE49-F238E27FC236}">
                <a16:creationId xmlns:a16="http://schemas.microsoft.com/office/drawing/2014/main" id="{151F0D4B-A93B-8C76-8AF5-6A0295EA50FA}"/>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0C176388-DE66-C57A-44EE-B515ABC23DE6}"/>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9B90BCF1-4B02-7CA6-4A79-A6A5A8FF76A5}"/>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cxnSp>
        <p:nvCxnSpPr>
          <p:cNvPr id="14" name="Straight Connector 13">
            <a:extLst>
              <a:ext uri="{FF2B5EF4-FFF2-40B4-BE49-F238E27FC236}">
                <a16:creationId xmlns:a16="http://schemas.microsoft.com/office/drawing/2014/main" id="{57093ED4-B5E3-F4D2-7939-3F9ACACECF61}"/>
              </a:ext>
            </a:extLst>
          </p:cNvPr>
          <p:cNvCxnSpPr>
            <a:cxnSpLocks/>
          </p:cNvCxnSpPr>
          <p:nvPr userDrawn="1"/>
        </p:nvCxnSpPr>
        <p:spPr>
          <a:xfrm>
            <a:off x="359568" y="1060153"/>
            <a:ext cx="280868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CFA28FB-47BC-2840-1681-FA4375FE310B}"/>
              </a:ext>
            </a:extLst>
          </p:cNvPr>
          <p:cNvSpPr>
            <a:spLocks noGrp="1"/>
          </p:cNvSpPr>
          <p:nvPr>
            <p:ph type="body" sz="quarter" idx="18"/>
          </p:nvPr>
        </p:nvSpPr>
        <p:spPr>
          <a:xfrm>
            <a:off x="359568" y="1059657"/>
            <a:ext cx="2808685" cy="3726656"/>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2813671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yhjä">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C363129-2CBD-568D-2851-B1A54E025CBC}"/>
              </a:ext>
            </a:extLst>
          </p:cNvPr>
          <p:cNvGraphicFramePr>
            <a:graphicFrameLocks noChangeAspect="1"/>
          </p:cNvGraphicFramePr>
          <p:nvPr userDrawn="1">
            <p:custDataLst>
              <p:tags r:id="rId1"/>
            </p:custDataLst>
            <p:extLst>
              <p:ext uri="{D42A27DB-BD31-4B8C-83A1-F6EECF244321}">
                <p14:modId xmlns:p14="http://schemas.microsoft.com/office/powerpoint/2010/main" val="722572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think-cell data - do not delete" hidden="1">
                        <a:extLst>
                          <a:ext uri="{FF2B5EF4-FFF2-40B4-BE49-F238E27FC236}">
                            <a16:creationId xmlns:a16="http://schemas.microsoft.com/office/drawing/2014/main" id="{CC363129-2CBD-568D-2851-B1A54E025C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pic>
        <p:nvPicPr>
          <p:cNvPr id="7" name="Kuva 6"/>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10" name="Suorakulmio 9"/>
          <p:cNvSpPr/>
          <p:nvPr userDrawn="1"/>
        </p:nvSpPr>
        <p:spPr>
          <a:xfrm>
            <a:off x="-2710" y="0"/>
            <a:ext cx="9144000" cy="51444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af-ZA"/>
          </a:p>
        </p:txBody>
      </p:sp>
      <p:sp>
        <p:nvSpPr>
          <p:cNvPr id="11" name="Text Placeholder 21"/>
          <p:cNvSpPr>
            <a:spLocks noGrp="1"/>
          </p:cNvSpPr>
          <p:nvPr>
            <p:ph type="body" sz="quarter" idx="10" hasCustomPrompt="1"/>
          </p:nvPr>
        </p:nvSpPr>
        <p:spPr>
          <a:xfrm>
            <a:off x="2114222" y="1225549"/>
            <a:ext cx="4910137" cy="2692401"/>
          </a:xfrm>
        </p:spPr>
        <p:txBody>
          <a:bodyPr lIns="90000" anchor="ctr" anchorCtr="1">
            <a:noAutofit/>
          </a:bodyPr>
          <a:lstStyle>
            <a:lvl1pPr marL="0" indent="0" algn="ctr" rtl="0">
              <a:buNone/>
              <a:defRPr sz="4400" b="1" baseline="0">
                <a:solidFill>
                  <a:schemeClr val="bg1"/>
                </a:solidFill>
              </a:defRPr>
            </a:lvl1pPr>
          </a:lstStyle>
          <a:p>
            <a:pPr lvl="0"/>
            <a:r>
              <a:rPr lang="af-ZA"/>
              <a:t>Muokkaa tekstin perustyylejä napsauttamalla</a:t>
            </a:r>
          </a:p>
        </p:txBody>
      </p:sp>
    </p:spTree>
    <p:extLst>
      <p:ext uri="{BB962C8B-B14F-4D97-AF65-F5344CB8AC3E}">
        <p14:creationId xmlns:p14="http://schemas.microsoft.com/office/powerpoint/2010/main" val="37883042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tsikko+sisältö 4">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98323-8A25-C253-27EB-39E2DFDA1217}"/>
              </a:ext>
            </a:extLst>
          </p:cNvPr>
          <p:cNvGraphicFramePr>
            <a:graphicFrameLocks noChangeAspect="1"/>
          </p:cNvGraphicFramePr>
          <p:nvPr userDrawn="1">
            <p:custDataLst>
              <p:tags r:id="rId1"/>
            </p:custDataLst>
            <p:extLst>
              <p:ext uri="{D42A27DB-BD31-4B8C-83A1-F6EECF244321}">
                <p14:modId xmlns:p14="http://schemas.microsoft.com/office/powerpoint/2010/main" val="35348853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0E98323-8A25-C253-27EB-39E2DFDA121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ext Placeholder 2">
            <a:extLst>
              <a:ext uri="{FF2B5EF4-FFF2-40B4-BE49-F238E27FC236}">
                <a16:creationId xmlns:a16="http://schemas.microsoft.com/office/drawing/2014/main" id="{76DD23B0-AE12-DBB4-9E35-F6B1AE499867}"/>
              </a:ext>
            </a:extLst>
          </p:cNvPr>
          <p:cNvSpPr>
            <a:spLocks noGrp="1"/>
          </p:cNvSpPr>
          <p:nvPr>
            <p:ph type="body" sz="quarter" idx="17"/>
          </p:nvPr>
        </p:nvSpPr>
        <p:spPr>
          <a:xfrm>
            <a:off x="5975747" y="845100"/>
            <a:ext cx="2808681"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7" name="Title 1">
            <a:extLst>
              <a:ext uri="{FF2B5EF4-FFF2-40B4-BE49-F238E27FC236}">
                <a16:creationId xmlns:a16="http://schemas.microsoft.com/office/drawing/2014/main" id="{B71A24D8-E6A7-0246-4C67-38236DD797B6}"/>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09046346-2EF0-3D3C-F935-BE12522FC1FC}"/>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3C362734-7C01-2B7C-7199-559268159F1D}"/>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cxnSp>
        <p:nvCxnSpPr>
          <p:cNvPr id="14" name="Straight Connector 13">
            <a:extLst>
              <a:ext uri="{FF2B5EF4-FFF2-40B4-BE49-F238E27FC236}">
                <a16:creationId xmlns:a16="http://schemas.microsoft.com/office/drawing/2014/main" id="{497C1CED-253F-92B4-9DD5-0031980A71BC}"/>
              </a:ext>
            </a:extLst>
          </p:cNvPr>
          <p:cNvCxnSpPr>
            <a:cxnSpLocks/>
          </p:cNvCxnSpPr>
          <p:nvPr userDrawn="1"/>
        </p:nvCxnSpPr>
        <p:spPr>
          <a:xfrm flipV="1">
            <a:off x="5975745" y="1061100"/>
            <a:ext cx="28086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94F76256-9441-83BF-AA4C-C23EB2F3BEDC}"/>
              </a:ext>
            </a:extLst>
          </p:cNvPr>
          <p:cNvSpPr>
            <a:spLocks noGrp="1"/>
          </p:cNvSpPr>
          <p:nvPr>
            <p:ph type="body" sz="quarter" idx="18"/>
          </p:nvPr>
        </p:nvSpPr>
        <p:spPr>
          <a:xfrm>
            <a:off x="5975747" y="1060154"/>
            <a:ext cx="2808684" cy="3726158"/>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3727295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tsikko+alaotsikko+teksti dumm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9F96-6D25-ABCB-2CFE-9A86F8F74330}"/>
              </a:ext>
            </a:extLst>
          </p:cNvPr>
          <p:cNvGraphicFramePr>
            <a:graphicFrameLocks noChangeAspect="1"/>
          </p:cNvGraphicFramePr>
          <p:nvPr userDrawn="1">
            <p:custDataLst>
              <p:tags r:id="rId1"/>
            </p:custDataLst>
            <p:extLst>
              <p:ext uri="{D42A27DB-BD31-4B8C-83A1-F6EECF244321}">
                <p14:modId xmlns:p14="http://schemas.microsoft.com/office/powerpoint/2010/main" val="16285577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17F79F96-6D25-ABCB-2CFE-9A86F8F7433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BF3E4873-A3FE-5859-6A6E-B75D540D9B9E}"/>
              </a:ext>
            </a:extLst>
          </p:cNvPr>
          <p:cNvSpPr>
            <a:spLocks noGrp="1"/>
          </p:cNvSpPr>
          <p:nvPr>
            <p:ph type="body" sz="quarter" idx="17"/>
          </p:nvPr>
        </p:nvSpPr>
        <p:spPr>
          <a:xfrm>
            <a:off x="359100" y="844153"/>
            <a:ext cx="2809154" cy="216000"/>
          </a:xfrm>
          <a:prstGeom prst="rect">
            <a:avLst/>
          </a:prstGeom>
        </p:spPr>
        <p:txBody>
          <a:bodyPr wrap="square" anchor="b">
            <a:noAutofit/>
          </a:bodyPr>
          <a:lstStyle>
            <a:lvl1pPr marL="0" indent="0" rtl="0">
              <a:buNone/>
              <a:defRPr b="1" i="0" u="none" cap="all" baseline="0">
                <a:solidFill>
                  <a:schemeClr val="accent1"/>
                </a:solidFill>
                <a:latin typeface="Arial Nova" panose="020B0504020202020204" pitchFamily="34" charset="0"/>
              </a:defRPr>
            </a:lvl1pPr>
          </a:lstStyle>
          <a:p>
            <a:pPr lvl="0"/>
            <a:endParaRPr lang="af-ZA"/>
          </a:p>
        </p:txBody>
      </p:sp>
      <p:sp>
        <p:nvSpPr>
          <p:cNvPr id="7" name="Title 1">
            <a:extLst>
              <a:ext uri="{FF2B5EF4-FFF2-40B4-BE49-F238E27FC236}">
                <a16:creationId xmlns:a16="http://schemas.microsoft.com/office/drawing/2014/main" id="{151F0D4B-A93B-8C76-8AF5-6A0295EA50FA}"/>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0C176388-DE66-C57A-44EE-B515ABC23DE6}"/>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9B90BCF1-4B02-7CA6-4A79-A6A5A8FF76A5}"/>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
        <p:nvSpPr>
          <p:cNvPr id="3" name="Text Placeholder 2">
            <a:extLst>
              <a:ext uri="{FF2B5EF4-FFF2-40B4-BE49-F238E27FC236}">
                <a16:creationId xmlns:a16="http://schemas.microsoft.com/office/drawing/2014/main" id="{ACFA28FB-47BC-2840-1681-FA4375FE310B}"/>
              </a:ext>
            </a:extLst>
          </p:cNvPr>
          <p:cNvSpPr>
            <a:spLocks noGrp="1"/>
          </p:cNvSpPr>
          <p:nvPr>
            <p:ph type="body" sz="quarter" idx="18"/>
          </p:nvPr>
        </p:nvSpPr>
        <p:spPr>
          <a:xfrm>
            <a:off x="359568" y="1060153"/>
            <a:ext cx="2808685" cy="3726160"/>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6390546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Lopetusdi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F9D3DE-D157-EBAC-DAAE-343101521988}"/>
              </a:ext>
            </a:extLst>
          </p:cNvPr>
          <p:cNvGraphicFramePr>
            <a:graphicFrameLocks noChangeAspect="1"/>
          </p:cNvGraphicFramePr>
          <p:nvPr userDrawn="1">
            <p:custDataLst>
              <p:tags r:id="rId1"/>
            </p:custDataLst>
            <p:extLst>
              <p:ext uri="{D42A27DB-BD31-4B8C-83A1-F6EECF244321}">
                <p14:modId xmlns:p14="http://schemas.microsoft.com/office/powerpoint/2010/main" val="26457019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F9D3DE-D157-EBAC-DAAE-34310152198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F6D00AA3-F995-012F-A3F1-A27AC9AB143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22"/>
            <a:ext cx="9144000" cy="5142857"/>
          </a:xfrm>
          <a:prstGeom prst="rect">
            <a:avLst/>
          </a:prstGeom>
        </p:spPr>
      </p:pic>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1149626" y="1921564"/>
            <a:ext cx="6848061" cy="834887"/>
          </a:xfrm>
        </p:spPr>
        <p:txBody>
          <a:bodyPr anchor="ctr" anchorCtr="0"/>
          <a:lstStyle>
            <a:lvl1pPr algn="ctr" rtl="0">
              <a:lnSpc>
                <a:spcPts val="3000"/>
              </a:lnSpc>
              <a:defRPr sz="3000"/>
            </a:lvl1pPr>
          </a:lstStyle>
          <a:p>
            <a:endParaRPr lang="af-ZA"/>
          </a:p>
        </p:txBody>
      </p:sp>
      <p:pic>
        <p:nvPicPr>
          <p:cNvPr id="7" name="Picture 4" descr="Logo&#10;&#10;Description automatically generated">
            <a:extLst>
              <a:ext uri="{FF2B5EF4-FFF2-40B4-BE49-F238E27FC236}">
                <a16:creationId xmlns:a16="http://schemas.microsoft.com/office/drawing/2014/main" id="{251C7349-0BAA-36EF-9EC3-F615CA236B6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76765" y="3649861"/>
            <a:ext cx="995721" cy="534514"/>
          </a:xfrm>
          <a:prstGeom prst="rect">
            <a:avLst/>
          </a:prstGeom>
        </p:spPr>
      </p:pic>
    </p:spTree>
    <p:extLst>
      <p:ext uri="{BB962C8B-B14F-4D97-AF65-F5344CB8AC3E}">
        <p14:creationId xmlns:p14="http://schemas.microsoft.com/office/powerpoint/2010/main" val="1432565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 Otsikko">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3481EF92-71F4-4D9C-9196-CF2D732E513D}"/>
              </a:ext>
            </a:extLst>
          </p:cNvPr>
          <p:cNvGraphicFramePr>
            <a:graphicFrameLocks noChangeAspect="1"/>
          </p:cNvGraphicFramePr>
          <p:nvPr userDrawn="1">
            <p:custDataLst>
              <p:tags r:id="rId1"/>
            </p:custDataLst>
            <p:extLst>
              <p:ext uri="{D42A27DB-BD31-4B8C-83A1-F6EECF244321}">
                <p14:modId xmlns:p14="http://schemas.microsoft.com/office/powerpoint/2010/main" val="14844077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76" imgH="275" progId="TCLayout.ActiveDocument.1">
                  <p:embed/>
                </p:oleObj>
              </mc:Choice>
              <mc:Fallback>
                <p:oleObj name="think-cell Slide" r:id="rId4" imgW="276" imgH="275" progId="TCLayout.ActiveDocument.1">
                  <p:embed/>
                  <p:pic>
                    <p:nvPicPr>
                      <p:cNvPr id="18" name="Object 17" hidden="1">
                        <a:extLst>
                          <a:ext uri="{FF2B5EF4-FFF2-40B4-BE49-F238E27FC236}">
                            <a16:creationId xmlns:a16="http://schemas.microsoft.com/office/drawing/2014/main" id="{3481EF92-71F4-4D9C-9196-CF2D732E513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C0F9256-22DD-4333-AFF8-8DEF9B3E0BED}"/>
              </a:ext>
            </a:extLst>
          </p:cNvPr>
          <p:cNvSpPr/>
          <p:nvPr userDrawn="1">
            <p:custDataLst>
              <p:tags r:id="rId2"/>
            </p:custDataLst>
          </p:nvPr>
        </p:nvSpPr>
        <p:spPr>
          <a:xfrm>
            <a:off x="0" y="0"/>
            <a:ext cx="119063" cy="1190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af-ZA" sz="2100" b="1" i="0" baseline="0">
              <a:latin typeface="Rockwell" panose="02060603020205020403" pitchFamily="18" charset="0"/>
              <a:ea typeface="+mj-ea"/>
              <a:cs typeface="+mj-cs"/>
              <a:sym typeface="Rockwell" panose="02060603020205020403" pitchFamily="18" charset="0"/>
            </a:endParaRPr>
          </a:p>
        </p:txBody>
      </p:sp>
      <p:sp>
        <p:nvSpPr>
          <p:cNvPr id="3" name="Title 2">
            <a:extLst>
              <a:ext uri="{FF2B5EF4-FFF2-40B4-BE49-F238E27FC236}">
                <a16:creationId xmlns:a16="http://schemas.microsoft.com/office/drawing/2014/main" id="{4FDCC7D4-B298-4602-9D9E-BB9A2FC606A1}"/>
              </a:ext>
            </a:extLst>
          </p:cNvPr>
          <p:cNvSpPr>
            <a:spLocks noGrp="1"/>
          </p:cNvSpPr>
          <p:nvPr>
            <p:ph type="title" hasCustomPrompt="1"/>
          </p:nvPr>
        </p:nvSpPr>
        <p:spPr>
          <a:xfrm>
            <a:off x="305989" y="249493"/>
            <a:ext cx="8532020" cy="594661"/>
          </a:xfrm>
        </p:spPr>
        <p:txBody>
          <a:bodyPr vert="horz" lIns="91440" tIns="45720" rIns="91440" bIns="45720" rtlCol="0" anchor="ctr" anchorCtr="0">
            <a:noAutofit/>
          </a:bodyPr>
          <a:lstStyle>
            <a:lvl1pPr rtl="0">
              <a:defRPr lang="fi-FI" dirty="0"/>
            </a:lvl1pPr>
          </a:lstStyle>
          <a:p>
            <a:pPr lvl="0"/>
            <a:r>
              <a:rPr lang="af-ZA"/>
              <a:t>Lisää otsikko</a:t>
            </a:r>
          </a:p>
        </p:txBody>
      </p:sp>
    </p:spTree>
    <p:extLst>
      <p:ext uri="{BB962C8B-B14F-4D97-AF65-F5344CB8AC3E}">
        <p14:creationId xmlns:p14="http://schemas.microsoft.com/office/powerpoint/2010/main" val="35063498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D6D1C6-29B6-8C50-9834-D6F618CFF725}"/>
              </a:ext>
            </a:extLst>
          </p:cNvPr>
          <p:cNvGraphicFramePr>
            <a:graphicFrameLocks noChangeAspect="1"/>
          </p:cNvGraphicFramePr>
          <p:nvPr userDrawn="1">
            <p:custDataLst>
              <p:tags r:id="rId1"/>
            </p:custDataLst>
            <p:extLst>
              <p:ext uri="{D42A27DB-BD31-4B8C-83A1-F6EECF244321}">
                <p14:modId xmlns:p14="http://schemas.microsoft.com/office/powerpoint/2010/main" val="1851487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62D6D1C6-29B6-8C50-9834-D6F618CFF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8D7F57-2980-E0C8-D68C-AD4FC02FDA53}"/>
              </a:ext>
            </a:extLst>
          </p:cNvPr>
          <p:cNvSpPr>
            <a:spLocks noGrp="1"/>
          </p:cNvSpPr>
          <p:nvPr>
            <p:ph type="title"/>
          </p:nvPr>
        </p:nvSpPr>
        <p:spPr/>
        <p:txBody>
          <a:bodyPr vert="horz"/>
          <a:lstStyle>
            <a:lvl1pPr rtl="0">
              <a:defRPr/>
            </a:lvl1pPr>
          </a:lstStyle>
          <a:p>
            <a:r>
              <a:rPr lang="af-ZA"/>
              <a:t>Click to edit Master title style</a:t>
            </a:r>
          </a:p>
        </p:txBody>
      </p:sp>
      <p:sp>
        <p:nvSpPr>
          <p:cNvPr id="3" name="Content Placeholder 2">
            <a:extLst>
              <a:ext uri="{FF2B5EF4-FFF2-40B4-BE49-F238E27FC236}">
                <a16:creationId xmlns:a16="http://schemas.microsoft.com/office/drawing/2014/main" id="{7ED5A70A-2A26-ADE7-E686-D3E7CD9891C1}"/>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af-ZA"/>
              <a:t>Click to edit Master text styles</a:t>
            </a:r>
          </a:p>
          <a:p>
            <a:pPr lvl="1"/>
            <a:r>
              <a:rPr lang="af-ZA"/>
              <a:t>Second level</a:t>
            </a:r>
          </a:p>
          <a:p>
            <a:pPr lvl="2"/>
            <a:r>
              <a:rPr lang="af-ZA"/>
              <a:t>Third level</a:t>
            </a:r>
          </a:p>
          <a:p>
            <a:pPr lvl="3"/>
            <a:r>
              <a:rPr lang="af-ZA"/>
              <a:t>Fourth level</a:t>
            </a:r>
          </a:p>
          <a:p>
            <a:pPr lvl="4"/>
            <a:r>
              <a:rPr lang="af-ZA"/>
              <a:t>Fifth level</a:t>
            </a:r>
          </a:p>
        </p:txBody>
      </p:sp>
      <p:sp>
        <p:nvSpPr>
          <p:cNvPr id="4" name="Date Placeholder 3">
            <a:extLst>
              <a:ext uri="{FF2B5EF4-FFF2-40B4-BE49-F238E27FC236}">
                <a16:creationId xmlns:a16="http://schemas.microsoft.com/office/drawing/2014/main" id="{0501CAA8-50A6-B125-1F00-713BFC92016B}"/>
              </a:ext>
            </a:extLst>
          </p:cNvPr>
          <p:cNvSpPr>
            <a:spLocks noGrp="1"/>
          </p:cNvSpPr>
          <p:nvPr>
            <p:ph type="dt" sz="half" idx="10"/>
          </p:nvPr>
        </p:nvSpPr>
        <p:spPr/>
        <p:txBody>
          <a:bodyPr/>
          <a:lstStyle>
            <a:lvl1pPr rtl="0">
              <a:defRPr/>
            </a:lvl1pPr>
          </a:lstStyle>
          <a:p>
            <a:pPr algn="ctr"/>
            <a:fld id="{3A0DE926-1C38-4F2C-A75F-A21EE52AFF6C}" type="datetime1">
              <a:rPr lang="af-ZA" smtClean="0"/>
              <a:pPr algn="ctr"/>
              <a:t>2024-12-09</a:t>
            </a:fld>
            <a:endParaRPr lang="af-ZA"/>
          </a:p>
        </p:txBody>
      </p:sp>
      <p:sp>
        <p:nvSpPr>
          <p:cNvPr id="5" name="Footer Placeholder 4">
            <a:extLst>
              <a:ext uri="{FF2B5EF4-FFF2-40B4-BE49-F238E27FC236}">
                <a16:creationId xmlns:a16="http://schemas.microsoft.com/office/drawing/2014/main" id="{4180C972-AE12-B9AA-AEC3-468DF6D79C77}"/>
              </a:ext>
            </a:extLst>
          </p:cNvPr>
          <p:cNvSpPr>
            <a:spLocks noGrp="1"/>
          </p:cNvSpPr>
          <p:nvPr>
            <p:ph type="ftr" sz="quarter" idx="11"/>
          </p:nvPr>
        </p:nvSpPr>
        <p:spPr/>
        <p:txBody>
          <a:bodyPr/>
          <a:lstStyle>
            <a:lvl1pPr rtl="0">
              <a:defRPr/>
            </a:lvl1pPr>
          </a:lstStyle>
          <a:p>
            <a:endParaRPr lang="af-ZA"/>
          </a:p>
        </p:txBody>
      </p:sp>
      <p:sp>
        <p:nvSpPr>
          <p:cNvPr id="6" name="Slide Number Placeholder 5">
            <a:extLst>
              <a:ext uri="{FF2B5EF4-FFF2-40B4-BE49-F238E27FC236}">
                <a16:creationId xmlns:a16="http://schemas.microsoft.com/office/drawing/2014/main" id="{9DA57BFA-7BD5-F310-35C6-4BC89E91AAEC}"/>
              </a:ext>
            </a:extLst>
          </p:cNvPr>
          <p:cNvSpPr>
            <a:spLocks noGrp="1"/>
          </p:cNvSpPr>
          <p:nvPr>
            <p:ph type="sldNum" sz="quarter" idx="12"/>
          </p:nvPr>
        </p:nvSpPr>
        <p:spPr/>
        <p:txBody>
          <a:bodyPr/>
          <a:lstStyle>
            <a:lvl1pPr rtl="0">
              <a:defRPr/>
            </a:lvl1pPr>
          </a:lstStyle>
          <a:p>
            <a:fld id="{4053EE9D-34B3-514E-9B63-25914144127A}" type="slidenum">
              <a:rPr lang="af-ZA" smtClean="0"/>
              <a:pPr/>
              <a:t>‹#›</a:t>
            </a:fld>
            <a:endParaRPr lang="af-ZA"/>
          </a:p>
        </p:txBody>
      </p:sp>
    </p:spTree>
    <p:extLst>
      <p:ext uri="{BB962C8B-B14F-4D97-AF65-F5344CB8AC3E}">
        <p14:creationId xmlns:p14="http://schemas.microsoft.com/office/powerpoint/2010/main" val="22250969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Otsikkodia kaare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7626CB-894C-6E3E-CCE4-67BFACBDF16E}"/>
              </a:ext>
            </a:extLst>
          </p:cNvPr>
          <p:cNvGraphicFramePr>
            <a:graphicFrameLocks noChangeAspect="1"/>
          </p:cNvGraphicFramePr>
          <p:nvPr userDrawn="1">
            <p:custDataLst>
              <p:tags r:id="rId1"/>
            </p:custDataLst>
            <p:extLst>
              <p:ext uri="{D42A27DB-BD31-4B8C-83A1-F6EECF244321}">
                <p14:modId xmlns:p14="http://schemas.microsoft.com/office/powerpoint/2010/main" val="23252940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777626CB-894C-6E3E-CCE4-67BFACBDF16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rgbClr val="E6F3E9"/>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wrap="square" anchor="b">
            <a:noAutofit/>
          </a:bodyPr>
          <a:lstStyle>
            <a:lvl1pPr algn="l" rtl="0">
              <a:lnSpc>
                <a:spcPts val="3000"/>
              </a:lnSpc>
              <a:defRPr sz="3000">
                <a:latin typeface="Arial Nova Light" panose="020B0304020202020204" pitchFamily="34" charset="0"/>
              </a:defRPr>
            </a:lvl1pPr>
          </a:lstStyle>
          <a:p>
            <a:endParaRPr lang="af-ZA"/>
          </a:p>
        </p:txBody>
      </p:sp>
      <p:pic>
        <p:nvPicPr>
          <p:cNvPr id="4" name="Picture 4" descr="Logo&#10;&#10;Description automatically generated">
            <a:extLst>
              <a:ext uri="{FF2B5EF4-FFF2-40B4-BE49-F238E27FC236}">
                <a16:creationId xmlns:a16="http://schemas.microsoft.com/office/drawing/2014/main" id="{AB63EA70-EAB7-3EA1-23F8-F76F6B74A03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
        <p:nvSpPr>
          <p:cNvPr id="6" name="Alaotsikko 2">
            <a:extLst>
              <a:ext uri="{FF2B5EF4-FFF2-40B4-BE49-F238E27FC236}">
                <a16:creationId xmlns:a16="http://schemas.microsoft.com/office/drawing/2014/main" id="{C972F7EA-AF28-866B-6739-EEAA8937FBFA}"/>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spTree>
    <p:extLst>
      <p:ext uri="{BB962C8B-B14F-4D97-AF65-F5344CB8AC3E}">
        <p14:creationId xmlns:p14="http://schemas.microsoft.com/office/powerpoint/2010/main" val="34382351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Otsikkodia kaaret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8008C6-ED63-CBDE-E6D9-B982820BCDA3}"/>
              </a:ext>
            </a:extLst>
          </p:cNvPr>
          <p:cNvGraphicFramePr>
            <a:graphicFrameLocks noChangeAspect="1"/>
          </p:cNvGraphicFramePr>
          <p:nvPr userDrawn="1">
            <p:custDataLst>
              <p:tags r:id="rId1"/>
            </p:custDataLst>
            <p:extLst>
              <p:ext uri="{D42A27DB-BD31-4B8C-83A1-F6EECF244321}">
                <p14:modId xmlns:p14="http://schemas.microsoft.com/office/powerpoint/2010/main" val="189147683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78008C6-ED63-CBDE-E6D9-B982820BCDA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rgbClr val="FDF5F2"/>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vert="horz" wrap="square" lIns="91440" tIns="45720" rIns="91440" bIns="45720" rtlCol="0" anchor="b">
            <a:noAutofit/>
          </a:bodyPr>
          <a:lstStyle>
            <a:lvl1pPr rtl="0">
              <a:defRPr lang="fi-FI" sz="3000" dirty="0">
                <a:latin typeface="Arial Nova Light" panose="020B0304020202020204" pitchFamily="34" charset="0"/>
              </a:defRPr>
            </a:lvl1pPr>
          </a:lstStyle>
          <a:p>
            <a:pPr lvl="0">
              <a:lnSpc>
                <a:spcPts val="3000"/>
              </a:lnSpc>
            </a:pPr>
            <a:endParaRPr lang="af-ZA"/>
          </a:p>
        </p:txBody>
      </p:sp>
      <p:sp>
        <p:nvSpPr>
          <p:cNvPr id="3" name="Alaotsikko 2">
            <a:extLst>
              <a:ext uri="{FF2B5EF4-FFF2-40B4-BE49-F238E27FC236}">
                <a16:creationId xmlns:a16="http://schemas.microsoft.com/office/drawing/2014/main" id="{4450810A-C251-0A07-4BAA-6E21DA1FA879}"/>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pic>
        <p:nvPicPr>
          <p:cNvPr id="4" name="Picture 4" descr="Logo&#10;&#10;Description automatically generated">
            <a:extLst>
              <a:ext uri="{FF2B5EF4-FFF2-40B4-BE49-F238E27FC236}">
                <a16:creationId xmlns:a16="http://schemas.microsoft.com/office/drawing/2014/main" id="{3F2D702C-D2E6-69B4-9576-F07B874A3F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Tree>
    <p:extLst>
      <p:ext uri="{BB962C8B-B14F-4D97-AF65-F5344CB8AC3E}">
        <p14:creationId xmlns:p14="http://schemas.microsoft.com/office/powerpoint/2010/main" val="182541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Otsikkodia kaaret 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8008C6-ED63-CBDE-E6D9-B982820BCDA3}"/>
              </a:ext>
            </a:extLst>
          </p:cNvPr>
          <p:cNvGraphicFramePr>
            <a:graphicFrameLocks noChangeAspect="1"/>
          </p:cNvGraphicFramePr>
          <p:nvPr userDrawn="1">
            <p:custDataLst>
              <p:tags r:id="rId1"/>
            </p:custDataLst>
            <p:extLst>
              <p:ext uri="{D42A27DB-BD31-4B8C-83A1-F6EECF244321}">
                <p14:modId xmlns:p14="http://schemas.microsoft.com/office/powerpoint/2010/main" val="16398353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78008C6-ED63-CBDE-E6D9-B982820BCDA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chemeClr val="accent2">
              <a:lumMod val="20000"/>
              <a:lumOff val="80000"/>
            </a:schemeClr>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vert="horz" wrap="square" lIns="91440" tIns="45720" rIns="91440" bIns="45720" rtlCol="0" anchor="b">
            <a:noAutofit/>
          </a:bodyPr>
          <a:lstStyle>
            <a:lvl1pPr rtl="0">
              <a:defRPr lang="fi-FI" sz="3000" dirty="0">
                <a:latin typeface="Arial Nova Light" panose="020B0304020202020204" pitchFamily="34" charset="0"/>
              </a:defRPr>
            </a:lvl1pPr>
          </a:lstStyle>
          <a:p>
            <a:pPr lvl="0">
              <a:lnSpc>
                <a:spcPts val="3000"/>
              </a:lnSpc>
            </a:pPr>
            <a:endParaRPr lang="af-ZA"/>
          </a:p>
        </p:txBody>
      </p:sp>
      <p:sp>
        <p:nvSpPr>
          <p:cNvPr id="3" name="Alaotsikko 2">
            <a:extLst>
              <a:ext uri="{FF2B5EF4-FFF2-40B4-BE49-F238E27FC236}">
                <a16:creationId xmlns:a16="http://schemas.microsoft.com/office/drawing/2014/main" id="{4450810A-C251-0A07-4BAA-6E21DA1FA879}"/>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pic>
        <p:nvPicPr>
          <p:cNvPr id="4" name="Picture 4" descr="Logo&#10;&#10;Description automatically generated">
            <a:extLst>
              <a:ext uri="{FF2B5EF4-FFF2-40B4-BE49-F238E27FC236}">
                <a16:creationId xmlns:a16="http://schemas.microsoft.com/office/drawing/2014/main" id="{3F2D702C-D2E6-69B4-9576-F07B874A3F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Tree>
    <p:extLst>
      <p:ext uri="{BB962C8B-B14F-4D97-AF65-F5344CB8AC3E}">
        <p14:creationId xmlns:p14="http://schemas.microsoft.com/office/powerpoint/2010/main" val="64626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Otsikkodia kaaret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8008C6-ED63-CBDE-E6D9-B982820BCDA3}"/>
              </a:ext>
            </a:extLst>
          </p:cNvPr>
          <p:cNvGraphicFramePr>
            <a:graphicFrameLocks noChangeAspect="1"/>
          </p:cNvGraphicFramePr>
          <p:nvPr userDrawn="1">
            <p:custDataLst>
              <p:tags r:id="rId1"/>
            </p:custDataLst>
            <p:extLst>
              <p:ext uri="{D42A27DB-BD31-4B8C-83A1-F6EECF244321}">
                <p14:modId xmlns:p14="http://schemas.microsoft.com/office/powerpoint/2010/main" val="23841293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78008C6-ED63-CBDE-E6D9-B982820BCDA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chemeClr val="accent5">
              <a:lumMod val="20000"/>
              <a:lumOff val="80000"/>
            </a:schemeClr>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2892287" y="841772"/>
            <a:ext cx="5108713" cy="1894802"/>
          </a:xfrm>
        </p:spPr>
        <p:txBody>
          <a:bodyPr vert="horz" wrap="square" lIns="91440" tIns="45720" rIns="91440" bIns="45720" rtlCol="0" anchor="b">
            <a:noAutofit/>
          </a:bodyPr>
          <a:lstStyle>
            <a:lvl1pPr rtl="0">
              <a:defRPr lang="fi-FI" sz="3000" dirty="0">
                <a:latin typeface="Arial Nova Light" panose="020B0304020202020204" pitchFamily="34" charset="0"/>
              </a:defRPr>
            </a:lvl1pPr>
          </a:lstStyle>
          <a:p>
            <a:pPr lvl="0">
              <a:lnSpc>
                <a:spcPts val="3000"/>
              </a:lnSpc>
            </a:pPr>
            <a:endParaRPr lang="af-ZA"/>
          </a:p>
        </p:txBody>
      </p:sp>
      <p:sp>
        <p:nvSpPr>
          <p:cNvPr id="3" name="Alaotsikko 2">
            <a:extLst>
              <a:ext uri="{FF2B5EF4-FFF2-40B4-BE49-F238E27FC236}">
                <a16:creationId xmlns:a16="http://schemas.microsoft.com/office/drawing/2014/main" id="{4450810A-C251-0A07-4BAA-6E21DA1FA879}"/>
              </a:ext>
            </a:extLst>
          </p:cNvPr>
          <p:cNvSpPr>
            <a:spLocks noGrp="1"/>
          </p:cNvSpPr>
          <p:nvPr>
            <p:ph type="subTitle" idx="1"/>
          </p:nvPr>
        </p:nvSpPr>
        <p:spPr>
          <a:xfrm>
            <a:off x="2892287" y="2701528"/>
            <a:ext cx="5108713" cy="1241822"/>
          </a:xfrm>
          <a:prstGeom prst="rect">
            <a:avLst/>
          </a:prstGeom>
        </p:spPr>
        <p:txBody>
          <a:bodyPr wrap="square">
            <a:noAutofit/>
          </a:bodyPr>
          <a:lstStyle>
            <a:lvl1pPr marL="0" indent="0" algn="l" rtl="0">
              <a:lnSpc>
                <a:spcPts val="1725"/>
              </a:lnSpc>
              <a:buNone/>
              <a:defRPr sz="1500">
                <a:latin typeface="Arial Nova Light" panose="020B03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af-ZA"/>
          </a:p>
        </p:txBody>
      </p:sp>
      <p:pic>
        <p:nvPicPr>
          <p:cNvPr id="4" name="Picture 4" descr="Logo&#10;&#10;Description automatically generated">
            <a:extLst>
              <a:ext uri="{FF2B5EF4-FFF2-40B4-BE49-F238E27FC236}">
                <a16:creationId xmlns:a16="http://schemas.microsoft.com/office/drawing/2014/main" id="{3F2D702C-D2E6-69B4-9576-F07B874A3F5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Tree>
    <p:extLst>
      <p:ext uri="{BB962C8B-B14F-4D97-AF65-F5344CB8AC3E}">
        <p14:creationId xmlns:p14="http://schemas.microsoft.com/office/powerpoint/2010/main" val="35007443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Otsikkodia kaarill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7626CB-894C-6E3E-CCE4-67BFACBDF16E}"/>
              </a:ext>
            </a:extLst>
          </p:cNvPr>
          <p:cNvGraphicFramePr>
            <a:graphicFrameLocks noChangeAspect="1"/>
          </p:cNvGraphicFramePr>
          <p:nvPr userDrawn="1">
            <p:custDataLst>
              <p:tags r:id="rId1"/>
            </p:custDataLst>
            <p:extLst>
              <p:ext uri="{D42A27DB-BD31-4B8C-83A1-F6EECF244321}">
                <p14:modId xmlns:p14="http://schemas.microsoft.com/office/powerpoint/2010/main" val="4228874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777626CB-894C-6E3E-CCE4-67BFACBDF16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grpSp>
        <p:nvGrpSpPr>
          <p:cNvPr id="15" name="Ryhmä 14">
            <a:extLst>
              <a:ext uri="{FF2B5EF4-FFF2-40B4-BE49-F238E27FC236}">
                <a16:creationId xmlns:a16="http://schemas.microsoft.com/office/drawing/2014/main" id="{A373886A-EF65-73B7-EE10-E42D98F84AE8}"/>
              </a:ext>
            </a:extLst>
          </p:cNvPr>
          <p:cNvGrpSpPr>
            <a:grpSpLocks noChangeAspect="1"/>
          </p:cNvGrpSpPr>
          <p:nvPr userDrawn="1"/>
        </p:nvGrpSpPr>
        <p:grpSpPr>
          <a:xfrm>
            <a:off x="1" y="0"/>
            <a:ext cx="4587542" cy="5143500"/>
            <a:chOff x="3051176" y="14288"/>
            <a:chExt cx="6091237" cy="6829425"/>
          </a:xfrm>
          <a:solidFill>
            <a:srgbClr val="E6F3E9"/>
          </a:solidFill>
        </p:grpSpPr>
        <p:sp>
          <p:nvSpPr>
            <p:cNvPr id="12" name="Freeform 5">
              <a:extLst>
                <a:ext uri="{FF2B5EF4-FFF2-40B4-BE49-F238E27FC236}">
                  <a16:creationId xmlns:a16="http://schemas.microsoft.com/office/drawing/2014/main" id="{CE331A36-2685-BD91-0CDB-652E2B7971CD}"/>
                </a:ext>
              </a:extLst>
            </p:cNvPr>
            <p:cNvSpPr>
              <a:spLocks/>
            </p:cNvSpPr>
            <p:nvPr userDrawn="1"/>
          </p:nvSpPr>
          <p:spPr bwMode="auto">
            <a:xfrm>
              <a:off x="3051176" y="1619250"/>
              <a:ext cx="1347788" cy="3619500"/>
            </a:xfrm>
            <a:custGeom>
              <a:avLst/>
              <a:gdLst>
                <a:gd name="T0" fmla="*/ 0 w 3760"/>
                <a:gd name="T1" fmla="*/ 861 h 10096"/>
                <a:gd name="T2" fmla="*/ 2942 w 3760"/>
                <a:gd name="T3" fmla="*/ 5048 h 10096"/>
                <a:gd name="T4" fmla="*/ 0 w 3760"/>
                <a:gd name="T5" fmla="*/ 9235 h 10096"/>
                <a:gd name="T6" fmla="*/ 0 w 3760"/>
                <a:gd name="T7" fmla="*/ 10096 h 10096"/>
                <a:gd name="T8" fmla="*/ 3760 w 3760"/>
                <a:gd name="T9" fmla="*/ 5048 h 10096"/>
                <a:gd name="T10" fmla="*/ 0 w 3760"/>
                <a:gd name="T11" fmla="*/ 0 h 10096"/>
                <a:gd name="T12" fmla="*/ 0 w 3760"/>
                <a:gd name="T13" fmla="*/ 861 h 10096"/>
              </a:gdLst>
              <a:ahLst/>
              <a:cxnLst>
                <a:cxn ang="0">
                  <a:pos x="T0" y="T1"/>
                </a:cxn>
                <a:cxn ang="0">
                  <a:pos x="T2" y="T3"/>
                </a:cxn>
                <a:cxn ang="0">
                  <a:pos x="T4" y="T5"/>
                </a:cxn>
                <a:cxn ang="0">
                  <a:pos x="T6" y="T7"/>
                </a:cxn>
                <a:cxn ang="0">
                  <a:pos x="T8" y="T9"/>
                </a:cxn>
                <a:cxn ang="0">
                  <a:pos x="T10" y="T11"/>
                </a:cxn>
                <a:cxn ang="0">
                  <a:pos x="T12" y="T13"/>
                </a:cxn>
              </a:cxnLst>
              <a:rect l="0" t="0" r="r" b="b"/>
              <a:pathLst>
                <a:path w="3760" h="10096">
                  <a:moveTo>
                    <a:pt x="0" y="861"/>
                  </a:moveTo>
                  <a:cubicBezTo>
                    <a:pt x="1714" y="1481"/>
                    <a:pt x="2942" y="3124"/>
                    <a:pt x="2942" y="5048"/>
                  </a:cubicBezTo>
                  <a:cubicBezTo>
                    <a:pt x="2942" y="6973"/>
                    <a:pt x="1714" y="8616"/>
                    <a:pt x="0" y="9235"/>
                  </a:cubicBezTo>
                  <a:lnTo>
                    <a:pt x="0" y="10096"/>
                  </a:lnTo>
                  <a:cubicBezTo>
                    <a:pt x="2173" y="9446"/>
                    <a:pt x="3760" y="7429"/>
                    <a:pt x="3760" y="5048"/>
                  </a:cubicBezTo>
                  <a:cubicBezTo>
                    <a:pt x="3760" y="2667"/>
                    <a:pt x="2173" y="650"/>
                    <a:pt x="0" y="0"/>
                  </a:cubicBezTo>
                  <a:lnTo>
                    <a:pt x="0"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3" name="Freeform 6">
              <a:extLst>
                <a:ext uri="{FF2B5EF4-FFF2-40B4-BE49-F238E27FC236}">
                  <a16:creationId xmlns:a16="http://schemas.microsoft.com/office/drawing/2014/main" id="{9D7A5C40-90EB-A909-EFDF-98F76039BDE7}"/>
                </a:ext>
              </a:extLst>
            </p:cNvPr>
            <p:cNvSpPr>
              <a:spLocks/>
            </p:cNvSpPr>
            <p:nvPr userDrawn="1"/>
          </p:nvSpPr>
          <p:spPr bwMode="auto">
            <a:xfrm>
              <a:off x="3983038" y="14288"/>
              <a:ext cx="2735263" cy="6829425"/>
            </a:xfrm>
            <a:custGeom>
              <a:avLst/>
              <a:gdLst>
                <a:gd name="T0" fmla="*/ 0 w 7631"/>
                <a:gd name="T1" fmla="*/ 0 h 19050"/>
                <a:gd name="T2" fmla="*/ 6266 w 7631"/>
                <a:gd name="T3" fmla="*/ 9525 h 19050"/>
                <a:gd name="T4" fmla="*/ 0 w 7631"/>
                <a:gd name="T5" fmla="*/ 19050 h 19050"/>
                <a:gd name="T6" fmla="*/ 2744 w 7631"/>
                <a:gd name="T7" fmla="*/ 19050 h 19050"/>
                <a:gd name="T8" fmla="*/ 7631 w 7631"/>
                <a:gd name="T9" fmla="*/ 9525 h 19050"/>
                <a:gd name="T10" fmla="*/ 2744 w 7631"/>
                <a:gd name="T11" fmla="*/ 0 h 19050"/>
                <a:gd name="T12" fmla="*/ 0 w 7631"/>
                <a:gd name="T13" fmla="*/ 0 h 19050"/>
              </a:gdLst>
              <a:ahLst/>
              <a:cxnLst>
                <a:cxn ang="0">
                  <a:pos x="T0" y="T1"/>
                </a:cxn>
                <a:cxn ang="0">
                  <a:pos x="T2" y="T3"/>
                </a:cxn>
                <a:cxn ang="0">
                  <a:pos x="T4" y="T5"/>
                </a:cxn>
                <a:cxn ang="0">
                  <a:pos x="T6" y="T7"/>
                </a:cxn>
                <a:cxn ang="0">
                  <a:pos x="T8" y="T9"/>
                </a:cxn>
                <a:cxn ang="0">
                  <a:pos x="T10" y="T11"/>
                </a:cxn>
                <a:cxn ang="0">
                  <a:pos x="T12" y="T13"/>
                </a:cxn>
              </a:cxnLst>
              <a:rect l="0" t="0" r="r" b="b"/>
              <a:pathLst>
                <a:path w="7631" h="19050">
                  <a:moveTo>
                    <a:pt x="0" y="0"/>
                  </a:moveTo>
                  <a:cubicBezTo>
                    <a:pt x="3683" y="1594"/>
                    <a:pt x="6266" y="5264"/>
                    <a:pt x="6266" y="9525"/>
                  </a:cubicBezTo>
                  <a:cubicBezTo>
                    <a:pt x="6266" y="13787"/>
                    <a:pt x="3683" y="17456"/>
                    <a:pt x="0" y="19050"/>
                  </a:cubicBezTo>
                  <a:lnTo>
                    <a:pt x="2744" y="19050"/>
                  </a:lnTo>
                  <a:cubicBezTo>
                    <a:pt x="5702" y="16917"/>
                    <a:pt x="7631" y="13442"/>
                    <a:pt x="7631" y="9525"/>
                  </a:cubicBezTo>
                  <a:cubicBezTo>
                    <a:pt x="7631" y="5608"/>
                    <a:pt x="5702" y="2134"/>
                    <a:pt x="274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sp>
          <p:nvSpPr>
            <p:cNvPr id="14" name="Freeform 7">
              <a:extLst>
                <a:ext uri="{FF2B5EF4-FFF2-40B4-BE49-F238E27FC236}">
                  <a16:creationId xmlns:a16="http://schemas.microsoft.com/office/drawing/2014/main" id="{05B08938-9182-1393-0335-EBA182397CDE}"/>
                </a:ext>
              </a:extLst>
            </p:cNvPr>
            <p:cNvSpPr>
              <a:spLocks/>
            </p:cNvSpPr>
            <p:nvPr userDrawn="1"/>
          </p:nvSpPr>
          <p:spPr bwMode="auto">
            <a:xfrm>
              <a:off x="7380288" y="14288"/>
              <a:ext cx="1762125" cy="6829425"/>
            </a:xfrm>
            <a:custGeom>
              <a:avLst/>
              <a:gdLst>
                <a:gd name="T0" fmla="*/ 3002 w 4912"/>
                <a:gd name="T1" fmla="*/ 9525 h 19050"/>
                <a:gd name="T2" fmla="*/ 2280 w 4912"/>
                <a:gd name="T3" fmla="*/ 19050 h 19050"/>
                <a:gd name="T4" fmla="*/ 3870 w 4912"/>
                <a:gd name="T5" fmla="*/ 15673 h 19050"/>
                <a:gd name="T6" fmla="*/ 4022 w 4912"/>
                <a:gd name="T7" fmla="*/ 15223 h 19050"/>
                <a:gd name="T8" fmla="*/ 4159 w 4912"/>
                <a:gd name="T9" fmla="*/ 14777 h 19050"/>
                <a:gd name="T10" fmla="*/ 4201 w 4912"/>
                <a:gd name="T11" fmla="*/ 14633 h 19050"/>
                <a:gd name="T12" fmla="*/ 4286 w 4912"/>
                <a:gd name="T13" fmla="*/ 14327 h 19050"/>
                <a:gd name="T14" fmla="*/ 4333 w 4912"/>
                <a:gd name="T15" fmla="*/ 14144 h 19050"/>
                <a:gd name="T16" fmla="*/ 4400 w 4912"/>
                <a:gd name="T17" fmla="*/ 13877 h 19050"/>
                <a:gd name="T18" fmla="*/ 4444 w 4912"/>
                <a:gd name="T19" fmla="*/ 13688 h 19050"/>
                <a:gd name="T20" fmla="*/ 4502 w 4912"/>
                <a:gd name="T21" fmla="*/ 13426 h 19050"/>
                <a:gd name="T22" fmla="*/ 4543 w 4912"/>
                <a:gd name="T23" fmla="*/ 13230 h 19050"/>
                <a:gd name="T24" fmla="*/ 4594 w 4912"/>
                <a:gd name="T25" fmla="*/ 12970 h 19050"/>
                <a:gd name="T26" fmla="*/ 4629 w 4912"/>
                <a:gd name="T27" fmla="*/ 12773 h 19050"/>
                <a:gd name="T28" fmla="*/ 4673 w 4912"/>
                <a:gd name="T29" fmla="*/ 12513 h 19050"/>
                <a:gd name="T30" fmla="*/ 4704 w 4912"/>
                <a:gd name="T31" fmla="*/ 12315 h 19050"/>
                <a:gd name="T32" fmla="*/ 4739 w 4912"/>
                <a:gd name="T33" fmla="*/ 12069 h 19050"/>
                <a:gd name="T34" fmla="*/ 4767 w 4912"/>
                <a:gd name="T35" fmla="*/ 11856 h 19050"/>
                <a:gd name="T36" fmla="*/ 4794 w 4912"/>
                <a:gd name="T37" fmla="*/ 11628 h 19050"/>
                <a:gd name="T38" fmla="*/ 4819 w 4912"/>
                <a:gd name="T39" fmla="*/ 11393 h 19050"/>
                <a:gd name="T40" fmla="*/ 4839 w 4912"/>
                <a:gd name="T41" fmla="*/ 11176 h 19050"/>
                <a:gd name="T42" fmla="*/ 4860 w 4912"/>
                <a:gd name="T43" fmla="*/ 10929 h 19050"/>
                <a:gd name="T44" fmla="*/ 4874 w 4912"/>
                <a:gd name="T45" fmla="*/ 10716 h 19050"/>
                <a:gd name="T46" fmla="*/ 4888 w 4912"/>
                <a:gd name="T47" fmla="*/ 10464 h 19050"/>
                <a:gd name="T48" fmla="*/ 4898 w 4912"/>
                <a:gd name="T49" fmla="*/ 10255 h 19050"/>
                <a:gd name="T50" fmla="*/ 4906 w 4912"/>
                <a:gd name="T51" fmla="*/ 9996 h 19050"/>
                <a:gd name="T52" fmla="*/ 4910 w 4912"/>
                <a:gd name="T53" fmla="*/ 9789 h 19050"/>
                <a:gd name="T54" fmla="*/ 4912 w 4912"/>
                <a:gd name="T55" fmla="*/ 9535 h 19050"/>
                <a:gd name="T56" fmla="*/ 4912 w 4912"/>
                <a:gd name="T57" fmla="*/ 9514 h 19050"/>
                <a:gd name="T58" fmla="*/ 4910 w 4912"/>
                <a:gd name="T59" fmla="*/ 9261 h 19050"/>
                <a:gd name="T60" fmla="*/ 4906 w 4912"/>
                <a:gd name="T61" fmla="*/ 9054 h 19050"/>
                <a:gd name="T62" fmla="*/ 4898 w 4912"/>
                <a:gd name="T63" fmla="*/ 8796 h 19050"/>
                <a:gd name="T64" fmla="*/ 4888 w 4912"/>
                <a:gd name="T65" fmla="*/ 8585 h 19050"/>
                <a:gd name="T66" fmla="*/ 4874 w 4912"/>
                <a:gd name="T67" fmla="*/ 8333 h 19050"/>
                <a:gd name="T68" fmla="*/ 4860 w 4912"/>
                <a:gd name="T69" fmla="*/ 8121 h 19050"/>
                <a:gd name="T70" fmla="*/ 4839 w 4912"/>
                <a:gd name="T71" fmla="*/ 7874 h 19050"/>
                <a:gd name="T72" fmla="*/ 4819 w 4912"/>
                <a:gd name="T73" fmla="*/ 7657 h 19050"/>
                <a:gd name="T74" fmla="*/ 4794 w 4912"/>
                <a:gd name="T75" fmla="*/ 7424 h 19050"/>
                <a:gd name="T76" fmla="*/ 4767 w 4912"/>
                <a:gd name="T77" fmla="*/ 7195 h 19050"/>
                <a:gd name="T78" fmla="*/ 4740 w 4912"/>
                <a:gd name="T79" fmla="*/ 6982 h 19050"/>
                <a:gd name="T80" fmla="*/ 4704 w 4912"/>
                <a:gd name="T81" fmla="*/ 6735 h 19050"/>
                <a:gd name="T82" fmla="*/ 4673 w 4912"/>
                <a:gd name="T83" fmla="*/ 6537 h 19050"/>
                <a:gd name="T84" fmla="*/ 4630 w 4912"/>
                <a:gd name="T85" fmla="*/ 6279 h 19050"/>
                <a:gd name="T86" fmla="*/ 4594 w 4912"/>
                <a:gd name="T87" fmla="*/ 6081 h 19050"/>
                <a:gd name="T88" fmla="*/ 4543 w 4912"/>
                <a:gd name="T89" fmla="*/ 5822 h 19050"/>
                <a:gd name="T90" fmla="*/ 4503 w 4912"/>
                <a:gd name="T91" fmla="*/ 5626 h 19050"/>
                <a:gd name="T92" fmla="*/ 4445 w 4912"/>
                <a:gd name="T93" fmla="*/ 5366 h 19050"/>
                <a:gd name="T94" fmla="*/ 4400 w 4912"/>
                <a:gd name="T95" fmla="*/ 5174 h 19050"/>
                <a:gd name="T96" fmla="*/ 4335 w 4912"/>
                <a:gd name="T97" fmla="*/ 4911 h 19050"/>
                <a:gd name="T98" fmla="*/ 4286 w 4912"/>
                <a:gd name="T99" fmla="*/ 4726 h 19050"/>
                <a:gd name="T100" fmla="*/ 4208 w 4912"/>
                <a:gd name="T101" fmla="*/ 4442 h 19050"/>
                <a:gd name="T102" fmla="*/ 4161 w 4912"/>
                <a:gd name="T103" fmla="*/ 4277 h 19050"/>
                <a:gd name="T104" fmla="*/ 4023 w 4912"/>
                <a:gd name="T105" fmla="*/ 3830 h 19050"/>
                <a:gd name="T106" fmla="*/ 3872 w 4912"/>
                <a:gd name="T107" fmla="*/ 3382 h 19050"/>
                <a:gd name="T108" fmla="*/ 3476 w 4912"/>
                <a:gd name="T109" fmla="*/ 2353 h 19050"/>
                <a:gd name="T110" fmla="*/ 2280 w 4912"/>
                <a:gd name="T111" fmla="*/ 0 h 19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12" h="19050">
                  <a:moveTo>
                    <a:pt x="0" y="0"/>
                  </a:moveTo>
                  <a:cubicBezTo>
                    <a:pt x="1951" y="2770"/>
                    <a:pt x="3002" y="6067"/>
                    <a:pt x="3002" y="9525"/>
                  </a:cubicBezTo>
                  <a:cubicBezTo>
                    <a:pt x="3002" y="12983"/>
                    <a:pt x="1951" y="16280"/>
                    <a:pt x="0" y="19050"/>
                  </a:cubicBezTo>
                  <a:lnTo>
                    <a:pt x="2280" y="19050"/>
                  </a:lnTo>
                  <a:cubicBezTo>
                    <a:pt x="2922" y="17984"/>
                    <a:pt x="3452" y="16859"/>
                    <a:pt x="3864" y="15690"/>
                  </a:cubicBezTo>
                  <a:lnTo>
                    <a:pt x="3870" y="15673"/>
                  </a:lnTo>
                  <a:cubicBezTo>
                    <a:pt x="3918" y="15536"/>
                    <a:pt x="3965" y="15398"/>
                    <a:pt x="4010" y="15260"/>
                  </a:cubicBezTo>
                  <a:lnTo>
                    <a:pt x="4022" y="15223"/>
                  </a:lnTo>
                  <a:cubicBezTo>
                    <a:pt x="4065" y="15090"/>
                    <a:pt x="4106" y="14956"/>
                    <a:pt x="4146" y="14823"/>
                  </a:cubicBezTo>
                  <a:lnTo>
                    <a:pt x="4159" y="14777"/>
                  </a:lnTo>
                  <a:cubicBezTo>
                    <a:pt x="4172" y="14735"/>
                    <a:pt x="4184" y="14692"/>
                    <a:pt x="4196" y="14650"/>
                  </a:cubicBezTo>
                  <a:lnTo>
                    <a:pt x="4201" y="14633"/>
                  </a:lnTo>
                  <a:cubicBezTo>
                    <a:pt x="4224" y="14552"/>
                    <a:pt x="4247" y="14470"/>
                    <a:pt x="4269" y="14388"/>
                  </a:cubicBezTo>
                  <a:cubicBezTo>
                    <a:pt x="4275" y="14368"/>
                    <a:pt x="4280" y="14347"/>
                    <a:pt x="4286" y="14327"/>
                  </a:cubicBezTo>
                  <a:cubicBezTo>
                    <a:pt x="4296" y="14289"/>
                    <a:pt x="4306" y="14250"/>
                    <a:pt x="4316" y="14211"/>
                  </a:cubicBezTo>
                  <a:cubicBezTo>
                    <a:pt x="4322" y="14189"/>
                    <a:pt x="4328" y="14166"/>
                    <a:pt x="4333" y="14144"/>
                  </a:cubicBezTo>
                  <a:cubicBezTo>
                    <a:pt x="4350" y="14081"/>
                    <a:pt x="4366" y="14017"/>
                    <a:pt x="4381" y="13953"/>
                  </a:cubicBezTo>
                  <a:cubicBezTo>
                    <a:pt x="4387" y="13928"/>
                    <a:pt x="4394" y="13903"/>
                    <a:pt x="4400" y="13877"/>
                  </a:cubicBezTo>
                  <a:cubicBezTo>
                    <a:pt x="4408" y="13841"/>
                    <a:pt x="4417" y="13805"/>
                    <a:pt x="4426" y="13768"/>
                  </a:cubicBezTo>
                  <a:cubicBezTo>
                    <a:pt x="4432" y="13742"/>
                    <a:pt x="4438" y="13715"/>
                    <a:pt x="4444" y="13688"/>
                  </a:cubicBezTo>
                  <a:cubicBezTo>
                    <a:pt x="4457" y="13633"/>
                    <a:pt x="4469" y="13578"/>
                    <a:pt x="4481" y="13522"/>
                  </a:cubicBezTo>
                  <a:cubicBezTo>
                    <a:pt x="4488" y="13490"/>
                    <a:pt x="4495" y="13458"/>
                    <a:pt x="4502" y="13426"/>
                  </a:cubicBezTo>
                  <a:cubicBezTo>
                    <a:pt x="4509" y="13392"/>
                    <a:pt x="4516" y="13358"/>
                    <a:pt x="4523" y="13325"/>
                  </a:cubicBezTo>
                  <a:cubicBezTo>
                    <a:pt x="4530" y="13293"/>
                    <a:pt x="4536" y="13261"/>
                    <a:pt x="4543" y="13230"/>
                  </a:cubicBezTo>
                  <a:cubicBezTo>
                    <a:pt x="4549" y="13199"/>
                    <a:pt x="4555" y="13167"/>
                    <a:pt x="4562" y="13136"/>
                  </a:cubicBezTo>
                  <a:cubicBezTo>
                    <a:pt x="4573" y="13081"/>
                    <a:pt x="4583" y="13025"/>
                    <a:pt x="4594" y="12970"/>
                  </a:cubicBezTo>
                  <a:cubicBezTo>
                    <a:pt x="4599" y="12940"/>
                    <a:pt x="4604" y="12910"/>
                    <a:pt x="4610" y="12881"/>
                  </a:cubicBezTo>
                  <a:cubicBezTo>
                    <a:pt x="4616" y="12845"/>
                    <a:pt x="4623" y="12809"/>
                    <a:pt x="4629" y="12773"/>
                  </a:cubicBezTo>
                  <a:cubicBezTo>
                    <a:pt x="4634" y="12744"/>
                    <a:pt x="4639" y="12715"/>
                    <a:pt x="4644" y="12686"/>
                  </a:cubicBezTo>
                  <a:cubicBezTo>
                    <a:pt x="4654" y="12628"/>
                    <a:pt x="4664" y="12571"/>
                    <a:pt x="4673" y="12513"/>
                  </a:cubicBezTo>
                  <a:cubicBezTo>
                    <a:pt x="4677" y="12487"/>
                    <a:pt x="4681" y="12461"/>
                    <a:pt x="4685" y="12435"/>
                  </a:cubicBezTo>
                  <a:cubicBezTo>
                    <a:pt x="4692" y="12395"/>
                    <a:pt x="4698" y="12355"/>
                    <a:pt x="4704" y="12315"/>
                  </a:cubicBezTo>
                  <a:cubicBezTo>
                    <a:pt x="4708" y="12288"/>
                    <a:pt x="4712" y="12260"/>
                    <a:pt x="4716" y="12233"/>
                  </a:cubicBezTo>
                  <a:cubicBezTo>
                    <a:pt x="4724" y="12178"/>
                    <a:pt x="4732" y="12124"/>
                    <a:pt x="4739" y="12069"/>
                  </a:cubicBezTo>
                  <a:cubicBezTo>
                    <a:pt x="4743" y="12044"/>
                    <a:pt x="4746" y="12020"/>
                    <a:pt x="4749" y="11995"/>
                  </a:cubicBezTo>
                  <a:cubicBezTo>
                    <a:pt x="4755" y="11949"/>
                    <a:pt x="4761" y="11902"/>
                    <a:pt x="4767" y="11856"/>
                  </a:cubicBezTo>
                  <a:cubicBezTo>
                    <a:pt x="4770" y="11830"/>
                    <a:pt x="4774" y="11804"/>
                    <a:pt x="4777" y="11779"/>
                  </a:cubicBezTo>
                  <a:cubicBezTo>
                    <a:pt x="4783" y="11728"/>
                    <a:pt x="4789" y="11678"/>
                    <a:pt x="4794" y="11628"/>
                  </a:cubicBezTo>
                  <a:cubicBezTo>
                    <a:pt x="4796" y="11609"/>
                    <a:pt x="4798" y="11591"/>
                    <a:pt x="4800" y="11573"/>
                  </a:cubicBezTo>
                  <a:cubicBezTo>
                    <a:pt x="4807" y="11513"/>
                    <a:pt x="4813" y="11453"/>
                    <a:pt x="4819" y="11393"/>
                  </a:cubicBezTo>
                  <a:cubicBezTo>
                    <a:pt x="4821" y="11370"/>
                    <a:pt x="4824" y="11346"/>
                    <a:pt x="4826" y="11323"/>
                  </a:cubicBezTo>
                  <a:cubicBezTo>
                    <a:pt x="4831" y="11274"/>
                    <a:pt x="4835" y="11225"/>
                    <a:pt x="4839" y="11176"/>
                  </a:cubicBezTo>
                  <a:cubicBezTo>
                    <a:pt x="4841" y="11157"/>
                    <a:pt x="4843" y="11139"/>
                    <a:pt x="4844" y="11121"/>
                  </a:cubicBezTo>
                  <a:cubicBezTo>
                    <a:pt x="4850" y="11057"/>
                    <a:pt x="4855" y="10993"/>
                    <a:pt x="4860" y="10929"/>
                  </a:cubicBezTo>
                  <a:cubicBezTo>
                    <a:pt x="4861" y="10909"/>
                    <a:pt x="4863" y="10888"/>
                    <a:pt x="4864" y="10867"/>
                  </a:cubicBezTo>
                  <a:cubicBezTo>
                    <a:pt x="4868" y="10817"/>
                    <a:pt x="4871" y="10766"/>
                    <a:pt x="4874" y="10716"/>
                  </a:cubicBezTo>
                  <a:cubicBezTo>
                    <a:pt x="4875" y="10697"/>
                    <a:pt x="4877" y="10678"/>
                    <a:pt x="4878" y="10659"/>
                  </a:cubicBezTo>
                  <a:cubicBezTo>
                    <a:pt x="4882" y="10594"/>
                    <a:pt x="4885" y="10529"/>
                    <a:pt x="4888" y="10464"/>
                  </a:cubicBezTo>
                  <a:cubicBezTo>
                    <a:pt x="4889" y="10446"/>
                    <a:pt x="4890" y="10427"/>
                    <a:pt x="4891" y="10409"/>
                  </a:cubicBezTo>
                  <a:cubicBezTo>
                    <a:pt x="4893" y="10357"/>
                    <a:pt x="4896" y="10306"/>
                    <a:pt x="4898" y="10255"/>
                  </a:cubicBezTo>
                  <a:cubicBezTo>
                    <a:pt x="4898" y="10234"/>
                    <a:pt x="4899" y="10214"/>
                    <a:pt x="4900" y="10194"/>
                  </a:cubicBezTo>
                  <a:cubicBezTo>
                    <a:pt x="4902" y="10128"/>
                    <a:pt x="4904" y="10062"/>
                    <a:pt x="4906" y="9996"/>
                  </a:cubicBezTo>
                  <a:cubicBezTo>
                    <a:pt x="4906" y="9983"/>
                    <a:pt x="4906" y="9971"/>
                    <a:pt x="4907" y="9958"/>
                  </a:cubicBezTo>
                  <a:cubicBezTo>
                    <a:pt x="4908" y="9902"/>
                    <a:pt x="4909" y="9845"/>
                    <a:pt x="4910" y="9789"/>
                  </a:cubicBezTo>
                  <a:cubicBezTo>
                    <a:pt x="4910" y="9768"/>
                    <a:pt x="4910" y="9748"/>
                    <a:pt x="4911" y="9728"/>
                  </a:cubicBezTo>
                  <a:cubicBezTo>
                    <a:pt x="4911" y="9664"/>
                    <a:pt x="4912" y="9600"/>
                    <a:pt x="4912" y="9535"/>
                  </a:cubicBezTo>
                  <a:lnTo>
                    <a:pt x="4912" y="9525"/>
                  </a:lnTo>
                  <a:lnTo>
                    <a:pt x="4912" y="9514"/>
                  </a:lnTo>
                  <a:cubicBezTo>
                    <a:pt x="4912" y="9450"/>
                    <a:pt x="4911" y="9386"/>
                    <a:pt x="4911" y="9322"/>
                  </a:cubicBezTo>
                  <a:cubicBezTo>
                    <a:pt x="4910" y="9301"/>
                    <a:pt x="4910" y="9281"/>
                    <a:pt x="4910" y="9261"/>
                  </a:cubicBezTo>
                  <a:cubicBezTo>
                    <a:pt x="4909" y="9205"/>
                    <a:pt x="4908" y="9148"/>
                    <a:pt x="4907" y="9092"/>
                  </a:cubicBezTo>
                  <a:cubicBezTo>
                    <a:pt x="4906" y="9079"/>
                    <a:pt x="4906" y="9067"/>
                    <a:pt x="4906" y="9054"/>
                  </a:cubicBezTo>
                  <a:cubicBezTo>
                    <a:pt x="4904" y="8988"/>
                    <a:pt x="4902" y="8922"/>
                    <a:pt x="4900" y="8855"/>
                  </a:cubicBezTo>
                  <a:cubicBezTo>
                    <a:pt x="4899" y="8836"/>
                    <a:pt x="4898" y="8816"/>
                    <a:pt x="4898" y="8796"/>
                  </a:cubicBezTo>
                  <a:cubicBezTo>
                    <a:pt x="4896" y="8744"/>
                    <a:pt x="4893" y="8692"/>
                    <a:pt x="4891" y="8641"/>
                  </a:cubicBezTo>
                  <a:cubicBezTo>
                    <a:pt x="4890" y="8622"/>
                    <a:pt x="4889" y="8604"/>
                    <a:pt x="4888" y="8585"/>
                  </a:cubicBezTo>
                  <a:cubicBezTo>
                    <a:pt x="4885" y="8521"/>
                    <a:pt x="4882" y="8456"/>
                    <a:pt x="4878" y="8392"/>
                  </a:cubicBezTo>
                  <a:cubicBezTo>
                    <a:pt x="4877" y="8372"/>
                    <a:pt x="4875" y="8353"/>
                    <a:pt x="4874" y="8333"/>
                  </a:cubicBezTo>
                  <a:cubicBezTo>
                    <a:pt x="4871" y="8283"/>
                    <a:pt x="4868" y="8233"/>
                    <a:pt x="4864" y="8183"/>
                  </a:cubicBezTo>
                  <a:cubicBezTo>
                    <a:pt x="4863" y="8162"/>
                    <a:pt x="4861" y="8142"/>
                    <a:pt x="4860" y="8121"/>
                  </a:cubicBezTo>
                  <a:cubicBezTo>
                    <a:pt x="4855" y="8057"/>
                    <a:pt x="4850" y="7993"/>
                    <a:pt x="4844" y="7929"/>
                  </a:cubicBezTo>
                  <a:cubicBezTo>
                    <a:pt x="4843" y="7911"/>
                    <a:pt x="4841" y="7892"/>
                    <a:pt x="4839" y="7874"/>
                  </a:cubicBezTo>
                  <a:cubicBezTo>
                    <a:pt x="4835" y="7825"/>
                    <a:pt x="4831" y="7776"/>
                    <a:pt x="4826" y="7726"/>
                  </a:cubicBezTo>
                  <a:cubicBezTo>
                    <a:pt x="4824" y="7703"/>
                    <a:pt x="4821" y="7680"/>
                    <a:pt x="4819" y="7657"/>
                  </a:cubicBezTo>
                  <a:cubicBezTo>
                    <a:pt x="4813" y="7596"/>
                    <a:pt x="4807" y="7535"/>
                    <a:pt x="4800" y="7474"/>
                  </a:cubicBezTo>
                  <a:cubicBezTo>
                    <a:pt x="4798" y="7457"/>
                    <a:pt x="4796" y="7441"/>
                    <a:pt x="4794" y="7424"/>
                  </a:cubicBezTo>
                  <a:cubicBezTo>
                    <a:pt x="4789" y="7373"/>
                    <a:pt x="4783" y="7322"/>
                    <a:pt x="4777" y="7271"/>
                  </a:cubicBezTo>
                  <a:cubicBezTo>
                    <a:pt x="4774" y="7245"/>
                    <a:pt x="4770" y="7220"/>
                    <a:pt x="4767" y="7195"/>
                  </a:cubicBezTo>
                  <a:cubicBezTo>
                    <a:pt x="4761" y="7148"/>
                    <a:pt x="4755" y="7101"/>
                    <a:pt x="4749" y="7054"/>
                  </a:cubicBezTo>
                  <a:cubicBezTo>
                    <a:pt x="4746" y="7030"/>
                    <a:pt x="4743" y="7006"/>
                    <a:pt x="4740" y="6982"/>
                  </a:cubicBezTo>
                  <a:cubicBezTo>
                    <a:pt x="4732" y="6927"/>
                    <a:pt x="4724" y="6872"/>
                    <a:pt x="4716" y="6817"/>
                  </a:cubicBezTo>
                  <a:cubicBezTo>
                    <a:pt x="4712" y="6789"/>
                    <a:pt x="4708" y="6762"/>
                    <a:pt x="4704" y="6735"/>
                  </a:cubicBezTo>
                  <a:cubicBezTo>
                    <a:pt x="4698" y="6695"/>
                    <a:pt x="4692" y="6654"/>
                    <a:pt x="4685" y="6614"/>
                  </a:cubicBezTo>
                  <a:cubicBezTo>
                    <a:pt x="4681" y="6588"/>
                    <a:pt x="4677" y="6562"/>
                    <a:pt x="4673" y="6537"/>
                  </a:cubicBezTo>
                  <a:cubicBezTo>
                    <a:pt x="4664" y="6479"/>
                    <a:pt x="4654" y="6421"/>
                    <a:pt x="4644" y="6363"/>
                  </a:cubicBezTo>
                  <a:cubicBezTo>
                    <a:pt x="4639" y="6335"/>
                    <a:pt x="4634" y="6307"/>
                    <a:pt x="4630" y="6279"/>
                  </a:cubicBezTo>
                  <a:cubicBezTo>
                    <a:pt x="4623" y="6242"/>
                    <a:pt x="4616" y="6204"/>
                    <a:pt x="4610" y="6167"/>
                  </a:cubicBezTo>
                  <a:cubicBezTo>
                    <a:pt x="4604" y="6139"/>
                    <a:pt x="4599" y="6110"/>
                    <a:pt x="4594" y="6081"/>
                  </a:cubicBezTo>
                  <a:cubicBezTo>
                    <a:pt x="4583" y="6025"/>
                    <a:pt x="4572" y="5969"/>
                    <a:pt x="4561" y="5913"/>
                  </a:cubicBezTo>
                  <a:cubicBezTo>
                    <a:pt x="4555" y="5883"/>
                    <a:pt x="4549" y="5852"/>
                    <a:pt x="4543" y="5822"/>
                  </a:cubicBezTo>
                  <a:cubicBezTo>
                    <a:pt x="4537" y="5789"/>
                    <a:pt x="4530" y="5756"/>
                    <a:pt x="4523" y="5724"/>
                  </a:cubicBezTo>
                  <a:cubicBezTo>
                    <a:pt x="4516" y="5691"/>
                    <a:pt x="4509" y="5659"/>
                    <a:pt x="4503" y="5626"/>
                  </a:cubicBezTo>
                  <a:cubicBezTo>
                    <a:pt x="4495" y="5590"/>
                    <a:pt x="4487" y="5553"/>
                    <a:pt x="4479" y="5517"/>
                  </a:cubicBezTo>
                  <a:cubicBezTo>
                    <a:pt x="4468" y="5467"/>
                    <a:pt x="4456" y="5416"/>
                    <a:pt x="4445" y="5366"/>
                  </a:cubicBezTo>
                  <a:cubicBezTo>
                    <a:pt x="4438" y="5337"/>
                    <a:pt x="4432" y="5309"/>
                    <a:pt x="4425" y="5280"/>
                  </a:cubicBezTo>
                  <a:cubicBezTo>
                    <a:pt x="4417" y="5245"/>
                    <a:pt x="4409" y="5209"/>
                    <a:pt x="4400" y="5174"/>
                  </a:cubicBezTo>
                  <a:cubicBezTo>
                    <a:pt x="4393" y="5147"/>
                    <a:pt x="4387" y="5119"/>
                    <a:pt x="4380" y="5092"/>
                  </a:cubicBezTo>
                  <a:cubicBezTo>
                    <a:pt x="4365" y="5032"/>
                    <a:pt x="4350" y="4971"/>
                    <a:pt x="4335" y="4911"/>
                  </a:cubicBezTo>
                  <a:cubicBezTo>
                    <a:pt x="4328" y="4886"/>
                    <a:pt x="4322" y="4862"/>
                    <a:pt x="4316" y="4837"/>
                  </a:cubicBezTo>
                  <a:cubicBezTo>
                    <a:pt x="4306" y="4800"/>
                    <a:pt x="4296" y="4763"/>
                    <a:pt x="4286" y="4726"/>
                  </a:cubicBezTo>
                  <a:cubicBezTo>
                    <a:pt x="4280" y="4702"/>
                    <a:pt x="4274" y="4679"/>
                    <a:pt x="4268" y="4656"/>
                  </a:cubicBezTo>
                  <a:cubicBezTo>
                    <a:pt x="4248" y="4584"/>
                    <a:pt x="4228" y="4513"/>
                    <a:pt x="4208" y="4442"/>
                  </a:cubicBezTo>
                  <a:cubicBezTo>
                    <a:pt x="4204" y="4427"/>
                    <a:pt x="4200" y="4412"/>
                    <a:pt x="4196" y="4397"/>
                  </a:cubicBezTo>
                  <a:cubicBezTo>
                    <a:pt x="4184" y="4357"/>
                    <a:pt x="4172" y="4317"/>
                    <a:pt x="4161" y="4277"/>
                  </a:cubicBezTo>
                  <a:cubicBezTo>
                    <a:pt x="4155" y="4259"/>
                    <a:pt x="4150" y="4241"/>
                    <a:pt x="4144" y="4222"/>
                  </a:cubicBezTo>
                  <a:cubicBezTo>
                    <a:pt x="4105" y="4091"/>
                    <a:pt x="4065" y="3960"/>
                    <a:pt x="4023" y="3830"/>
                  </a:cubicBezTo>
                  <a:lnTo>
                    <a:pt x="4009" y="3788"/>
                  </a:lnTo>
                  <a:cubicBezTo>
                    <a:pt x="3965" y="3652"/>
                    <a:pt x="3919" y="3517"/>
                    <a:pt x="3872" y="3382"/>
                  </a:cubicBezTo>
                  <a:lnTo>
                    <a:pt x="3863" y="3357"/>
                  </a:lnTo>
                  <a:cubicBezTo>
                    <a:pt x="3744" y="3019"/>
                    <a:pt x="3615" y="2684"/>
                    <a:pt x="3476" y="2353"/>
                  </a:cubicBezTo>
                  <a:lnTo>
                    <a:pt x="3475" y="2352"/>
                  </a:lnTo>
                  <a:cubicBezTo>
                    <a:pt x="3134" y="1541"/>
                    <a:pt x="2735" y="756"/>
                    <a:pt x="228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1350" b="0" i="0" u="none" strike="noStrike" kern="1200" cap="none" spc="0" normalizeH="0" baseline="0" noProof="0">
                <a:ln>
                  <a:noFill/>
                </a:ln>
                <a:solidFill>
                  <a:srgbClr val="000000"/>
                </a:solidFill>
                <a:effectLst/>
                <a:uLnTx/>
                <a:uFillTx/>
                <a:latin typeface="Arial Nova Light"/>
                <a:ea typeface="+mn-ea"/>
                <a:cs typeface="+mn-cs"/>
              </a:endParaRPr>
            </a:p>
          </p:txBody>
        </p:sp>
      </p:grpSp>
      <p:pic>
        <p:nvPicPr>
          <p:cNvPr id="4" name="Picture 4" descr="Logo&#10;&#10;Description automatically generated">
            <a:extLst>
              <a:ext uri="{FF2B5EF4-FFF2-40B4-BE49-F238E27FC236}">
                <a16:creationId xmlns:a16="http://schemas.microsoft.com/office/drawing/2014/main" id="{AB63EA70-EAB7-3EA1-23F8-F76F6B74A03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
        <p:nvSpPr>
          <p:cNvPr id="3" name="Tekstin paikkamerkki 17">
            <a:extLst>
              <a:ext uri="{FF2B5EF4-FFF2-40B4-BE49-F238E27FC236}">
                <a16:creationId xmlns:a16="http://schemas.microsoft.com/office/drawing/2014/main" id="{188B090F-5724-BCA7-498B-FBBA73B034CB}"/>
              </a:ext>
            </a:extLst>
          </p:cNvPr>
          <p:cNvSpPr>
            <a:spLocks noGrp="1"/>
          </p:cNvSpPr>
          <p:nvPr>
            <p:ph type="body" sz="quarter" idx="17" hasCustomPrompt="1"/>
          </p:nvPr>
        </p:nvSpPr>
        <p:spPr>
          <a:xfrm>
            <a:off x="5042297" y="1858877"/>
            <a:ext cx="3747636" cy="251532"/>
          </a:xfrm>
          <a:prstGeom prst="rect">
            <a:avLst/>
          </a:prstGeom>
        </p:spPr>
        <p:txBody>
          <a:bodyPr wrap="square">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7" name="Tekstin paikkamerkki 17">
            <a:extLst>
              <a:ext uri="{FF2B5EF4-FFF2-40B4-BE49-F238E27FC236}">
                <a16:creationId xmlns:a16="http://schemas.microsoft.com/office/drawing/2014/main" id="{017DCF2B-E437-5398-F5F1-E99099B08FF5}"/>
              </a:ext>
            </a:extLst>
          </p:cNvPr>
          <p:cNvSpPr>
            <a:spLocks noGrp="1"/>
          </p:cNvSpPr>
          <p:nvPr>
            <p:ph type="body" sz="quarter" idx="18" hasCustomPrompt="1"/>
          </p:nvPr>
        </p:nvSpPr>
        <p:spPr>
          <a:xfrm>
            <a:off x="5042297" y="2385651"/>
            <a:ext cx="3742134" cy="185272"/>
          </a:xfrm>
          <a:prstGeom prst="rect">
            <a:avLst/>
          </a:prstGeom>
        </p:spPr>
        <p:txBody>
          <a:bodyPr wrap="square">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8" name="Tekstin paikkamerkki 17">
            <a:extLst>
              <a:ext uri="{FF2B5EF4-FFF2-40B4-BE49-F238E27FC236}">
                <a16:creationId xmlns:a16="http://schemas.microsoft.com/office/drawing/2014/main" id="{898C38DF-E2DF-F7CD-D2B1-2191B2EE9590}"/>
              </a:ext>
            </a:extLst>
          </p:cNvPr>
          <p:cNvSpPr>
            <a:spLocks noGrp="1"/>
          </p:cNvSpPr>
          <p:nvPr>
            <p:ph type="body" sz="quarter" idx="19"/>
          </p:nvPr>
        </p:nvSpPr>
        <p:spPr>
          <a:xfrm>
            <a:off x="5042297" y="2574288"/>
            <a:ext cx="3742134" cy="185272"/>
          </a:xfrm>
          <a:prstGeom prst="rect">
            <a:avLst/>
          </a:prstGeom>
        </p:spPr>
        <p:txBody>
          <a:bodyPr wrap="squar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9" name="Tekstin paikkamerkki 17">
            <a:extLst>
              <a:ext uri="{FF2B5EF4-FFF2-40B4-BE49-F238E27FC236}">
                <a16:creationId xmlns:a16="http://schemas.microsoft.com/office/drawing/2014/main" id="{5C83FE15-296A-4037-D19B-D40AC0A628D9}"/>
              </a:ext>
            </a:extLst>
          </p:cNvPr>
          <p:cNvSpPr>
            <a:spLocks noGrp="1"/>
          </p:cNvSpPr>
          <p:nvPr>
            <p:ph type="body" sz="quarter" idx="20"/>
          </p:nvPr>
        </p:nvSpPr>
        <p:spPr>
          <a:xfrm>
            <a:off x="5042297" y="2998566"/>
            <a:ext cx="3742134" cy="367489"/>
          </a:xfrm>
          <a:prstGeom prst="rect">
            <a:avLst/>
          </a:prstGeom>
        </p:spPr>
        <p:txBody>
          <a:bodyPr wrap="square">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10" name="Tekstin paikkamerkki 17">
            <a:extLst>
              <a:ext uri="{FF2B5EF4-FFF2-40B4-BE49-F238E27FC236}">
                <a16:creationId xmlns:a16="http://schemas.microsoft.com/office/drawing/2014/main" id="{F4CF242F-6E6B-C438-C4FD-F82D99A02CDB}"/>
              </a:ext>
            </a:extLst>
          </p:cNvPr>
          <p:cNvSpPr>
            <a:spLocks noGrp="1"/>
          </p:cNvSpPr>
          <p:nvPr>
            <p:ph type="body" sz="quarter" idx="21" hasCustomPrompt="1"/>
          </p:nvPr>
        </p:nvSpPr>
        <p:spPr>
          <a:xfrm>
            <a:off x="5042297" y="3628042"/>
            <a:ext cx="3742134" cy="185272"/>
          </a:xfrm>
          <a:prstGeom prst="rect">
            <a:avLst/>
          </a:prstGeom>
        </p:spPr>
        <p:txBody>
          <a:bodyPr wrap="squar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
        <p:nvSpPr>
          <p:cNvPr id="11" name="Title 1">
            <a:extLst>
              <a:ext uri="{FF2B5EF4-FFF2-40B4-BE49-F238E27FC236}">
                <a16:creationId xmlns:a16="http://schemas.microsoft.com/office/drawing/2014/main" id="{0E484260-9FAE-4446-A4AD-3AFBC3DC7423}"/>
              </a:ext>
            </a:extLst>
          </p:cNvPr>
          <p:cNvSpPr>
            <a:spLocks noGrp="1"/>
          </p:cNvSpPr>
          <p:nvPr>
            <p:ph type="title" hasCustomPrompt="1"/>
          </p:nvPr>
        </p:nvSpPr>
        <p:spPr>
          <a:xfrm>
            <a:off x="5042453" y="1222515"/>
            <a:ext cx="3747637" cy="668563"/>
          </a:xfrm>
        </p:spPr>
        <p:txBody>
          <a:bodyPr vert="horz" wrap="square"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Tree>
    <p:extLst>
      <p:ext uri="{BB962C8B-B14F-4D97-AF65-F5344CB8AC3E}">
        <p14:creationId xmlns:p14="http://schemas.microsoft.com/office/powerpoint/2010/main" val="24535947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yhjä">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3D6DE7-9F24-FA74-F073-F2270F3440F9}"/>
              </a:ext>
            </a:extLst>
          </p:cNvPr>
          <p:cNvGraphicFramePr>
            <a:graphicFrameLocks noChangeAspect="1"/>
          </p:cNvGraphicFramePr>
          <p:nvPr userDrawn="1">
            <p:custDataLst>
              <p:tags r:id="rId1"/>
            </p:custDataLst>
            <p:extLst>
              <p:ext uri="{D42A27DB-BD31-4B8C-83A1-F6EECF244321}">
                <p14:modId xmlns:p14="http://schemas.microsoft.com/office/powerpoint/2010/main" val="737025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think-cell data - do not delete" hidden="1">
                        <a:extLst>
                          <a:ext uri="{FF2B5EF4-FFF2-40B4-BE49-F238E27FC236}">
                            <a16:creationId xmlns:a16="http://schemas.microsoft.com/office/drawing/2014/main" id="{373D6DE7-9F24-FA74-F073-F2270F344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pic>
        <p:nvPicPr>
          <p:cNvPr id="9" name="Kuva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10" name="Suorakulmio 9"/>
          <p:cNvSpPr/>
          <p:nvPr userDrawn="1"/>
        </p:nvSpPr>
        <p:spPr>
          <a:xfrm>
            <a:off x="-2710" y="0"/>
            <a:ext cx="9144000" cy="51444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af-ZA"/>
          </a:p>
        </p:txBody>
      </p:sp>
      <p:sp>
        <p:nvSpPr>
          <p:cNvPr id="11" name="Text Placeholder 21"/>
          <p:cNvSpPr>
            <a:spLocks noGrp="1"/>
          </p:cNvSpPr>
          <p:nvPr>
            <p:ph type="body" sz="quarter" idx="10" hasCustomPrompt="1"/>
          </p:nvPr>
        </p:nvSpPr>
        <p:spPr>
          <a:xfrm>
            <a:off x="2114222" y="1225549"/>
            <a:ext cx="4910137" cy="2692401"/>
          </a:xfrm>
        </p:spPr>
        <p:txBody>
          <a:bodyPr lIns="90000" anchor="ctr" anchorCtr="1">
            <a:noAutofit/>
          </a:bodyPr>
          <a:lstStyle>
            <a:lvl1pPr marL="0" indent="0" algn="ctr" rtl="0">
              <a:buNone/>
              <a:defRPr sz="4400" b="1" baseline="0">
                <a:solidFill>
                  <a:schemeClr val="bg1"/>
                </a:solidFill>
              </a:defRPr>
            </a:lvl1pPr>
          </a:lstStyle>
          <a:p>
            <a:pPr lvl="0"/>
            <a:r>
              <a:rPr lang="af-ZA"/>
              <a:t>Muokkaa tekstin perustyylejä napsauttamalla</a:t>
            </a:r>
          </a:p>
        </p:txBody>
      </p:sp>
    </p:spTree>
    <p:extLst>
      <p:ext uri="{BB962C8B-B14F-4D97-AF65-F5344CB8AC3E}">
        <p14:creationId xmlns:p14="http://schemas.microsoft.com/office/powerpoint/2010/main" val="16841163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Otsikkodia kuvalla">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202269069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BD9661-1094-F647-B9A0-4BF57A377AEC}"/>
              </a:ext>
            </a:extLst>
          </p:cNvPr>
          <p:cNvSpPr>
            <a:spLocks noGrp="1"/>
          </p:cNvSpPr>
          <p:nvPr>
            <p:ph type="title" hasCustomPrompt="1"/>
          </p:nvPr>
        </p:nvSpPr>
        <p:spPr>
          <a:xfrm>
            <a:off x="5042453" y="1222515"/>
            <a:ext cx="3747637" cy="668563"/>
          </a:xfrm>
        </p:spPr>
        <p:txBody>
          <a:bodyPr vert="horz"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18" name="Tekstin paikkamerkki 17">
            <a:extLst>
              <a:ext uri="{FF2B5EF4-FFF2-40B4-BE49-F238E27FC236}">
                <a16:creationId xmlns:a16="http://schemas.microsoft.com/office/drawing/2014/main" id="{BBDCDADC-7213-983C-3A27-21EDE0BA84DF}"/>
              </a:ext>
            </a:extLst>
          </p:cNvPr>
          <p:cNvSpPr>
            <a:spLocks noGrp="1"/>
          </p:cNvSpPr>
          <p:nvPr>
            <p:ph type="body" sz="quarter" idx="17" hasCustomPrompt="1"/>
          </p:nvPr>
        </p:nvSpPr>
        <p:spPr>
          <a:xfrm>
            <a:off x="5042297" y="1858877"/>
            <a:ext cx="3747637" cy="251532"/>
          </a:xfrm>
          <a:prstGeom prst="rect">
            <a:avLst/>
          </a:prstGeom>
        </p:spPr>
        <p:txBody>
          <a:bodyPr wrap="none">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19" name="Tekstin paikkamerkki 17">
            <a:extLst>
              <a:ext uri="{FF2B5EF4-FFF2-40B4-BE49-F238E27FC236}">
                <a16:creationId xmlns:a16="http://schemas.microsoft.com/office/drawing/2014/main" id="{16ECC0F3-3624-5E2A-75FD-2E1673164FE7}"/>
              </a:ext>
            </a:extLst>
          </p:cNvPr>
          <p:cNvSpPr>
            <a:spLocks noGrp="1"/>
          </p:cNvSpPr>
          <p:nvPr>
            <p:ph type="body" sz="quarter" idx="18" hasCustomPrompt="1"/>
          </p:nvPr>
        </p:nvSpPr>
        <p:spPr>
          <a:xfrm>
            <a:off x="5042297" y="2385651"/>
            <a:ext cx="3742134" cy="185272"/>
          </a:xfrm>
          <a:prstGeom prst="rect">
            <a:avLst/>
          </a:prstGeom>
        </p:spPr>
        <p:txBody>
          <a:bodyPr wrap="none">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20" name="Tekstin paikkamerkki 17">
            <a:extLst>
              <a:ext uri="{FF2B5EF4-FFF2-40B4-BE49-F238E27FC236}">
                <a16:creationId xmlns:a16="http://schemas.microsoft.com/office/drawing/2014/main" id="{06AAD213-B42B-C0B0-06B2-ADD1EF7268D7}"/>
              </a:ext>
            </a:extLst>
          </p:cNvPr>
          <p:cNvSpPr>
            <a:spLocks noGrp="1"/>
          </p:cNvSpPr>
          <p:nvPr>
            <p:ph type="body" sz="quarter" idx="19"/>
          </p:nvPr>
        </p:nvSpPr>
        <p:spPr>
          <a:xfrm>
            <a:off x="5042297" y="2573100"/>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1" name="Tekstin paikkamerkki 17">
            <a:extLst>
              <a:ext uri="{FF2B5EF4-FFF2-40B4-BE49-F238E27FC236}">
                <a16:creationId xmlns:a16="http://schemas.microsoft.com/office/drawing/2014/main" id="{200AAA17-A2F6-D764-0026-EF87A3FC173A}"/>
              </a:ext>
            </a:extLst>
          </p:cNvPr>
          <p:cNvSpPr>
            <a:spLocks noGrp="1"/>
          </p:cNvSpPr>
          <p:nvPr>
            <p:ph type="body" sz="quarter" idx="20"/>
          </p:nvPr>
        </p:nvSpPr>
        <p:spPr>
          <a:xfrm>
            <a:off x="5042297" y="2998566"/>
            <a:ext cx="3742134" cy="367489"/>
          </a:xfrm>
          <a:prstGeom prst="rect">
            <a:avLst/>
          </a:prstGeom>
        </p:spPr>
        <p:txBody>
          <a:bodyPr wrap="none">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2" name="Tekstin paikkamerkki 17">
            <a:extLst>
              <a:ext uri="{FF2B5EF4-FFF2-40B4-BE49-F238E27FC236}">
                <a16:creationId xmlns:a16="http://schemas.microsoft.com/office/drawing/2014/main" id="{39C9CB15-A1BF-C965-A127-236E98F91E8A}"/>
              </a:ext>
            </a:extLst>
          </p:cNvPr>
          <p:cNvSpPr>
            <a:spLocks noGrp="1"/>
          </p:cNvSpPr>
          <p:nvPr>
            <p:ph type="body" sz="quarter" idx="21" hasCustomPrompt="1"/>
          </p:nvPr>
        </p:nvSpPr>
        <p:spPr>
          <a:xfrm>
            <a:off x="5042297" y="3628042"/>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Tree>
    <p:extLst>
      <p:ext uri="{BB962C8B-B14F-4D97-AF65-F5344CB8AC3E}">
        <p14:creationId xmlns:p14="http://schemas.microsoft.com/office/powerpoint/2010/main" val="853467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Otsikkodia kuvalla_flipped">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flipH="1">
            <a:off x="4555435"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26807171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BD9661-1094-F647-B9A0-4BF57A377AEC}"/>
              </a:ext>
            </a:extLst>
          </p:cNvPr>
          <p:cNvSpPr>
            <a:spLocks noGrp="1"/>
          </p:cNvSpPr>
          <p:nvPr>
            <p:ph type="title" hasCustomPrompt="1"/>
          </p:nvPr>
        </p:nvSpPr>
        <p:spPr>
          <a:xfrm>
            <a:off x="421200" y="1223100"/>
            <a:ext cx="3747637" cy="668563"/>
          </a:xfrm>
        </p:spPr>
        <p:txBody>
          <a:bodyPr vert="horz"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18" name="Tekstin paikkamerkki 17">
            <a:extLst>
              <a:ext uri="{FF2B5EF4-FFF2-40B4-BE49-F238E27FC236}">
                <a16:creationId xmlns:a16="http://schemas.microsoft.com/office/drawing/2014/main" id="{BBDCDADC-7213-983C-3A27-21EDE0BA84DF}"/>
              </a:ext>
            </a:extLst>
          </p:cNvPr>
          <p:cNvSpPr>
            <a:spLocks noGrp="1"/>
          </p:cNvSpPr>
          <p:nvPr>
            <p:ph type="body" sz="quarter" idx="17" hasCustomPrompt="1"/>
          </p:nvPr>
        </p:nvSpPr>
        <p:spPr>
          <a:xfrm>
            <a:off x="421200" y="1891663"/>
            <a:ext cx="3747637" cy="251532"/>
          </a:xfrm>
          <a:prstGeom prst="rect">
            <a:avLst/>
          </a:prstGeom>
        </p:spPr>
        <p:txBody>
          <a:bodyPr wrap="none">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19" name="Tekstin paikkamerkki 17">
            <a:extLst>
              <a:ext uri="{FF2B5EF4-FFF2-40B4-BE49-F238E27FC236}">
                <a16:creationId xmlns:a16="http://schemas.microsoft.com/office/drawing/2014/main" id="{16ECC0F3-3624-5E2A-75FD-2E1673164FE7}"/>
              </a:ext>
            </a:extLst>
          </p:cNvPr>
          <p:cNvSpPr>
            <a:spLocks noGrp="1"/>
          </p:cNvSpPr>
          <p:nvPr>
            <p:ph type="body" sz="quarter" idx="18" hasCustomPrompt="1"/>
          </p:nvPr>
        </p:nvSpPr>
        <p:spPr>
          <a:xfrm>
            <a:off x="421201" y="2418437"/>
            <a:ext cx="3742134" cy="185272"/>
          </a:xfrm>
          <a:prstGeom prst="rect">
            <a:avLst/>
          </a:prstGeom>
        </p:spPr>
        <p:txBody>
          <a:bodyPr wrap="none">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20" name="Tekstin paikkamerkki 17">
            <a:extLst>
              <a:ext uri="{FF2B5EF4-FFF2-40B4-BE49-F238E27FC236}">
                <a16:creationId xmlns:a16="http://schemas.microsoft.com/office/drawing/2014/main" id="{06AAD213-B42B-C0B0-06B2-ADD1EF7268D7}"/>
              </a:ext>
            </a:extLst>
          </p:cNvPr>
          <p:cNvSpPr>
            <a:spLocks noGrp="1"/>
          </p:cNvSpPr>
          <p:nvPr>
            <p:ph type="body" sz="quarter" idx="19"/>
          </p:nvPr>
        </p:nvSpPr>
        <p:spPr>
          <a:xfrm>
            <a:off x="421201" y="2605887"/>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1" name="Tekstin paikkamerkki 17">
            <a:extLst>
              <a:ext uri="{FF2B5EF4-FFF2-40B4-BE49-F238E27FC236}">
                <a16:creationId xmlns:a16="http://schemas.microsoft.com/office/drawing/2014/main" id="{200AAA17-A2F6-D764-0026-EF87A3FC173A}"/>
              </a:ext>
            </a:extLst>
          </p:cNvPr>
          <p:cNvSpPr>
            <a:spLocks noGrp="1"/>
          </p:cNvSpPr>
          <p:nvPr>
            <p:ph type="body" sz="quarter" idx="20"/>
          </p:nvPr>
        </p:nvSpPr>
        <p:spPr>
          <a:xfrm>
            <a:off x="421201" y="3031352"/>
            <a:ext cx="3742134" cy="367489"/>
          </a:xfrm>
          <a:prstGeom prst="rect">
            <a:avLst/>
          </a:prstGeom>
        </p:spPr>
        <p:txBody>
          <a:bodyPr wrap="none">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2" name="Tekstin paikkamerkki 17">
            <a:extLst>
              <a:ext uri="{FF2B5EF4-FFF2-40B4-BE49-F238E27FC236}">
                <a16:creationId xmlns:a16="http://schemas.microsoft.com/office/drawing/2014/main" id="{39C9CB15-A1BF-C965-A127-236E98F91E8A}"/>
              </a:ext>
            </a:extLst>
          </p:cNvPr>
          <p:cNvSpPr>
            <a:spLocks noGrp="1"/>
          </p:cNvSpPr>
          <p:nvPr>
            <p:ph type="body" sz="quarter" idx="21" hasCustomPrompt="1"/>
          </p:nvPr>
        </p:nvSpPr>
        <p:spPr>
          <a:xfrm>
            <a:off x="421201" y="3660828"/>
            <a:ext cx="3742134" cy="185272"/>
          </a:xfrm>
          <a:prstGeom prst="rect">
            <a:avLst/>
          </a:prstGeom>
        </p:spPr>
        <p:txBody>
          <a:bodyPr wrap="none">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Tree>
    <p:extLst>
      <p:ext uri="{BB962C8B-B14F-4D97-AF65-F5344CB8AC3E}">
        <p14:creationId xmlns:p14="http://schemas.microsoft.com/office/powerpoint/2010/main" val="10125809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Otsikkodia kuvalla 2">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305361196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18" name="Tekstin paikkamerkki 17">
            <a:extLst>
              <a:ext uri="{FF2B5EF4-FFF2-40B4-BE49-F238E27FC236}">
                <a16:creationId xmlns:a16="http://schemas.microsoft.com/office/drawing/2014/main" id="{BBDCDADC-7213-983C-3A27-21EDE0BA84DF}"/>
              </a:ext>
            </a:extLst>
          </p:cNvPr>
          <p:cNvSpPr>
            <a:spLocks noGrp="1"/>
          </p:cNvSpPr>
          <p:nvPr>
            <p:ph type="body" sz="quarter" idx="17" hasCustomPrompt="1"/>
          </p:nvPr>
        </p:nvSpPr>
        <p:spPr>
          <a:xfrm>
            <a:off x="5042297" y="1858877"/>
            <a:ext cx="3747637" cy="251532"/>
          </a:xfrm>
          <a:prstGeom prst="rect">
            <a:avLst/>
          </a:prstGeom>
        </p:spPr>
        <p:txBody>
          <a:bodyPr>
            <a:noAutofit/>
          </a:bodyPr>
          <a:lstStyle>
            <a:lvl1pPr marL="1191" indent="0" rtl="0">
              <a:lnSpc>
                <a:spcPts val="1725"/>
              </a:lnSpc>
              <a:spcAft>
                <a:spcPts val="0"/>
              </a:spcAft>
              <a:buNone/>
              <a:defRPr sz="1500" spc="38" baseline="0">
                <a:latin typeface="Arial Nova Light" panose="020B0304020202020204" pitchFamily="34" charset="0"/>
              </a:defRPr>
            </a:lvl1pPr>
            <a:lvl2pPr marL="134540" indent="0">
              <a:buNone/>
              <a:defRPr/>
            </a:lvl2pPr>
          </a:lstStyle>
          <a:p>
            <a:pPr lvl="0"/>
            <a:r>
              <a:rPr lang="af-ZA"/>
              <a:t>Lisää alaotsikko</a:t>
            </a:r>
          </a:p>
        </p:txBody>
      </p:sp>
      <p:sp>
        <p:nvSpPr>
          <p:cNvPr id="19" name="Tekstin paikkamerkki 17">
            <a:extLst>
              <a:ext uri="{FF2B5EF4-FFF2-40B4-BE49-F238E27FC236}">
                <a16:creationId xmlns:a16="http://schemas.microsoft.com/office/drawing/2014/main" id="{16ECC0F3-3624-5E2A-75FD-2E1673164FE7}"/>
              </a:ext>
            </a:extLst>
          </p:cNvPr>
          <p:cNvSpPr>
            <a:spLocks noGrp="1"/>
          </p:cNvSpPr>
          <p:nvPr>
            <p:ph type="body" sz="quarter" idx="18" hasCustomPrompt="1"/>
          </p:nvPr>
        </p:nvSpPr>
        <p:spPr>
          <a:xfrm>
            <a:off x="5042297" y="2385651"/>
            <a:ext cx="3742134" cy="185272"/>
          </a:xfrm>
          <a:prstGeom prst="rect">
            <a:avLst/>
          </a:prstGeom>
        </p:spPr>
        <p:txBody>
          <a:bodyPr>
            <a:noAutofit/>
          </a:bodyPr>
          <a:lstStyle>
            <a:lvl1pPr marL="1191" indent="0" rtl="0">
              <a:spcAft>
                <a:spcPts val="0"/>
              </a:spcAft>
              <a:buNone/>
              <a:defRPr sz="900" b="1" cap="all" baseline="0">
                <a:latin typeface="Arial Nova" panose="020B0504020202020204" pitchFamily="34" charset="0"/>
              </a:defRPr>
            </a:lvl1pPr>
            <a:lvl2pPr marL="134540" indent="0">
              <a:buNone/>
              <a:defRPr/>
            </a:lvl2pPr>
          </a:lstStyle>
          <a:p>
            <a:pPr lvl="0"/>
            <a:r>
              <a:rPr lang="af-ZA"/>
              <a:t>Lisää väliotsikko</a:t>
            </a:r>
          </a:p>
        </p:txBody>
      </p:sp>
      <p:sp>
        <p:nvSpPr>
          <p:cNvPr id="20" name="Tekstin paikkamerkki 17">
            <a:extLst>
              <a:ext uri="{FF2B5EF4-FFF2-40B4-BE49-F238E27FC236}">
                <a16:creationId xmlns:a16="http://schemas.microsoft.com/office/drawing/2014/main" id="{06AAD213-B42B-C0B0-06B2-ADD1EF7268D7}"/>
              </a:ext>
            </a:extLst>
          </p:cNvPr>
          <p:cNvSpPr>
            <a:spLocks noGrp="1"/>
          </p:cNvSpPr>
          <p:nvPr>
            <p:ph type="body" sz="quarter" idx="19"/>
          </p:nvPr>
        </p:nvSpPr>
        <p:spPr>
          <a:xfrm>
            <a:off x="5042297" y="2574288"/>
            <a:ext cx="3742134" cy="185272"/>
          </a:xfrm>
          <a:prstGeom prst="rect">
            <a:avLst/>
          </a:prstGeom>
        </p:spPr>
        <p:txBody>
          <a:bodyPr>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1" name="Tekstin paikkamerkki 17">
            <a:extLst>
              <a:ext uri="{FF2B5EF4-FFF2-40B4-BE49-F238E27FC236}">
                <a16:creationId xmlns:a16="http://schemas.microsoft.com/office/drawing/2014/main" id="{200AAA17-A2F6-D764-0026-EF87A3FC173A}"/>
              </a:ext>
            </a:extLst>
          </p:cNvPr>
          <p:cNvSpPr>
            <a:spLocks noGrp="1"/>
          </p:cNvSpPr>
          <p:nvPr>
            <p:ph type="body" sz="quarter" idx="20"/>
          </p:nvPr>
        </p:nvSpPr>
        <p:spPr>
          <a:xfrm>
            <a:off x="5042297" y="2998566"/>
            <a:ext cx="3742134" cy="367489"/>
          </a:xfrm>
          <a:prstGeom prst="rect">
            <a:avLst/>
          </a:prstGeom>
        </p:spPr>
        <p:txBody>
          <a:bodyPr>
            <a:noAutofit/>
          </a:bodyPr>
          <a:lstStyle>
            <a:lvl1pPr marL="1191" indent="0" rtl="0">
              <a:lnSpc>
                <a:spcPct val="110000"/>
              </a:lnSpc>
              <a:spcAft>
                <a:spcPts val="0"/>
              </a:spcAft>
              <a:buNone/>
              <a:defRPr sz="900" b="0">
                <a:latin typeface="Arial Nova Light" panose="020B0304020202020204" pitchFamily="34" charset="0"/>
              </a:defRPr>
            </a:lvl1pPr>
            <a:lvl2pPr marL="134540" indent="0">
              <a:buNone/>
              <a:defRPr/>
            </a:lvl2pPr>
          </a:lstStyle>
          <a:p>
            <a:pPr lvl="0"/>
            <a:endParaRPr lang="af-ZA"/>
          </a:p>
        </p:txBody>
      </p:sp>
      <p:sp>
        <p:nvSpPr>
          <p:cNvPr id="22" name="Tekstin paikkamerkki 17">
            <a:extLst>
              <a:ext uri="{FF2B5EF4-FFF2-40B4-BE49-F238E27FC236}">
                <a16:creationId xmlns:a16="http://schemas.microsoft.com/office/drawing/2014/main" id="{39C9CB15-A1BF-C965-A127-236E98F91E8A}"/>
              </a:ext>
            </a:extLst>
          </p:cNvPr>
          <p:cNvSpPr>
            <a:spLocks noGrp="1"/>
          </p:cNvSpPr>
          <p:nvPr>
            <p:ph type="body" sz="quarter" idx="21" hasCustomPrompt="1"/>
          </p:nvPr>
        </p:nvSpPr>
        <p:spPr>
          <a:xfrm>
            <a:off x="5042297" y="3628042"/>
            <a:ext cx="3742134" cy="185272"/>
          </a:xfrm>
          <a:prstGeom prst="rect">
            <a:avLst/>
          </a:prstGeom>
        </p:spPr>
        <p:txBody>
          <a:bodyPr>
            <a:noAutofit/>
          </a:bodyPr>
          <a:lstStyle>
            <a:lvl1pPr marL="1191" indent="0" rtl="0">
              <a:spcAft>
                <a:spcPts val="0"/>
              </a:spcAft>
              <a:buNone/>
              <a:defRPr sz="900" b="0">
                <a:latin typeface="Arial Nova Light" panose="020B0304020202020204" pitchFamily="34" charset="0"/>
              </a:defRPr>
            </a:lvl1pPr>
            <a:lvl2pPr marL="134540" indent="0">
              <a:buNone/>
              <a:defRPr/>
            </a:lvl2pPr>
          </a:lstStyle>
          <a:p>
            <a:pPr lvl="0"/>
            <a:r>
              <a:rPr lang="af-ZA"/>
              <a:t>xx.xx.20xx</a:t>
            </a:r>
          </a:p>
        </p:txBody>
      </p:sp>
      <p:sp>
        <p:nvSpPr>
          <p:cNvPr id="3" name="Title 1">
            <a:extLst>
              <a:ext uri="{FF2B5EF4-FFF2-40B4-BE49-F238E27FC236}">
                <a16:creationId xmlns:a16="http://schemas.microsoft.com/office/drawing/2014/main" id="{3CDFA3ED-0062-34BE-1507-BA1E771F4DDD}"/>
              </a:ext>
            </a:extLst>
          </p:cNvPr>
          <p:cNvSpPr>
            <a:spLocks noGrp="1"/>
          </p:cNvSpPr>
          <p:nvPr>
            <p:ph type="title" hasCustomPrompt="1"/>
          </p:nvPr>
        </p:nvSpPr>
        <p:spPr>
          <a:xfrm>
            <a:off x="5042453" y="1222515"/>
            <a:ext cx="3747637" cy="668563"/>
          </a:xfrm>
        </p:spPr>
        <p:txBody>
          <a:bodyPr vert="horz" anchor="b" anchorCtr="0"/>
          <a:lstStyle>
            <a:lvl1pPr rtl="0">
              <a:lnSpc>
                <a:spcPts val="3000"/>
              </a:lnSpc>
              <a:defRPr sz="3000" spc="75" baseline="0">
                <a:latin typeface="Arial Nova Light" panose="020B0304020202020204" pitchFamily="34" charset="0"/>
              </a:defRPr>
            </a:lvl1pPr>
          </a:lstStyle>
          <a:p>
            <a:r>
              <a:rPr lang="af-ZA" noProof="0"/>
              <a:t>Lisää otsikko</a:t>
            </a:r>
          </a:p>
        </p:txBody>
      </p:sp>
    </p:spTree>
    <p:extLst>
      <p:ext uri="{BB962C8B-B14F-4D97-AF65-F5344CB8AC3E}">
        <p14:creationId xmlns:p14="http://schemas.microsoft.com/office/powerpoint/2010/main" val="22074161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Otsikkodia kuvalla">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324374754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3" name="Title 1">
            <a:extLst>
              <a:ext uri="{FF2B5EF4-FFF2-40B4-BE49-F238E27FC236}">
                <a16:creationId xmlns:a16="http://schemas.microsoft.com/office/drawing/2014/main" id="{9D6A1A1F-E432-7453-A688-0AAC2B593121}"/>
              </a:ext>
            </a:extLst>
          </p:cNvPr>
          <p:cNvSpPr>
            <a:spLocks noGrp="1"/>
          </p:cNvSpPr>
          <p:nvPr>
            <p:ph type="title" hasCustomPrompt="1"/>
          </p:nvPr>
        </p:nvSpPr>
        <p:spPr>
          <a:xfrm>
            <a:off x="4718498" y="1058549"/>
            <a:ext cx="4065933" cy="594662"/>
          </a:xfrm>
        </p:spPr>
        <p:txBody>
          <a:bodyPr vert="horz" wrap="square">
            <a:noAutofit/>
          </a:bodyPr>
          <a:lstStyle>
            <a:lvl1pPr rtl="0">
              <a:defRPr b="0"/>
            </a:lvl1pPr>
          </a:lstStyle>
          <a:p>
            <a:r>
              <a:rPr lang="af-ZA" noProof="0"/>
              <a:t>Lisää otsikko</a:t>
            </a:r>
          </a:p>
        </p:txBody>
      </p:sp>
      <p:sp>
        <p:nvSpPr>
          <p:cNvPr id="4" name="Text Placeholder 2">
            <a:extLst>
              <a:ext uri="{FF2B5EF4-FFF2-40B4-BE49-F238E27FC236}">
                <a16:creationId xmlns:a16="http://schemas.microsoft.com/office/drawing/2014/main" id="{C96D2A0B-6950-0B85-4CA3-2BAEED4E44B1}"/>
              </a:ext>
            </a:extLst>
          </p:cNvPr>
          <p:cNvSpPr>
            <a:spLocks noGrp="1"/>
          </p:cNvSpPr>
          <p:nvPr>
            <p:ph type="body" sz="quarter" idx="13"/>
          </p:nvPr>
        </p:nvSpPr>
        <p:spPr>
          <a:xfrm>
            <a:off x="4718498" y="1653210"/>
            <a:ext cx="4065934" cy="3133102"/>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1349018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_Otsikkodia kuvalla">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flipH="1">
            <a:off x="4555435"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19856479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3" name="Title 1">
            <a:extLst>
              <a:ext uri="{FF2B5EF4-FFF2-40B4-BE49-F238E27FC236}">
                <a16:creationId xmlns:a16="http://schemas.microsoft.com/office/drawing/2014/main" id="{9D6A1A1F-E432-7453-A688-0AAC2B593121}"/>
              </a:ext>
            </a:extLst>
          </p:cNvPr>
          <p:cNvSpPr>
            <a:spLocks noGrp="1"/>
          </p:cNvSpPr>
          <p:nvPr>
            <p:ph type="title" hasCustomPrompt="1"/>
          </p:nvPr>
        </p:nvSpPr>
        <p:spPr>
          <a:xfrm>
            <a:off x="421201" y="1058400"/>
            <a:ext cx="4065933" cy="594662"/>
          </a:xfrm>
        </p:spPr>
        <p:txBody>
          <a:bodyPr vert="horz" wrap="square">
            <a:noAutofit/>
          </a:bodyPr>
          <a:lstStyle>
            <a:lvl1pPr rtl="0">
              <a:defRPr b="0"/>
            </a:lvl1pPr>
          </a:lstStyle>
          <a:p>
            <a:r>
              <a:rPr lang="af-ZA" noProof="0"/>
              <a:t>Lisää otsikko</a:t>
            </a:r>
          </a:p>
        </p:txBody>
      </p:sp>
      <p:sp>
        <p:nvSpPr>
          <p:cNvPr id="4" name="Text Placeholder 2">
            <a:extLst>
              <a:ext uri="{FF2B5EF4-FFF2-40B4-BE49-F238E27FC236}">
                <a16:creationId xmlns:a16="http://schemas.microsoft.com/office/drawing/2014/main" id="{C96D2A0B-6950-0B85-4CA3-2BAEED4E44B1}"/>
              </a:ext>
            </a:extLst>
          </p:cNvPr>
          <p:cNvSpPr>
            <a:spLocks noGrp="1"/>
          </p:cNvSpPr>
          <p:nvPr>
            <p:ph type="body" sz="quarter" idx="13"/>
          </p:nvPr>
        </p:nvSpPr>
        <p:spPr>
          <a:xfrm>
            <a:off x="421200" y="1653062"/>
            <a:ext cx="4065934" cy="3133102"/>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2750373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Otsikkodia kuvalla 2">
    <p:spTree>
      <p:nvGrpSpPr>
        <p:cNvPr id="1" name=""/>
        <p:cNvGrpSpPr/>
        <p:nvPr/>
      </p:nvGrpSpPr>
      <p:grpSpPr>
        <a:xfrm>
          <a:off x="0" y="0"/>
          <a:ext cx="0" cy="0"/>
          <a:chOff x="0" y="0"/>
          <a:chExt cx="0" cy="0"/>
        </a:xfrm>
      </p:grpSpPr>
      <p:sp>
        <p:nvSpPr>
          <p:cNvPr id="13" name="Kuvan paikkamerkki 12">
            <a:extLst>
              <a:ext uri="{FF2B5EF4-FFF2-40B4-BE49-F238E27FC236}">
                <a16:creationId xmlns:a16="http://schemas.microsoft.com/office/drawing/2014/main" id="{6B9A4A38-EAE7-675A-7180-4E3590FD1741}"/>
              </a:ext>
            </a:extLst>
          </p:cNvPr>
          <p:cNvSpPr>
            <a:spLocks noGrp="1"/>
          </p:cNvSpPr>
          <p:nvPr>
            <p:ph type="pic" sz="quarter" idx="16"/>
          </p:nvPr>
        </p:nvSpPr>
        <p:spPr>
          <a:xfrm>
            <a:off x="1" y="0"/>
            <a:ext cx="4588565" cy="5143500"/>
          </a:xfrm>
          <a:custGeom>
            <a:avLst/>
            <a:gdLst>
              <a:gd name="connsiteX0" fmla="*/ 0 w 5177183"/>
              <a:gd name="connsiteY0" fmla="*/ 0 h 6858000"/>
              <a:gd name="connsiteX1" fmla="*/ 5177183 w 5177183"/>
              <a:gd name="connsiteY1" fmla="*/ 0 h 6858000"/>
              <a:gd name="connsiteX2" fmla="*/ 5177183 w 5177183"/>
              <a:gd name="connsiteY2" fmla="*/ 6858000 h 6858000"/>
              <a:gd name="connsiteX3" fmla="*/ 0 w 5177183"/>
              <a:gd name="connsiteY3" fmla="*/ 6858000 h 6858000"/>
              <a:gd name="connsiteX4" fmla="*/ 0 w 5177183"/>
              <a:gd name="connsiteY4" fmla="*/ 0 h 6858000"/>
              <a:gd name="connsiteX0" fmla="*/ 0 w 5177183"/>
              <a:gd name="connsiteY0" fmla="*/ 0 h 6858000"/>
              <a:gd name="connsiteX1" fmla="*/ 5177183 w 5177183"/>
              <a:gd name="connsiteY1" fmla="*/ 0 h 6858000"/>
              <a:gd name="connsiteX2" fmla="*/ 5177183 w 5177183"/>
              <a:gd name="connsiteY2" fmla="*/ 3427896 h 6858000"/>
              <a:gd name="connsiteX3" fmla="*/ 5177183 w 5177183"/>
              <a:gd name="connsiteY3" fmla="*/ 6858000 h 6858000"/>
              <a:gd name="connsiteX4" fmla="*/ 0 w 5177183"/>
              <a:gd name="connsiteY4" fmla="*/ 6858000 h 6858000"/>
              <a:gd name="connsiteX5" fmla="*/ 0 w 5177183"/>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9498"/>
              <a:gd name="connsiteY0" fmla="*/ 0 h 6858000"/>
              <a:gd name="connsiteX1" fmla="*/ 5177183 w 6119498"/>
              <a:gd name="connsiteY1" fmla="*/ 0 h 6858000"/>
              <a:gd name="connsiteX2" fmla="*/ 6118087 w 6119498"/>
              <a:gd name="connsiteY2" fmla="*/ 3432314 h 6858000"/>
              <a:gd name="connsiteX3" fmla="*/ 5177183 w 6119498"/>
              <a:gd name="connsiteY3" fmla="*/ 6858000 h 6858000"/>
              <a:gd name="connsiteX4" fmla="*/ 0 w 6119498"/>
              <a:gd name="connsiteY4" fmla="*/ 6858000 h 6858000"/>
              <a:gd name="connsiteX5" fmla="*/ 0 w 6119498"/>
              <a:gd name="connsiteY5" fmla="*/ 0 h 6858000"/>
              <a:gd name="connsiteX0" fmla="*/ 0 w 6118087"/>
              <a:gd name="connsiteY0" fmla="*/ 0 h 6858000"/>
              <a:gd name="connsiteX1" fmla="*/ 5177183 w 6118087"/>
              <a:gd name="connsiteY1" fmla="*/ 0 h 6858000"/>
              <a:gd name="connsiteX2" fmla="*/ 6118087 w 6118087"/>
              <a:gd name="connsiteY2" fmla="*/ 3432314 h 6858000"/>
              <a:gd name="connsiteX3" fmla="*/ 5177183 w 6118087"/>
              <a:gd name="connsiteY3" fmla="*/ 6858000 h 6858000"/>
              <a:gd name="connsiteX4" fmla="*/ 0 w 6118087"/>
              <a:gd name="connsiteY4" fmla="*/ 6858000 h 6858000"/>
              <a:gd name="connsiteX5" fmla="*/ 0 w 6118087"/>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8087" h="6858000">
                <a:moveTo>
                  <a:pt x="0" y="0"/>
                </a:moveTo>
                <a:lnTo>
                  <a:pt x="5177183" y="0"/>
                </a:lnTo>
                <a:cubicBezTo>
                  <a:pt x="5812551" y="996121"/>
                  <a:pt x="6118087" y="2289314"/>
                  <a:pt x="6118087" y="3432314"/>
                </a:cubicBezTo>
                <a:cubicBezTo>
                  <a:pt x="6118087" y="4575314"/>
                  <a:pt x="5909734" y="5637695"/>
                  <a:pt x="5177183" y="6858000"/>
                </a:cubicBezTo>
                <a:lnTo>
                  <a:pt x="0" y="6858000"/>
                </a:lnTo>
                <a:lnTo>
                  <a:pt x="0" y="0"/>
                </a:lnTo>
                <a:close/>
              </a:path>
            </a:pathLst>
          </a:custGeom>
          <a:solidFill>
            <a:schemeClr val="bg1">
              <a:lumMod val="95000"/>
            </a:schemeClr>
          </a:solidFill>
          <a:ln w="1270">
            <a:noFill/>
          </a:ln>
        </p:spPr>
        <p:txBody>
          <a:bodyPr anchor="ctr" anchorCtr="0"/>
          <a:lstStyle>
            <a:lvl1pPr marL="1191" indent="0" algn="ctr">
              <a:buNone/>
              <a:defRPr/>
            </a:lvl1pPr>
          </a:lstStyle>
          <a:p>
            <a:endParaRPr lang="fi-FI"/>
          </a:p>
        </p:txBody>
      </p:sp>
      <p:graphicFrame>
        <p:nvGraphicFramePr>
          <p:cNvPr id="8" name="Object 7" hidden="1">
            <a:extLst>
              <a:ext uri="{FF2B5EF4-FFF2-40B4-BE49-F238E27FC236}">
                <a16:creationId xmlns:a16="http://schemas.microsoft.com/office/drawing/2014/main" id="{EB34B0BC-1B02-79DE-7F73-27E9F1FD62EA}"/>
              </a:ext>
            </a:extLst>
          </p:cNvPr>
          <p:cNvGraphicFramePr>
            <a:graphicFrameLocks noChangeAspect="1"/>
          </p:cNvGraphicFramePr>
          <p:nvPr userDrawn="1">
            <p:custDataLst>
              <p:tags r:id="rId1"/>
            </p:custDataLst>
            <p:extLst>
              <p:ext uri="{D42A27DB-BD31-4B8C-83A1-F6EECF244321}">
                <p14:modId xmlns:p14="http://schemas.microsoft.com/office/powerpoint/2010/main" val="11869755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EB34B0BC-1B02-79DE-7F73-27E9F1FD62E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ekstin paikkamerkki 10">
            <a:extLst>
              <a:ext uri="{FF2B5EF4-FFF2-40B4-BE49-F238E27FC236}">
                <a16:creationId xmlns:a16="http://schemas.microsoft.com/office/drawing/2014/main" id="{D3E8B7B2-E42C-2815-2ACC-01F8A33A4902}"/>
              </a:ext>
            </a:extLst>
          </p:cNvPr>
          <p:cNvSpPr>
            <a:spLocks noGrp="1"/>
          </p:cNvSpPr>
          <p:nvPr>
            <p:ph type="body" sz="quarter" idx="15" hasCustomPrompt="1"/>
          </p:nvPr>
        </p:nvSpPr>
        <p:spPr>
          <a:xfrm>
            <a:off x="421200" y="4900500"/>
            <a:ext cx="337500" cy="1269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lIns="0" tIns="0" rIns="0" bIns="0" anchor="ctr" anchorCtr="0">
            <a:normAutofit/>
          </a:bodyPr>
          <a:lstStyle>
            <a:lvl1pPr marL="1191" indent="0" algn="ctr" rtl="0">
              <a:lnSpc>
                <a:spcPct val="100000"/>
              </a:lnSpc>
              <a:spcAft>
                <a:spcPts val="0"/>
              </a:spcAft>
              <a:buNone/>
              <a:defRPr sz="100">
                <a:latin typeface="Arial" panose="020B0604020202020204" pitchFamily="34" charset="0"/>
                <a:cs typeface="Arial" panose="020B0604020202020204" pitchFamily="34" charset="0"/>
              </a:defRPr>
            </a:lvl1pPr>
          </a:lstStyle>
          <a:p>
            <a:pPr lvl="0"/>
            <a:r>
              <a:rPr lang="af-ZA"/>
              <a:t> </a:t>
            </a:r>
          </a:p>
        </p:txBody>
      </p:sp>
      <p:sp>
        <p:nvSpPr>
          <p:cNvPr id="2" name="Title 1">
            <a:extLst>
              <a:ext uri="{FF2B5EF4-FFF2-40B4-BE49-F238E27FC236}">
                <a16:creationId xmlns:a16="http://schemas.microsoft.com/office/drawing/2014/main" id="{8CC87460-BE63-65F4-6D3A-E0F1A3BED4BE}"/>
              </a:ext>
            </a:extLst>
          </p:cNvPr>
          <p:cNvSpPr>
            <a:spLocks noGrp="1"/>
          </p:cNvSpPr>
          <p:nvPr>
            <p:ph type="title" hasCustomPrompt="1"/>
          </p:nvPr>
        </p:nvSpPr>
        <p:spPr>
          <a:xfrm>
            <a:off x="4718498" y="1058549"/>
            <a:ext cx="4065933" cy="594662"/>
          </a:xfrm>
        </p:spPr>
        <p:txBody>
          <a:bodyPr vert="horz" wrap="square">
            <a:noAutofit/>
          </a:bodyPr>
          <a:lstStyle>
            <a:lvl1pPr rtl="0">
              <a:defRPr b="0"/>
            </a:lvl1pPr>
          </a:lstStyle>
          <a:p>
            <a:r>
              <a:rPr lang="af-ZA" noProof="0"/>
              <a:t>Lisää otsikko</a:t>
            </a:r>
          </a:p>
        </p:txBody>
      </p:sp>
      <p:sp>
        <p:nvSpPr>
          <p:cNvPr id="4" name="Text Placeholder 2">
            <a:extLst>
              <a:ext uri="{FF2B5EF4-FFF2-40B4-BE49-F238E27FC236}">
                <a16:creationId xmlns:a16="http://schemas.microsoft.com/office/drawing/2014/main" id="{18D3E47C-BE3A-9A3A-C42D-6B0D39BB439A}"/>
              </a:ext>
            </a:extLst>
          </p:cNvPr>
          <p:cNvSpPr>
            <a:spLocks noGrp="1"/>
          </p:cNvSpPr>
          <p:nvPr>
            <p:ph type="body" sz="quarter" idx="13"/>
          </p:nvPr>
        </p:nvSpPr>
        <p:spPr>
          <a:xfrm>
            <a:off x="4718498" y="1653210"/>
            <a:ext cx="4065934" cy="3133102"/>
          </a:xfrm>
          <a:prstGeom prst="rect">
            <a:avLst/>
          </a:prstGeom>
        </p:spPr>
        <p:txBody>
          <a:bodyPr wrap="square">
            <a:noAutofit/>
          </a:bodyPr>
          <a:lstStyle>
            <a:lvl1pPr rtl="0">
              <a:defRPr/>
            </a:lvl1pPr>
            <a:lvl2pPr rtl="0">
              <a:lnSpc>
                <a:spcPct val="100000"/>
              </a:lnSpc>
              <a:defRPr/>
            </a:lvl2pPr>
            <a:lvl3pPr marL="405000" indent="-135000" rtl="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a:p>
            <a:pPr lvl="2"/>
            <a:r>
              <a:rPr lang="af-ZA"/>
              <a:t>Third level</a:t>
            </a:r>
          </a:p>
        </p:txBody>
      </p:sp>
    </p:spTree>
    <p:extLst>
      <p:ext uri="{BB962C8B-B14F-4D97-AF65-F5344CB8AC3E}">
        <p14:creationId xmlns:p14="http://schemas.microsoft.com/office/powerpoint/2010/main" val="3249344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elkkä otsikk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E18252-4192-D3A7-61AE-F081A4E7EA42}"/>
              </a:ext>
            </a:extLst>
          </p:cNvPr>
          <p:cNvGraphicFramePr>
            <a:graphicFrameLocks noChangeAspect="1"/>
          </p:cNvGraphicFramePr>
          <p:nvPr userDrawn="1">
            <p:custDataLst>
              <p:tags r:id="rId1"/>
            </p:custDataLst>
            <p:extLst>
              <p:ext uri="{D42A27DB-BD31-4B8C-83A1-F6EECF244321}">
                <p14:modId xmlns:p14="http://schemas.microsoft.com/office/powerpoint/2010/main" val="11516450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0E18252-4192-D3A7-61AE-F081A4E7EA4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122DEA15-1457-EF4E-6FF7-4F46D7D0DD41}"/>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8" name="Date Placeholder 2">
            <a:extLst>
              <a:ext uri="{FF2B5EF4-FFF2-40B4-BE49-F238E27FC236}">
                <a16:creationId xmlns:a16="http://schemas.microsoft.com/office/drawing/2014/main" id="{D0D48DB8-1A5F-F761-48F4-99512B34C47A}"/>
              </a:ext>
            </a:extLst>
          </p:cNvPr>
          <p:cNvSpPr>
            <a:spLocks noGrp="1"/>
          </p:cNvSpPr>
          <p:nvPr>
            <p:ph type="dt" sz="half" idx="10"/>
          </p:nvPr>
        </p:nvSpPr>
        <p:spPr>
          <a:xfrm>
            <a:off x="7610236" y="4883762"/>
            <a:ext cx="972741" cy="164194"/>
          </a:xfrm>
          <a:prstGeom prst="rect">
            <a:avLst/>
          </a:prstGeom>
        </p:spPr>
        <p:txBody>
          <a:bodyPr wrap="square">
            <a:noAutofit/>
          </a:bodyPr>
          <a:lstStyle>
            <a:lvl1pPr algn="ctr" rtl="0">
              <a:defRPr sz="675"/>
            </a:lvl1pPr>
          </a:lstStyle>
          <a:p>
            <a:pPr>
              <a:defRPr/>
            </a:pPr>
            <a:endParaRPr lang="af-ZA">
              <a:solidFill>
                <a:srgbClr val="000000"/>
              </a:solidFill>
            </a:endParaRPr>
          </a:p>
        </p:txBody>
      </p:sp>
      <p:sp>
        <p:nvSpPr>
          <p:cNvPr id="9" name="Footer Placeholder 3">
            <a:extLst>
              <a:ext uri="{FF2B5EF4-FFF2-40B4-BE49-F238E27FC236}">
                <a16:creationId xmlns:a16="http://schemas.microsoft.com/office/drawing/2014/main" id="{C40CA5EC-4F3F-86E4-9FDA-9067F05533A7}"/>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6BD7DA59-E7AD-347F-F673-3EA856DC7D1F}"/>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Tree>
    <p:extLst>
      <p:ext uri="{BB962C8B-B14F-4D97-AF65-F5344CB8AC3E}">
        <p14:creationId xmlns:p14="http://schemas.microsoft.com/office/powerpoint/2010/main" val="22659660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tsikko + Sisältö">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03EA1F9-2126-03D3-BEC2-B3C7DB1CA4BF}"/>
              </a:ext>
            </a:extLst>
          </p:cNvPr>
          <p:cNvGraphicFramePr>
            <a:graphicFrameLocks noChangeAspect="1"/>
          </p:cNvGraphicFramePr>
          <p:nvPr userDrawn="1">
            <p:custDataLst>
              <p:tags r:id="rId1"/>
            </p:custDataLst>
            <p:extLst>
              <p:ext uri="{D42A27DB-BD31-4B8C-83A1-F6EECF244321}">
                <p14:modId xmlns:p14="http://schemas.microsoft.com/office/powerpoint/2010/main" val="40317585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F03EA1F9-2126-03D3-BEC2-B3C7DB1CA4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192156AB-D327-31E5-6752-B7CF946A971F}"/>
              </a:ext>
            </a:extLst>
          </p:cNvPr>
          <p:cNvSpPr>
            <a:spLocks noGrp="1"/>
          </p:cNvSpPr>
          <p:nvPr>
            <p:ph type="title" hasCustomPrompt="1"/>
          </p:nvPr>
        </p:nvSpPr>
        <p:spPr>
          <a:xfrm>
            <a:off x="359568" y="249493"/>
            <a:ext cx="8424862" cy="594662"/>
          </a:xfrm>
        </p:spPr>
        <p:txBody>
          <a:bodyPr vert="horz" wrap="square">
            <a:noAutofit/>
          </a:bodyPr>
          <a:lstStyle>
            <a:lvl1pPr rtl="0">
              <a:defRPr b="0"/>
            </a:lvl1pPr>
          </a:lstStyle>
          <a:p>
            <a:r>
              <a:rPr lang="af-ZA" noProof="0"/>
              <a:t>Lisää otsikko</a:t>
            </a:r>
          </a:p>
        </p:txBody>
      </p:sp>
      <p:sp>
        <p:nvSpPr>
          <p:cNvPr id="17" name="Footer Placeholder 3">
            <a:extLst>
              <a:ext uri="{FF2B5EF4-FFF2-40B4-BE49-F238E27FC236}">
                <a16:creationId xmlns:a16="http://schemas.microsoft.com/office/drawing/2014/main" id="{DB511F4F-BAB0-73C5-5D43-7CE38A07B7F1}"/>
              </a:ext>
            </a:extLst>
          </p:cNvPr>
          <p:cNvSpPr>
            <a:spLocks noGrp="1"/>
          </p:cNvSpPr>
          <p:nvPr>
            <p:ph type="ftr" sz="quarter" idx="11"/>
          </p:nvPr>
        </p:nvSpPr>
        <p:spPr>
          <a:xfrm>
            <a:off x="1331638" y="4884056"/>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8" name="Slide Number Placeholder 4">
            <a:extLst>
              <a:ext uri="{FF2B5EF4-FFF2-40B4-BE49-F238E27FC236}">
                <a16:creationId xmlns:a16="http://schemas.microsoft.com/office/drawing/2014/main" id="{F731E737-ABBF-54D7-429E-714E7E5AF65E}"/>
              </a:ext>
            </a:extLst>
          </p:cNvPr>
          <p:cNvSpPr>
            <a:spLocks noGrp="1"/>
          </p:cNvSpPr>
          <p:nvPr>
            <p:ph type="sldNum" sz="quarter" idx="12"/>
          </p:nvPr>
        </p:nvSpPr>
        <p:spPr>
          <a:xfrm>
            <a:off x="8597026" y="4883517"/>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
        <p:nvSpPr>
          <p:cNvPr id="3" name="Text Placeholder 2">
            <a:extLst>
              <a:ext uri="{FF2B5EF4-FFF2-40B4-BE49-F238E27FC236}">
                <a16:creationId xmlns:a16="http://schemas.microsoft.com/office/drawing/2014/main" id="{BCFE88D8-A34A-4AE0-6D81-E1186BC0871B}"/>
              </a:ext>
            </a:extLst>
          </p:cNvPr>
          <p:cNvSpPr>
            <a:spLocks noGrp="1"/>
          </p:cNvSpPr>
          <p:nvPr>
            <p:ph type="body" sz="quarter" idx="13"/>
          </p:nvPr>
        </p:nvSpPr>
        <p:spPr>
          <a:xfrm>
            <a:off x="359569" y="926100"/>
            <a:ext cx="8424863" cy="3805444"/>
          </a:xfrm>
          <a:prstGeom prst="rect">
            <a:avLst/>
          </a:prstGeom>
        </p:spPr>
        <p:txBody>
          <a:bodyPr wrap="square">
            <a:noAutofit/>
          </a:bodyPr>
          <a:lstStyle>
            <a:lvl1pPr rtl="0">
              <a:defRPr/>
            </a:lvl1pPr>
            <a:lvl2pPr rtl="0">
              <a:lnSpc>
                <a:spcPct val="100000"/>
              </a:lnSpc>
              <a:defRPr/>
            </a:lvl2pPr>
            <a:lvl3pPr marL="405000" indent="-135000">
              <a:lnSpc>
                <a:spcPct val="100000"/>
              </a:lnSpc>
              <a:spcBef>
                <a:spcPts val="0"/>
              </a:spcBef>
              <a:spcAft>
                <a:spcPts val="450"/>
              </a:spcAft>
              <a:buClr>
                <a:schemeClr val="accent1"/>
              </a:buClr>
              <a:buFont typeface="Courier New" panose="02070309020205020404" pitchFamily="49" charset="0"/>
              <a:buChar char="o"/>
              <a:defRPr sz="900">
                <a:latin typeface="+mj-lt"/>
              </a:defRPr>
            </a:lvl3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1957011792"/>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tsikko+sisältö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B3E3B1-0295-C419-445A-2232FC2244BF}"/>
              </a:ext>
            </a:extLst>
          </p:cNvPr>
          <p:cNvGraphicFramePr>
            <a:graphicFrameLocks noChangeAspect="1"/>
          </p:cNvGraphicFramePr>
          <p:nvPr userDrawn="1">
            <p:custDataLst>
              <p:tags r:id="rId1"/>
            </p:custDataLst>
            <p:extLst>
              <p:ext uri="{D42A27DB-BD31-4B8C-83A1-F6EECF244321}">
                <p14:modId xmlns:p14="http://schemas.microsoft.com/office/powerpoint/2010/main" val="17320262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10B3E3B1-0295-C419-445A-2232FC2244B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1D29E5C8-6823-D1E7-64E8-C14BA3E04270}"/>
              </a:ext>
            </a:extLst>
          </p:cNvPr>
          <p:cNvSpPr>
            <a:spLocks noGrp="1"/>
          </p:cNvSpPr>
          <p:nvPr>
            <p:ph type="body" sz="quarter" idx="18"/>
          </p:nvPr>
        </p:nvSpPr>
        <p:spPr>
          <a:xfrm>
            <a:off x="4599385" y="845100"/>
            <a:ext cx="4184538"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5" name="Text Placeholder 2">
            <a:extLst>
              <a:ext uri="{FF2B5EF4-FFF2-40B4-BE49-F238E27FC236}">
                <a16:creationId xmlns:a16="http://schemas.microsoft.com/office/drawing/2014/main" id="{A569A1D6-EB3A-33A2-82EF-BB9B581FE771}"/>
              </a:ext>
            </a:extLst>
          </p:cNvPr>
          <p:cNvSpPr>
            <a:spLocks noGrp="1"/>
          </p:cNvSpPr>
          <p:nvPr>
            <p:ph type="body" sz="quarter" idx="17"/>
          </p:nvPr>
        </p:nvSpPr>
        <p:spPr>
          <a:xfrm>
            <a:off x="359100" y="845100"/>
            <a:ext cx="4183856"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14" name="Text Placeholder 13">
            <a:extLst>
              <a:ext uri="{FF2B5EF4-FFF2-40B4-BE49-F238E27FC236}">
                <a16:creationId xmlns:a16="http://schemas.microsoft.com/office/drawing/2014/main" id="{69A74296-832D-5533-EFCE-18837184E4A2}"/>
              </a:ext>
            </a:extLst>
          </p:cNvPr>
          <p:cNvSpPr>
            <a:spLocks noGrp="1"/>
          </p:cNvSpPr>
          <p:nvPr>
            <p:ph type="body" sz="quarter" idx="20"/>
          </p:nvPr>
        </p:nvSpPr>
        <p:spPr>
          <a:xfrm>
            <a:off x="4599385" y="1059656"/>
            <a:ext cx="4183856" cy="3726655"/>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
        <p:nvSpPr>
          <p:cNvPr id="7" name="Title 1">
            <a:extLst>
              <a:ext uri="{FF2B5EF4-FFF2-40B4-BE49-F238E27FC236}">
                <a16:creationId xmlns:a16="http://schemas.microsoft.com/office/drawing/2014/main" id="{106382E3-9A3E-85C7-B109-DDD29E760F97}"/>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488005BF-D040-D204-6F6D-41287A824521}"/>
              </a:ext>
            </a:extLst>
          </p:cNvPr>
          <p:cNvSpPr>
            <a:spLocks noGrp="1"/>
          </p:cNvSpPr>
          <p:nvPr>
            <p:ph type="ftr" sz="quarter" idx="11"/>
          </p:nvPr>
        </p:nvSpPr>
        <p:spPr>
          <a:xfrm>
            <a:off x="1331640" y="4883762"/>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991CBCBC-08C9-7FB3-781B-EABE97D75B5B}"/>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cxnSp>
        <p:nvCxnSpPr>
          <p:cNvPr id="15" name="Straight Connector 14">
            <a:extLst>
              <a:ext uri="{FF2B5EF4-FFF2-40B4-BE49-F238E27FC236}">
                <a16:creationId xmlns:a16="http://schemas.microsoft.com/office/drawing/2014/main" id="{E2A94CB8-0118-6482-6DDF-8588F00E909F}"/>
              </a:ext>
            </a:extLst>
          </p:cNvPr>
          <p:cNvCxnSpPr>
            <a:cxnSpLocks/>
          </p:cNvCxnSpPr>
          <p:nvPr userDrawn="1"/>
        </p:nvCxnSpPr>
        <p:spPr>
          <a:xfrm>
            <a:off x="359100" y="1061100"/>
            <a:ext cx="418551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FE6B5CF-ABAD-97F7-D317-1D7DC4259113}"/>
              </a:ext>
            </a:extLst>
          </p:cNvPr>
          <p:cNvCxnSpPr>
            <a:cxnSpLocks/>
          </p:cNvCxnSpPr>
          <p:nvPr userDrawn="1"/>
        </p:nvCxnSpPr>
        <p:spPr>
          <a:xfrm flipV="1">
            <a:off x="4599385" y="1061100"/>
            <a:ext cx="418504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3FE52E0-9D88-4E19-4557-2712647129CB}"/>
              </a:ext>
            </a:extLst>
          </p:cNvPr>
          <p:cNvSpPr>
            <a:spLocks noGrp="1"/>
          </p:cNvSpPr>
          <p:nvPr>
            <p:ph type="body" sz="quarter" idx="19"/>
          </p:nvPr>
        </p:nvSpPr>
        <p:spPr>
          <a:xfrm>
            <a:off x="359569" y="1059656"/>
            <a:ext cx="4185047" cy="3726655"/>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6256977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tsikko+sisältö 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9F96-6D25-ABCB-2CFE-9A86F8F74330}"/>
              </a:ext>
            </a:extLst>
          </p:cNvPr>
          <p:cNvGraphicFramePr>
            <a:graphicFrameLocks noChangeAspect="1"/>
          </p:cNvGraphicFramePr>
          <p:nvPr userDrawn="1">
            <p:custDataLst>
              <p:tags r:id="rId1"/>
            </p:custDataLst>
            <p:extLst>
              <p:ext uri="{D42A27DB-BD31-4B8C-83A1-F6EECF244321}">
                <p14:modId xmlns:p14="http://schemas.microsoft.com/office/powerpoint/2010/main" val="38675656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17F79F96-6D25-ABCB-2CFE-9A86F8F7433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BF3E4873-A3FE-5859-6A6E-B75D540D9B9E}"/>
              </a:ext>
            </a:extLst>
          </p:cNvPr>
          <p:cNvSpPr>
            <a:spLocks noGrp="1"/>
          </p:cNvSpPr>
          <p:nvPr>
            <p:ph type="body" sz="quarter" idx="17"/>
          </p:nvPr>
        </p:nvSpPr>
        <p:spPr>
          <a:xfrm>
            <a:off x="359100" y="844153"/>
            <a:ext cx="2809154"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7" name="Title 1">
            <a:extLst>
              <a:ext uri="{FF2B5EF4-FFF2-40B4-BE49-F238E27FC236}">
                <a16:creationId xmlns:a16="http://schemas.microsoft.com/office/drawing/2014/main" id="{151F0D4B-A93B-8C76-8AF5-6A0295EA50FA}"/>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0C176388-DE66-C57A-44EE-B515ABC23DE6}"/>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9B90BCF1-4B02-7CA6-4A79-A6A5A8FF76A5}"/>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cxnSp>
        <p:nvCxnSpPr>
          <p:cNvPr id="14" name="Straight Connector 13">
            <a:extLst>
              <a:ext uri="{FF2B5EF4-FFF2-40B4-BE49-F238E27FC236}">
                <a16:creationId xmlns:a16="http://schemas.microsoft.com/office/drawing/2014/main" id="{57093ED4-B5E3-F4D2-7939-3F9ACACECF61}"/>
              </a:ext>
            </a:extLst>
          </p:cNvPr>
          <p:cNvCxnSpPr>
            <a:cxnSpLocks/>
          </p:cNvCxnSpPr>
          <p:nvPr userDrawn="1"/>
        </p:nvCxnSpPr>
        <p:spPr>
          <a:xfrm>
            <a:off x="359568" y="1060153"/>
            <a:ext cx="280868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CFA28FB-47BC-2840-1681-FA4375FE310B}"/>
              </a:ext>
            </a:extLst>
          </p:cNvPr>
          <p:cNvSpPr>
            <a:spLocks noGrp="1"/>
          </p:cNvSpPr>
          <p:nvPr>
            <p:ph type="body" sz="quarter" idx="18"/>
          </p:nvPr>
        </p:nvSpPr>
        <p:spPr>
          <a:xfrm>
            <a:off x="359568" y="1059657"/>
            <a:ext cx="2808685" cy="3726656"/>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4034943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_Otsikko ja sisältö">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FD1A9B5-A609-0EB0-6476-E85A5F70B9F3}"/>
              </a:ext>
            </a:extLst>
          </p:cNvPr>
          <p:cNvGraphicFramePr>
            <a:graphicFrameLocks noChangeAspect="1"/>
          </p:cNvGraphicFramePr>
          <p:nvPr userDrawn="1">
            <p:custDataLst>
              <p:tags r:id="rId1"/>
            </p:custDataLst>
            <p:extLst>
              <p:ext uri="{D42A27DB-BD31-4B8C-83A1-F6EECF244321}">
                <p14:modId xmlns:p14="http://schemas.microsoft.com/office/powerpoint/2010/main" val="338871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9FD1A9B5-A609-0EB0-6476-E85A5F70B9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28651" y="397462"/>
            <a:ext cx="5164988" cy="746936"/>
          </a:xfrm>
        </p:spPr>
        <p:txBody>
          <a:bodyPr vert="horz"/>
          <a:lstStyle>
            <a:lvl1pPr rtl="0">
              <a:defRPr/>
            </a:lvl1pPr>
          </a:lstStyle>
          <a:p>
            <a:r>
              <a:rPr lang="af-ZA"/>
              <a:t>Muokkaa perustyyl. napsautt.</a:t>
            </a:r>
          </a:p>
        </p:txBody>
      </p:sp>
      <p:sp>
        <p:nvSpPr>
          <p:cNvPr id="3" name="Content Placeholder 2"/>
          <p:cNvSpPr>
            <a:spLocks noGrp="1"/>
          </p:cNvSpPr>
          <p:nvPr>
            <p:ph idx="1" hasCustomPrompt="1"/>
          </p:nvPr>
        </p:nvSpPr>
        <p:spPr>
          <a:xfrm>
            <a:off x="628650" y="1144398"/>
            <a:ext cx="5164988" cy="3335527"/>
          </a:xfrm>
        </p:spPr>
        <p:txBody>
          <a:bodyPr/>
          <a:lstStyle>
            <a:lvl1pPr rtl="0">
              <a:defRPr b="0"/>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5" name="Footer Placeholder 4"/>
          <p:cNvSpPr>
            <a:spLocks noGrp="1"/>
          </p:cNvSpPr>
          <p:nvPr>
            <p:ph type="ftr" sz="quarter" idx="11"/>
          </p:nvPr>
        </p:nvSpPr>
        <p:spPr/>
        <p:txBody>
          <a:bodyPr/>
          <a:lstStyle>
            <a:lvl1pPr rtl="0">
              <a:defRPr/>
            </a:lvl1pPr>
          </a:lstStyle>
          <a:p>
            <a:r>
              <a:rPr lang="af-ZA"/>
              <a:t>Työ- ja elinkeinoministeriö • www.tem.fi</a:t>
            </a:r>
          </a:p>
        </p:txBody>
      </p:sp>
      <p:sp>
        <p:nvSpPr>
          <p:cNvPr id="4" name="Date Placeholder 3"/>
          <p:cNvSpPr>
            <a:spLocks noGrp="1"/>
          </p:cNvSpPr>
          <p:nvPr>
            <p:ph type="dt" sz="half" idx="10"/>
          </p:nvPr>
        </p:nvSpPr>
        <p:spPr/>
        <p:txBody>
          <a:bodyPr/>
          <a:lstStyle>
            <a:lvl1pPr rtl="0">
              <a:defRPr/>
            </a:lvl1pPr>
          </a:lstStyle>
          <a:p>
            <a:fld id="{CF0B024A-9348-8F4E-84E6-1AC861A3D50B}" type="datetime1">
              <a:rPr lang="af-ZA" smtClean="0"/>
              <a:pPr/>
              <a:t>2024-12-09</a:t>
            </a:fld>
            <a:endParaRPr lang="af-ZA"/>
          </a:p>
        </p:txBody>
      </p:sp>
      <p:sp>
        <p:nvSpPr>
          <p:cNvPr id="6" name="Slide Number Placeholder 5"/>
          <p:cNvSpPr>
            <a:spLocks noGrp="1"/>
          </p:cNvSpPr>
          <p:nvPr>
            <p:ph type="sldNum" sz="quarter" idx="12"/>
          </p:nvPr>
        </p:nvSpPr>
        <p:spPr/>
        <p:txBody>
          <a:bodyPr/>
          <a:lstStyle>
            <a:lvl1pPr rtl="0">
              <a:defRPr/>
            </a:lvl1pPr>
          </a:lstStyle>
          <a:p>
            <a:fld id="{3065C9E5-8AC3-DF4B-BA99-CB03B9370A98}" type="slidenum">
              <a:rPr lang="af-ZA" smtClean="0"/>
              <a:pPr/>
              <a:t>‹#›</a:t>
            </a:fld>
            <a:endParaRPr lang="af-ZA"/>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pic>
        <p:nvPicPr>
          <p:cNvPr id="10" name="Kuva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955792" y="0"/>
            <a:ext cx="3188208" cy="4785360"/>
          </a:xfrm>
          <a:prstGeom prst="rect">
            <a:avLst/>
          </a:prstGeom>
        </p:spPr>
      </p:pic>
    </p:spTree>
    <p:extLst>
      <p:ext uri="{BB962C8B-B14F-4D97-AF65-F5344CB8AC3E}">
        <p14:creationId xmlns:p14="http://schemas.microsoft.com/office/powerpoint/2010/main" val="2017892715"/>
      </p:ext>
    </p:extLst>
  </p:cSld>
  <p:clrMapOvr>
    <a:masterClrMapping/>
  </p:clrMapOvr>
  <p:extLst>
    <p:ext uri="{DCECCB84-F9BA-43D5-87BE-67443E8EF086}">
      <p15:sldGuideLst xmlns:p15="http://schemas.microsoft.com/office/powerpoint/2012/main">
        <p15:guide id="1" orient="horz" pos="3748">
          <p15:clr>
            <a:srgbClr val="FBAE40"/>
          </p15:clr>
        </p15:guide>
        <p15:guide id="2" pos="385">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tsikko+sisältö 4">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E98323-8A25-C253-27EB-39E2DFDA1217}"/>
              </a:ext>
            </a:extLst>
          </p:cNvPr>
          <p:cNvGraphicFramePr>
            <a:graphicFrameLocks noChangeAspect="1"/>
          </p:cNvGraphicFramePr>
          <p:nvPr userDrawn="1">
            <p:custDataLst>
              <p:tags r:id="rId1"/>
            </p:custDataLst>
            <p:extLst>
              <p:ext uri="{D42A27DB-BD31-4B8C-83A1-F6EECF244321}">
                <p14:modId xmlns:p14="http://schemas.microsoft.com/office/powerpoint/2010/main" val="26612333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0E98323-8A25-C253-27EB-39E2DFDA121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ext Placeholder 2">
            <a:extLst>
              <a:ext uri="{FF2B5EF4-FFF2-40B4-BE49-F238E27FC236}">
                <a16:creationId xmlns:a16="http://schemas.microsoft.com/office/drawing/2014/main" id="{76DD23B0-AE12-DBB4-9E35-F6B1AE499867}"/>
              </a:ext>
            </a:extLst>
          </p:cNvPr>
          <p:cNvSpPr>
            <a:spLocks noGrp="1"/>
          </p:cNvSpPr>
          <p:nvPr>
            <p:ph type="body" sz="quarter" idx="17"/>
          </p:nvPr>
        </p:nvSpPr>
        <p:spPr>
          <a:xfrm>
            <a:off x="5975747" y="845100"/>
            <a:ext cx="2808681" cy="216000"/>
          </a:xfrm>
          <a:prstGeom prst="rect">
            <a:avLst/>
          </a:prstGeom>
        </p:spPr>
        <p:txBody>
          <a:bodyPr wrap="square" anchor="b">
            <a:noAutofit/>
          </a:bodyPr>
          <a:lstStyle>
            <a:lvl1pPr marL="0" indent="0" rtl="0">
              <a:buNone/>
              <a:defRPr b="1" i="0" cap="all" baseline="0">
                <a:solidFill>
                  <a:schemeClr val="accent1"/>
                </a:solidFill>
                <a:latin typeface="Arial Nova" panose="020B0504020202020204" pitchFamily="34" charset="0"/>
              </a:defRPr>
            </a:lvl1pPr>
          </a:lstStyle>
          <a:p>
            <a:pPr lvl="0"/>
            <a:endParaRPr lang="af-ZA"/>
          </a:p>
        </p:txBody>
      </p:sp>
      <p:sp>
        <p:nvSpPr>
          <p:cNvPr id="7" name="Title 1">
            <a:extLst>
              <a:ext uri="{FF2B5EF4-FFF2-40B4-BE49-F238E27FC236}">
                <a16:creationId xmlns:a16="http://schemas.microsoft.com/office/drawing/2014/main" id="{B71A24D8-E6A7-0246-4C67-38236DD797B6}"/>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09046346-2EF0-3D3C-F935-BE12522FC1FC}"/>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3C362734-7C01-2B7C-7199-559268159F1D}"/>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cxnSp>
        <p:nvCxnSpPr>
          <p:cNvPr id="14" name="Straight Connector 13">
            <a:extLst>
              <a:ext uri="{FF2B5EF4-FFF2-40B4-BE49-F238E27FC236}">
                <a16:creationId xmlns:a16="http://schemas.microsoft.com/office/drawing/2014/main" id="{497C1CED-253F-92B4-9DD5-0031980A71BC}"/>
              </a:ext>
            </a:extLst>
          </p:cNvPr>
          <p:cNvCxnSpPr>
            <a:cxnSpLocks/>
          </p:cNvCxnSpPr>
          <p:nvPr userDrawn="1"/>
        </p:nvCxnSpPr>
        <p:spPr>
          <a:xfrm flipV="1">
            <a:off x="5975745" y="1061100"/>
            <a:ext cx="280868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94F76256-9441-83BF-AA4C-C23EB2F3BEDC}"/>
              </a:ext>
            </a:extLst>
          </p:cNvPr>
          <p:cNvSpPr>
            <a:spLocks noGrp="1"/>
          </p:cNvSpPr>
          <p:nvPr>
            <p:ph type="body" sz="quarter" idx="18"/>
          </p:nvPr>
        </p:nvSpPr>
        <p:spPr>
          <a:xfrm>
            <a:off x="5975747" y="1060154"/>
            <a:ext cx="2808684" cy="3726158"/>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5035857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tsikko+alaotsikko+teksti dumm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9F96-6D25-ABCB-2CFE-9A86F8F74330}"/>
              </a:ext>
            </a:extLst>
          </p:cNvPr>
          <p:cNvGraphicFramePr>
            <a:graphicFrameLocks noChangeAspect="1"/>
          </p:cNvGraphicFramePr>
          <p:nvPr userDrawn="1">
            <p:custDataLst>
              <p:tags r:id="rId1"/>
            </p:custDataLst>
            <p:extLst>
              <p:ext uri="{D42A27DB-BD31-4B8C-83A1-F6EECF244321}">
                <p14:modId xmlns:p14="http://schemas.microsoft.com/office/powerpoint/2010/main" val="26697835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17F79F96-6D25-ABCB-2CFE-9A86F8F7433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BF3E4873-A3FE-5859-6A6E-B75D540D9B9E}"/>
              </a:ext>
            </a:extLst>
          </p:cNvPr>
          <p:cNvSpPr>
            <a:spLocks noGrp="1"/>
          </p:cNvSpPr>
          <p:nvPr>
            <p:ph type="body" sz="quarter" idx="17"/>
          </p:nvPr>
        </p:nvSpPr>
        <p:spPr>
          <a:xfrm>
            <a:off x="359100" y="844153"/>
            <a:ext cx="2809154" cy="216000"/>
          </a:xfrm>
          <a:prstGeom prst="rect">
            <a:avLst/>
          </a:prstGeom>
        </p:spPr>
        <p:txBody>
          <a:bodyPr wrap="square" anchor="b">
            <a:noAutofit/>
          </a:bodyPr>
          <a:lstStyle>
            <a:lvl1pPr marL="0" indent="0" rtl="0">
              <a:buNone/>
              <a:defRPr b="1" i="0" u="none" cap="all" baseline="0">
                <a:solidFill>
                  <a:schemeClr val="accent1"/>
                </a:solidFill>
                <a:latin typeface="Arial Nova" panose="020B0504020202020204" pitchFamily="34" charset="0"/>
              </a:defRPr>
            </a:lvl1pPr>
          </a:lstStyle>
          <a:p>
            <a:pPr lvl="0"/>
            <a:endParaRPr lang="af-ZA"/>
          </a:p>
        </p:txBody>
      </p:sp>
      <p:sp>
        <p:nvSpPr>
          <p:cNvPr id="7" name="Title 1">
            <a:extLst>
              <a:ext uri="{FF2B5EF4-FFF2-40B4-BE49-F238E27FC236}">
                <a16:creationId xmlns:a16="http://schemas.microsoft.com/office/drawing/2014/main" id="{151F0D4B-A93B-8C76-8AF5-6A0295EA50FA}"/>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Lisää otsikko</a:t>
            </a:r>
          </a:p>
        </p:txBody>
      </p:sp>
      <p:sp>
        <p:nvSpPr>
          <p:cNvPr id="9" name="Footer Placeholder 3">
            <a:extLst>
              <a:ext uri="{FF2B5EF4-FFF2-40B4-BE49-F238E27FC236}">
                <a16:creationId xmlns:a16="http://schemas.microsoft.com/office/drawing/2014/main" id="{0C176388-DE66-C57A-44EE-B515ABC23DE6}"/>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9B90BCF1-4B02-7CA6-4A79-A6A5A8FF76A5}"/>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
        <p:nvSpPr>
          <p:cNvPr id="3" name="Text Placeholder 2">
            <a:extLst>
              <a:ext uri="{FF2B5EF4-FFF2-40B4-BE49-F238E27FC236}">
                <a16:creationId xmlns:a16="http://schemas.microsoft.com/office/drawing/2014/main" id="{ACFA28FB-47BC-2840-1681-FA4375FE310B}"/>
              </a:ext>
            </a:extLst>
          </p:cNvPr>
          <p:cNvSpPr>
            <a:spLocks noGrp="1"/>
          </p:cNvSpPr>
          <p:nvPr>
            <p:ph type="body" sz="quarter" idx="18"/>
          </p:nvPr>
        </p:nvSpPr>
        <p:spPr>
          <a:xfrm>
            <a:off x="359568" y="1060153"/>
            <a:ext cx="2808685" cy="3726160"/>
          </a:xfrm>
          <a:prstGeom prst="rect">
            <a:avLst/>
          </a:prstGeom>
        </p:spPr>
        <p:txBody>
          <a:bodyPr wrap="square">
            <a:noAutofit/>
          </a:bodyPr>
          <a:lstStyle>
            <a:lvl1pPr rtl="0">
              <a:defRPr/>
            </a:lvl1pPr>
            <a:lvl2pPr rtl="0">
              <a:defRPr/>
            </a:lvl2pPr>
          </a:lstStyle>
          <a:p>
            <a:pPr lvl="0"/>
            <a:r>
              <a:rPr lang="af-ZA"/>
              <a:t>Click to edit Master text styles</a:t>
            </a:r>
          </a:p>
          <a:p>
            <a:pPr lvl="1"/>
            <a:r>
              <a:rPr lang="af-ZA"/>
              <a:t>Second level</a:t>
            </a:r>
          </a:p>
        </p:txBody>
      </p:sp>
    </p:spTree>
    <p:extLst>
      <p:ext uri="{BB962C8B-B14F-4D97-AF65-F5344CB8AC3E}">
        <p14:creationId xmlns:p14="http://schemas.microsoft.com/office/powerpoint/2010/main" val="33113855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Lopetusdi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F9D3DE-D157-EBAC-DAAE-343101521988}"/>
              </a:ext>
            </a:extLst>
          </p:cNvPr>
          <p:cNvGraphicFramePr>
            <a:graphicFrameLocks noChangeAspect="1"/>
          </p:cNvGraphicFramePr>
          <p:nvPr userDrawn="1">
            <p:custDataLst>
              <p:tags r:id="rId1"/>
            </p:custDataLst>
            <p:extLst>
              <p:ext uri="{D42A27DB-BD31-4B8C-83A1-F6EECF244321}">
                <p14:modId xmlns:p14="http://schemas.microsoft.com/office/powerpoint/2010/main" val="122238907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F9D3DE-D157-EBAC-DAAE-34310152198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F6D00AA3-F995-012F-A3F1-A27AC9AB143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22"/>
            <a:ext cx="9144000" cy="5142857"/>
          </a:xfrm>
          <a:prstGeom prst="rect">
            <a:avLst/>
          </a:prstGeom>
        </p:spPr>
      </p:pic>
      <p:sp>
        <p:nvSpPr>
          <p:cNvPr id="2" name="Otsikko 1">
            <a:extLst>
              <a:ext uri="{FF2B5EF4-FFF2-40B4-BE49-F238E27FC236}">
                <a16:creationId xmlns:a16="http://schemas.microsoft.com/office/drawing/2014/main" id="{0BC7EEB3-7DAD-184B-F9EC-5174D22696D6}"/>
              </a:ext>
            </a:extLst>
          </p:cNvPr>
          <p:cNvSpPr>
            <a:spLocks noGrp="1"/>
          </p:cNvSpPr>
          <p:nvPr>
            <p:ph type="ctrTitle"/>
          </p:nvPr>
        </p:nvSpPr>
        <p:spPr>
          <a:xfrm>
            <a:off x="1149626" y="1921564"/>
            <a:ext cx="6848061" cy="834887"/>
          </a:xfrm>
        </p:spPr>
        <p:txBody>
          <a:bodyPr anchor="ctr" anchorCtr="0"/>
          <a:lstStyle>
            <a:lvl1pPr algn="ctr" rtl="0">
              <a:lnSpc>
                <a:spcPts val="3000"/>
              </a:lnSpc>
              <a:defRPr sz="3000"/>
            </a:lvl1pPr>
          </a:lstStyle>
          <a:p>
            <a:endParaRPr lang="af-ZA"/>
          </a:p>
        </p:txBody>
      </p:sp>
      <p:pic>
        <p:nvPicPr>
          <p:cNvPr id="7" name="Picture 4" descr="Logo&#10;&#10;Description automatically generated">
            <a:extLst>
              <a:ext uri="{FF2B5EF4-FFF2-40B4-BE49-F238E27FC236}">
                <a16:creationId xmlns:a16="http://schemas.microsoft.com/office/drawing/2014/main" id="{251C7349-0BAA-36EF-9EC3-F615CA236B6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76765" y="3649861"/>
            <a:ext cx="995721" cy="534514"/>
          </a:xfrm>
          <a:prstGeom prst="rect">
            <a:avLst/>
          </a:prstGeom>
        </p:spPr>
      </p:pic>
    </p:spTree>
    <p:extLst>
      <p:ext uri="{BB962C8B-B14F-4D97-AF65-F5344CB8AC3E}">
        <p14:creationId xmlns:p14="http://schemas.microsoft.com/office/powerpoint/2010/main" val="26665256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 Otsikko">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3481EF92-71F4-4D9C-9196-CF2D732E513D}"/>
              </a:ext>
            </a:extLst>
          </p:cNvPr>
          <p:cNvGraphicFramePr>
            <a:graphicFrameLocks noChangeAspect="1"/>
          </p:cNvGraphicFramePr>
          <p:nvPr userDrawn="1">
            <p:custDataLst>
              <p:tags r:id="rId1"/>
            </p:custDataLst>
            <p:extLst>
              <p:ext uri="{D42A27DB-BD31-4B8C-83A1-F6EECF244321}">
                <p14:modId xmlns:p14="http://schemas.microsoft.com/office/powerpoint/2010/main" val="12060086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76" imgH="275" progId="TCLayout.ActiveDocument.1">
                  <p:embed/>
                </p:oleObj>
              </mc:Choice>
              <mc:Fallback>
                <p:oleObj name="think-cell Slide" r:id="rId4" imgW="276" imgH="275" progId="TCLayout.ActiveDocument.1">
                  <p:embed/>
                  <p:pic>
                    <p:nvPicPr>
                      <p:cNvPr id="18" name="Object 17" hidden="1">
                        <a:extLst>
                          <a:ext uri="{FF2B5EF4-FFF2-40B4-BE49-F238E27FC236}">
                            <a16:creationId xmlns:a16="http://schemas.microsoft.com/office/drawing/2014/main" id="{3481EF92-71F4-4D9C-9196-CF2D732E513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C0F9256-22DD-4333-AFF8-8DEF9B3E0BED}"/>
              </a:ext>
            </a:extLst>
          </p:cNvPr>
          <p:cNvSpPr/>
          <p:nvPr userDrawn="1">
            <p:custDataLst>
              <p:tags r:id="rId2"/>
            </p:custDataLst>
          </p:nvPr>
        </p:nvSpPr>
        <p:spPr>
          <a:xfrm>
            <a:off x="0" y="0"/>
            <a:ext cx="119063" cy="1190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af-ZA" sz="2100" b="1" i="0" baseline="0">
              <a:latin typeface="Rockwell" panose="02060603020205020403" pitchFamily="18" charset="0"/>
              <a:ea typeface="+mj-ea"/>
              <a:cs typeface="+mj-cs"/>
              <a:sym typeface="Rockwell" panose="02060603020205020403" pitchFamily="18" charset="0"/>
            </a:endParaRPr>
          </a:p>
        </p:txBody>
      </p:sp>
      <p:sp>
        <p:nvSpPr>
          <p:cNvPr id="3" name="Title 2">
            <a:extLst>
              <a:ext uri="{FF2B5EF4-FFF2-40B4-BE49-F238E27FC236}">
                <a16:creationId xmlns:a16="http://schemas.microsoft.com/office/drawing/2014/main" id="{4FDCC7D4-B298-4602-9D9E-BB9A2FC606A1}"/>
              </a:ext>
            </a:extLst>
          </p:cNvPr>
          <p:cNvSpPr>
            <a:spLocks noGrp="1"/>
          </p:cNvSpPr>
          <p:nvPr>
            <p:ph type="title" hasCustomPrompt="1"/>
          </p:nvPr>
        </p:nvSpPr>
        <p:spPr>
          <a:xfrm>
            <a:off x="305989" y="249493"/>
            <a:ext cx="8532020" cy="594661"/>
          </a:xfrm>
        </p:spPr>
        <p:txBody>
          <a:bodyPr vert="horz" lIns="91440" tIns="45720" rIns="91440" bIns="45720" rtlCol="0" anchor="ctr" anchorCtr="0">
            <a:noAutofit/>
          </a:bodyPr>
          <a:lstStyle>
            <a:lvl1pPr rtl="0">
              <a:defRPr lang="fi-FI" dirty="0"/>
            </a:lvl1pPr>
          </a:lstStyle>
          <a:p>
            <a:pPr lvl="0"/>
            <a:r>
              <a:rPr lang="af-ZA"/>
              <a:t>Lisää otsikko</a:t>
            </a:r>
          </a:p>
        </p:txBody>
      </p:sp>
    </p:spTree>
    <p:extLst>
      <p:ext uri="{BB962C8B-B14F-4D97-AF65-F5344CB8AC3E}">
        <p14:creationId xmlns:p14="http://schemas.microsoft.com/office/powerpoint/2010/main" val="3470758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_Pelkkä otsikk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E18252-4192-D3A7-61AE-F081A4E7EA42}"/>
              </a:ext>
            </a:extLst>
          </p:cNvPr>
          <p:cNvGraphicFramePr>
            <a:graphicFrameLocks noChangeAspect="1"/>
          </p:cNvGraphicFramePr>
          <p:nvPr userDrawn="1">
            <p:custDataLst>
              <p:tags r:id="rId1"/>
            </p:custDataLst>
            <p:extLst>
              <p:ext uri="{D42A27DB-BD31-4B8C-83A1-F6EECF244321}">
                <p14:modId xmlns:p14="http://schemas.microsoft.com/office/powerpoint/2010/main" val="646913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0E18252-4192-D3A7-61AE-F081A4E7EA4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122DEA15-1457-EF4E-6FF7-4F46D7D0DD41}"/>
              </a:ext>
            </a:extLst>
          </p:cNvPr>
          <p:cNvSpPr>
            <a:spLocks noGrp="1"/>
          </p:cNvSpPr>
          <p:nvPr>
            <p:ph type="title" hasCustomPrompt="1"/>
          </p:nvPr>
        </p:nvSpPr>
        <p:spPr>
          <a:xfrm>
            <a:off x="359568" y="249493"/>
            <a:ext cx="8424862" cy="594662"/>
          </a:xfrm>
        </p:spPr>
        <p:txBody>
          <a:bodyPr vert="horz" wrap="square">
            <a:noAutofit/>
          </a:bodyPr>
          <a:lstStyle>
            <a:lvl1pPr rtl="0">
              <a:defRPr/>
            </a:lvl1pPr>
          </a:lstStyle>
          <a:p>
            <a:r>
              <a:rPr lang="af-ZA" noProof="0"/>
              <a:t>Ota yhteyttä</a:t>
            </a:r>
          </a:p>
        </p:txBody>
      </p:sp>
      <p:sp>
        <p:nvSpPr>
          <p:cNvPr id="8" name="Date Placeholder 2">
            <a:extLst>
              <a:ext uri="{FF2B5EF4-FFF2-40B4-BE49-F238E27FC236}">
                <a16:creationId xmlns:a16="http://schemas.microsoft.com/office/drawing/2014/main" id="{D0D48DB8-1A5F-F761-48F4-99512B34C47A}"/>
              </a:ext>
            </a:extLst>
          </p:cNvPr>
          <p:cNvSpPr>
            <a:spLocks noGrp="1"/>
          </p:cNvSpPr>
          <p:nvPr>
            <p:ph type="dt" sz="half" idx="10"/>
          </p:nvPr>
        </p:nvSpPr>
        <p:spPr>
          <a:xfrm>
            <a:off x="7610236" y="4883762"/>
            <a:ext cx="972741" cy="164194"/>
          </a:xfrm>
          <a:prstGeom prst="rect">
            <a:avLst/>
          </a:prstGeom>
        </p:spPr>
        <p:txBody>
          <a:bodyPr wrap="square">
            <a:noAutofit/>
          </a:bodyPr>
          <a:lstStyle>
            <a:lvl1pPr algn="ctr" rtl="0">
              <a:defRPr sz="675"/>
            </a:lvl1pPr>
          </a:lstStyle>
          <a:p>
            <a:pPr>
              <a:defRPr/>
            </a:pPr>
            <a:endParaRPr lang="af-ZA">
              <a:solidFill>
                <a:srgbClr val="000000"/>
              </a:solidFill>
            </a:endParaRPr>
          </a:p>
        </p:txBody>
      </p:sp>
      <p:sp>
        <p:nvSpPr>
          <p:cNvPr id="9" name="Footer Placeholder 3">
            <a:extLst>
              <a:ext uri="{FF2B5EF4-FFF2-40B4-BE49-F238E27FC236}">
                <a16:creationId xmlns:a16="http://schemas.microsoft.com/office/drawing/2014/main" id="{C40CA5EC-4F3F-86E4-9FDA-9067F05533A7}"/>
              </a:ext>
            </a:extLst>
          </p:cNvPr>
          <p:cNvSpPr>
            <a:spLocks noGrp="1"/>
          </p:cNvSpPr>
          <p:nvPr>
            <p:ph type="ftr" sz="quarter" idx="11"/>
          </p:nvPr>
        </p:nvSpPr>
        <p:spPr>
          <a:xfrm>
            <a:off x="1331640" y="4884300"/>
            <a:ext cx="6264548" cy="163116"/>
          </a:xfrm>
          <a:prstGeom prst="rect">
            <a:avLst/>
          </a:prstGeom>
        </p:spPr>
        <p:txBody>
          <a:bodyPr wrap="square">
            <a:noAutofit/>
          </a:bodyPr>
          <a:lstStyle>
            <a:lvl1pPr rtl="0">
              <a:defRPr sz="675"/>
            </a:lvl1pPr>
          </a:lstStyle>
          <a:p>
            <a:pPr>
              <a:defRPr/>
            </a:pPr>
            <a:endParaRPr lang="af-ZA">
              <a:solidFill>
                <a:srgbClr val="000000"/>
              </a:solidFill>
            </a:endParaRPr>
          </a:p>
        </p:txBody>
      </p:sp>
      <p:sp>
        <p:nvSpPr>
          <p:cNvPr id="10" name="Slide Number Placeholder 4">
            <a:extLst>
              <a:ext uri="{FF2B5EF4-FFF2-40B4-BE49-F238E27FC236}">
                <a16:creationId xmlns:a16="http://schemas.microsoft.com/office/drawing/2014/main" id="{6BD7DA59-E7AD-347F-F673-3EA856DC7D1F}"/>
              </a:ext>
            </a:extLst>
          </p:cNvPr>
          <p:cNvSpPr>
            <a:spLocks noGrp="1"/>
          </p:cNvSpPr>
          <p:nvPr>
            <p:ph type="sldNum" sz="quarter" idx="12"/>
          </p:nvPr>
        </p:nvSpPr>
        <p:spPr>
          <a:xfrm>
            <a:off x="8597026" y="4883762"/>
            <a:ext cx="511478" cy="164194"/>
          </a:xfrm>
          <a:prstGeom prst="rect">
            <a:avLst/>
          </a:prstGeom>
        </p:spPr>
        <p:txBody>
          <a:bodyPr wrap="square">
            <a:noAutofit/>
          </a:bodyPr>
          <a:lstStyle>
            <a:lvl1pPr rtl="0">
              <a:defRPr sz="750">
                <a:solidFill>
                  <a:schemeClr val="tx1"/>
                </a:solidFill>
              </a:defRPr>
            </a:lvl1pPr>
          </a:lstStyle>
          <a:p>
            <a:pPr>
              <a:defRPr/>
            </a:pPr>
            <a:fld id="{CE9217F8-2013-4D97-8E96-94DD82EC3651}" type="slidenum">
              <a:rPr lang="af-ZA" smtClean="0">
                <a:solidFill>
                  <a:srgbClr val="000000"/>
                </a:solidFill>
              </a:rPr>
              <a:pPr>
                <a:defRPr/>
              </a:pPr>
              <a:t>‹#›</a:t>
            </a:fld>
            <a:endParaRPr lang="af-ZA">
              <a:solidFill>
                <a:srgbClr val="000000"/>
              </a:solidFill>
            </a:endParaRPr>
          </a:p>
        </p:txBody>
      </p:sp>
      <p:sp>
        <p:nvSpPr>
          <p:cNvPr id="5" name="Picture Placeholder 4">
            <a:extLst>
              <a:ext uri="{FF2B5EF4-FFF2-40B4-BE49-F238E27FC236}">
                <a16:creationId xmlns:a16="http://schemas.microsoft.com/office/drawing/2014/main" id="{FD81B063-708C-DB4F-6F9A-20A2A64FF521}"/>
              </a:ext>
            </a:extLst>
          </p:cNvPr>
          <p:cNvSpPr>
            <a:spLocks noGrp="1"/>
          </p:cNvSpPr>
          <p:nvPr>
            <p:ph type="pic" sz="quarter" idx="13"/>
          </p:nvPr>
        </p:nvSpPr>
        <p:spPr>
          <a:xfrm>
            <a:off x="553740" y="1686975"/>
            <a:ext cx="817861" cy="817861"/>
          </a:xfrm>
          <a:prstGeom prst="ellipse">
            <a:avLst/>
          </a:prstGeom>
        </p:spPr>
        <p:txBody>
          <a:bodyPr>
            <a:normAutofit/>
          </a:bodyPr>
          <a:lstStyle>
            <a:lvl1pPr>
              <a:defRPr sz="675"/>
            </a:lvl1pPr>
          </a:lstStyle>
          <a:p>
            <a:endParaRPr lang="fi-FI"/>
          </a:p>
        </p:txBody>
      </p:sp>
      <p:sp>
        <p:nvSpPr>
          <p:cNvPr id="11" name="Picture Placeholder 4">
            <a:extLst>
              <a:ext uri="{FF2B5EF4-FFF2-40B4-BE49-F238E27FC236}">
                <a16:creationId xmlns:a16="http://schemas.microsoft.com/office/drawing/2014/main" id="{50857D4C-D30E-277A-ECB2-C91A93C80A1B}"/>
              </a:ext>
            </a:extLst>
          </p:cNvPr>
          <p:cNvSpPr>
            <a:spLocks noGrp="1"/>
          </p:cNvSpPr>
          <p:nvPr>
            <p:ph type="pic" sz="quarter" idx="14"/>
          </p:nvPr>
        </p:nvSpPr>
        <p:spPr>
          <a:xfrm>
            <a:off x="3383806" y="1686975"/>
            <a:ext cx="817861" cy="817861"/>
          </a:xfrm>
          <a:prstGeom prst="ellipse">
            <a:avLst/>
          </a:prstGeom>
        </p:spPr>
        <p:txBody>
          <a:bodyPr>
            <a:normAutofit/>
          </a:bodyPr>
          <a:lstStyle>
            <a:lvl1pPr>
              <a:defRPr sz="675"/>
            </a:lvl1pPr>
          </a:lstStyle>
          <a:p>
            <a:endParaRPr lang="fi-FI"/>
          </a:p>
        </p:txBody>
      </p:sp>
      <p:sp>
        <p:nvSpPr>
          <p:cNvPr id="12" name="Picture Placeholder 4">
            <a:extLst>
              <a:ext uri="{FF2B5EF4-FFF2-40B4-BE49-F238E27FC236}">
                <a16:creationId xmlns:a16="http://schemas.microsoft.com/office/drawing/2014/main" id="{D60D0D45-D1E0-319C-E561-5E3D3710B8E1}"/>
              </a:ext>
            </a:extLst>
          </p:cNvPr>
          <p:cNvSpPr>
            <a:spLocks noGrp="1"/>
          </p:cNvSpPr>
          <p:nvPr>
            <p:ph type="pic" sz="quarter" idx="15"/>
          </p:nvPr>
        </p:nvSpPr>
        <p:spPr>
          <a:xfrm>
            <a:off x="6213873" y="1686975"/>
            <a:ext cx="817861" cy="817861"/>
          </a:xfrm>
          <a:prstGeom prst="ellipse">
            <a:avLst/>
          </a:prstGeom>
        </p:spPr>
        <p:txBody>
          <a:bodyPr>
            <a:normAutofit/>
          </a:bodyPr>
          <a:lstStyle>
            <a:lvl1pPr>
              <a:defRPr sz="675"/>
            </a:lvl1pPr>
          </a:lstStyle>
          <a:p>
            <a:endParaRPr lang="fi-FI"/>
          </a:p>
        </p:txBody>
      </p:sp>
      <p:sp>
        <p:nvSpPr>
          <p:cNvPr id="28" name="Picture Placeholder 4">
            <a:extLst>
              <a:ext uri="{FF2B5EF4-FFF2-40B4-BE49-F238E27FC236}">
                <a16:creationId xmlns:a16="http://schemas.microsoft.com/office/drawing/2014/main" id="{EC7054EA-ACA9-5E2E-7B74-730E31C39F70}"/>
              </a:ext>
            </a:extLst>
          </p:cNvPr>
          <p:cNvSpPr>
            <a:spLocks noGrp="1"/>
          </p:cNvSpPr>
          <p:nvPr>
            <p:ph type="pic" sz="quarter" idx="16"/>
          </p:nvPr>
        </p:nvSpPr>
        <p:spPr>
          <a:xfrm>
            <a:off x="553740" y="3107060"/>
            <a:ext cx="817861" cy="817861"/>
          </a:xfrm>
          <a:prstGeom prst="ellipse">
            <a:avLst/>
          </a:prstGeom>
        </p:spPr>
        <p:txBody>
          <a:bodyPr>
            <a:normAutofit/>
          </a:bodyPr>
          <a:lstStyle>
            <a:lvl1pPr>
              <a:defRPr sz="675"/>
            </a:lvl1pPr>
          </a:lstStyle>
          <a:p>
            <a:endParaRPr lang="fi-FI"/>
          </a:p>
        </p:txBody>
      </p:sp>
      <p:sp>
        <p:nvSpPr>
          <p:cNvPr id="29" name="Picture Placeholder 4">
            <a:extLst>
              <a:ext uri="{FF2B5EF4-FFF2-40B4-BE49-F238E27FC236}">
                <a16:creationId xmlns:a16="http://schemas.microsoft.com/office/drawing/2014/main" id="{3042E94B-11B3-17AC-8CBF-697FD5D78937}"/>
              </a:ext>
            </a:extLst>
          </p:cNvPr>
          <p:cNvSpPr>
            <a:spLocks noGrp="1"/>
          </p:cNvSpPr>
          <p:nvPr>
            <p:ph type="pic" sz="quarter" idx="17"/>
          </p:nvPr>
        </p:nvSpPr>
        <p:spPr>
          <a:xfrm>
            <a:off x="3383806" y="3107060"/>
            <a:ext cx="817861" cy="817861"/>
          </a:xfrm>
          <a:prstGeom prst="ellipse">
            <a:avLst/>
          </a:prstGeom>
        </p:spPr>
        <p:txBody>
          <a:bodyPr>
            <a:normAutofit/>
          </a:bodyPr>
          <a:lstStyle>
            <a:lvl1pPr>
              <a:defRPr sz="675"/>
            </a:lvl1pPr>
          </a:lstStyle>
          <a:p>
            <a:endParaRPr lang="fi-FI"/>
          </a:p>
        </p:txBody>
      </p:sp>
      <p:sp>
        <p:nvSpPr>
          <p:cNvPr id="30" name="Picture Placeholder 4">
            <a:extLst>
              <a:ext uri="{FF2B5EF4-FFF2-40B4-BE49-F238E27FC236}">
                <a16:creationId xmlns:a16="http://schemas.microsoft.com/office/drawing/2014/main" id="{461C89F4-B723-DBC1-A8F5-46CE55A22C66}"/>
              </a:ext>
            </a:extLst>
          </p:cNvPr>
          <p:cNvSpPr>
            <a:spLocks noGrp="1"/>
          </p:cNvSpPr>
          <p:nvPr>
            <p:ph type="pic" sz="quarter" idx="18"/>
          </p:nvPr>
        </p:nvSpPr>
        <p:spPr>
          <a:xfrm>
            <a:off x="6213873" y="3107060"/>
            <a:ext cx="817861" cy="817861"/>
          </a:xfrm>
          <a:prstGeom prst="ellipse">
            <a:avLst/>
          </a:prstGeom>
        </p:spPr>
        <p:txBody>
          <a:bodyPr>
            <a:normAutofit/>
          </a:bodyPr>
          <a:lstStyle>
            <a:lvl1pPr>
              <a:defRPr sz="675"/>
            </a:lvl1pPr>
          </a:lstStyle>
          <a:p>
            <a:endParaRPr lang="fi-FI"/>
          </a:p>
        </p:txBody>
      </p:sp>
    </p:spTree>
    <p:extLst>
      <p:ext uri="{BB962C8B-B14F-4D97-AF65-F5344CB8AC3E}">
        <p14:creationId xmlns:p14="http://schemas.microsoft.com/office/powerpoint/2010/main" val="13472561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2_Otsikko ja sisältö">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33E6004-92C7-720D-8351-64BB3CF3A611}"/>
              </a:ext>
            </a:extLst>
          </p:cNvPr>
          <p:cNvGraphicFramePr>
            <a:graphicFrameLocks noChangeAspect="1"/>
          </p:cNvGraphicFramePr>
          <p:nvPr userDrawn="1">
            <p:custDataLst>
              <p:tags r:id="rId1"/>
            </p:custDataLst>
            <p:extLst>
              <p:ext uri="{D42A27DB-BD31-4B8C-83A1-F6EECF244321}">
                <p14:modId xmlns:p14="http://schemas.microsoft.com/office/powerpoint/2010/main" val="372138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033E6004-92C7-720D-8351-64BB3CF3A6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28651" y="397462"/>
            <a:ext cx="5164988" cy="746936"/>
          </a:xfrm>
        </p:spPr>
        <p:txBody>
          <a:bodyPr vert="horz"/>
          <a:lstStyle>
            <a:lvl1pPr rtl="0">
              <a:defRPr/>
            </a:lvl1pPr>
          </a:lstStyle>
          <a:p>
            <a:r>
              <a:rPr lang="af-ZA"/>
              <a:t>Muokkaa perustyyl. napsautt.</a:t>
            </a:r>
          </a:p>
        </p:txBody>
      </p:sp>
      <p:sp>
        <p:nvSpPr>
          <p:cNvPr id="3" name="Content Placeholder 2"/>
          <p:cNvSpPr>
            <a:spLocks noGrp="1"/>
          </p:cNvSpPr>
          <p:nvPr>
            <p:ph idx="1" hasCustomPrompt="1"/>
          </p:nvPr>
        </p:nvSpPr>
        <p:spPr>
          <a:xfrm>
            <a:off x="628650" y="1144398"/>
            <a:ext cx="5164988" cy="3335527"/>
          </a:xfrm>
        </p:spPr>
        <p:txBody>
          <a:bodyPr/>
          <a:lstStyle>
            <a:lvl1pPr rtl="0">
              <a:defRPr b="0"/>
            </a:lvl1pPr>
            <a:lvl2pPr rtl="0">
              <a:defRPr/>
            </a:lvl2pPr>
            <a:lvl3pPr rtl="0">
              <a:defRPr/>
            </a:lvl3pPr>
            <a:lvl4pPr rtl="0">
              <a:defRPr/>
            </a:lvl4pPr>
            <a:lvl5pPr rtl="0">
              <a:defRPr/>
            </a:lvl5p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5" name="Footer Placeholder 4"/>
          <p:cNvSpPr>
            <a:spLocks noGrp="1"/>
          </p:cNvSpPr>
          <p:nvPr>
            <p:ph type="ftr" sz="quarter" idx="11"/>
          </p:nvPr>
        </p:nvSpPr>
        <p:spPr/>
        <p:txBody>
          <a:bodyPr/>
          <a:lstStyle>
            <a:lvl1pPr rtl="0">
              <a:defRPr/>
            </a:lvl1pPr>
          </a:lstStyle>
          <a:p>
            <a:r>
              <a:rPr lang="af-ZA"/>
              <a:t>Työ- ja elinkeinoministeriö • www.tem.fi</a:t>
            </a:r>
          </a:p>
        </p:txBody>
      </p:sp>
      <p:sp>
        <p:nvSpPr>
          <p:cNvPr id="4" name="Date Placeholder 3"/>
          <p:cNvSpPr>
            <a:spLocks noGrp="1"/>
          </p:cNvSpPr>
          <p:nvPr>
            <p:ph type="dt" sz="half" idx="10"/>
          </p:nvPr>
        </p:nvSpPr>
        <p:spPr/>
        <p:txBody>
          <a:bodyPr/>
          <a:lstStyle>
            <a:lvl1pPr rtl="0">
              <a:defRPr/>
            </a:lvl1pPr>
          </a:lstStyle>
          <a:p>
            <a:fld id="{CF0B024A-9348-8F4E-84E6-1AC861A3D50B}" type="datetime1">
              <a:rPr lang="af-ZA" smtClean="0"/>
              <a:pPr/>
              <a:t>2024-12-09</a:t>
            </a:fld>
            <a:endParaRPr lang="af-ZA"/>
          </a:p>
        </p:txBody>
      </p:sp>
      <p:sp>
        <p:nvSpPr>
          <p:cNvPr id="6" name="Slide Number Placeholder 5"/>
          <p:cNvSpPr>
            <a:spLocks noGrp="1"/>
          </p:cNvSpPr>
          <p:nvPr>
            <p:ph type="sldNum" sz="quarter" idx="12"/>
          </p:nvPr>
        </p:nvSpPr>
        <p:spPr/>
        <p:txBody>
          <a:bodyPr/>
          <a:lstStyle>
            <a:lvl1pPr rtl="0">
              <a:defRPr/>
            </a:lvl1pPr>
          </a:lstStyle>
          <a:p>
            <a:fld id="{3065C9E5-8AC3-DF4B-BA99-CB03B9370A98}" type="slidenum">
              <a:rPr lang="af-ZA" smtClean="0"/>
              <a:pPr/>
              <a:t>‹#›</a:t>
            </a:fld>
            <a:endParaRPr lang="af-ZA"/>
          </a:p>
        </p:txBody>
      </p:sp>
      <p:pic>
        <p:nvPicPr>
          <p:cNvPr id="11" name="Picture 10">
            <a:extLs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26033" y="554930"/>
            <a:ext cx="288358" cy="432000"/>
          </a:xfrm>
          <a:prstGeom prst="rect">
            <a:avLst/>
          </a:prstGeom>
        </p:spPr>
      </p:pic>
      <p:pic>
        <p:nvPicPr>
          <p:cNvPr id="12" name="Kuva 11"/>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5955792" y="0"/>
            <a:ext cx="3188208" cy="4785360"/>
          </a:xfrm>
          <a:prstGeom prst="rect">
            <a:avLst/>
          </a:prstGeom>
        </p:spPr>
      </p:pic>
    </p:spTree>
    <p:extLst>
      <p:ext uri="{BB962C8B-B14F-4D97-AF65-F5344CB8AC3E}">
        <p14:creationId xmlns:p14="http://schemas.microsoft.com/office/powerpoint/2010/main" val="617497013"/>
      </p:ext>
    </p:extLst>
  </p:cSld>
  <p:clrMapOvr>
    <a:masterClrMapping/>
  </p:clrMapOvr>
  <p:extLst>
    <p:ext uri="{DCECCB84-F9BA-43D5-87BE-67443E8EF086}">
      <p15:sldGuideLst xmlns:p15="http://schemas.microsoft.com/office/powerpoint/2012/main">
        <p15:guide id="1" orient="horz" pos="3748">
          <p15:clr>
            <a:srgbClr val="FBAE40"/>
          </p15:clr>
        </p15:guide>
        <p15:guide id="2" pos="38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1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1.emf"/><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oleObject" Target="../embeddings/oleObject17.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oleObject" Target="../embeddings/oleObject29.bin"/><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tags" Target="../tags/tag30.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image" Target="../media/image11.png"/><Relationship Id="rId10" Type="http://schemas.openxmlformats.org/officeDocument/2006/relationships/slideLayout" Target="../slideLayouts/slideLayout36.xml"/><Relationship Id="rId19"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theme" Target="../theme/theme4.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image" Target="../media/image11.png"/><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image" Target="../media/image1.emf"/><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oleObject" Target="../embeddings/oleObject48.bin"/><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ags" Target="../tags/tag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theme" Target="../theme/theme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image" Target="../media/image11.png"/><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image" Target="../media/image1.emf"/><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oleObject" Target="../embeddings/oleObject69.bin"/><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tags" Target="../tags/tag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7AE9CE2-3E39-7412-3107-3DE634FACE7B}"/>
              </a:ext>
            </a:extLst>
          </p:cNvPr>
          <p:cNvGraphicFramePr>
            <a:graphicFrameLocks noChangeAspect="1"/>
          </p:cNvGraphicFramePr>
          <p:nvPr userDrawn="1">
            <p:custDataLst>
              <p:tags r:id="rId17"/>
            </p:custDataLst>
            <p:extLst>
              <p:ext uri="{D42A27DB-BD31-4B8C-83A1-F6EECF244321}">
                <p14:modId xmlns:p14="http://schemas.microsoft.com/office/powerpoint/2010/main" val="309232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5" progId="TCLayout.ActiveDocument.1">
                  <p:embed/>
                </p:oleObj>
              </mc:Choice>
              <mc:Fallback>
                <p:oleObj name="think-cell Slide" r:id="rId18" imgW="592" imgH="595" progId="TCLayout.ActiveDocument.1">
                  <p:embed/>
                  <p:pic>
                    <p:nvPicPr>
                      <p:cNvPr id="8" name="think-cell data - do not delete" hidden="1">
                        <a:extLst>
                          <a:ext uri="{FF2B5EF4-FFF2-40B4-BE49-F238E27FC236}">
                            <a16:creationId xmlns:a16="http://schemas.microsoft.com/office/drawing/2014/main" id="{C7AE9CE2-3E39-7412-3107-3DE634FACE7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 name="Rectangle 9">
            <a:extLst>
              <a:ext uri="{C183D7F6-B498-43B3-948B-1728B52AA6E4}">
                <adec:decorative xmlns:adec="http://schemas.microsoft.com/office/drawing/2017/decorative" val="1"/>
              </a:ext>
            </a:extLst>
          </p:cNvPr>
          <p:cNvSpPr/>
          <p:nvPr userDrawn="1"/>
        </p:nvSpPr>
        <p:spPr>
          <a:xfrm>
            <a:off x="0" y="4783500"/>
            <a:ext cx="9144000" cy="3600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af-ZA"/>
          </a:p>
        </p:txBody>
      </p:sp>
      <p:sp>
        <p:nvSpPr>
          <p:cNvPr id="2" name="Title Placeholder 1"/>
          <p:cNvSpPr>
            <a:spLocks noGrp="1"/>
          </p:cNvSpPr>
          <p:nvPr>
            <p:ph type="title"/>
          </p:nvPr>
        </p:nvSpPr>
        <p:spPr>
          <a:xfrm>
            <a:off x="628650" y="397462"/>
            <a:ext cx="7886700" cy="746936"/>
          </a:xfrm>
          <a:prstGeom prst="rect">
            <a:avLst/>
          </a:prstGeom>
        </p:spPr>
        <p:txBody>
          <a:bodyPr vert="horz" lIns="91440" tIns="45720" rIns="91440" bIns="45720" rtlCol="0" anchor="ctr">
            <a:normAutofit/>
          </a:bodyPr>
          <a:lstStyle/>
          <a:p>
            <a:r>
              <a:rPr lang="af-ZA"/>
              <a:t>Muokkaa perustyyl. napsautt.</a:t>
            </a:r>
          </a:p>
        </p:txBody>
      </p:sp>
      <p:sp>
        <p:nvSpPr>
          <p:cNvPr id="3" name="Text Placeholder 2"/>
          <p:cNvSpPr>
            <a:spLocks noGrp="1"/>
          </p:cNvSpPr>
          <p:nvPr>
            <p:ph type="body" idx="1"/>
          </p:nvPr>
        </p:nvSpPr>
        <p:spPr>
          <a:xfrm>
            <a:off x="628650" y="1144398"/>
            <a:ext cx="7886700" cy="3335527"/>
          </a:xfrm>
          <a:prstGeom prst="rect">
            <a:avLst/>
          </a:prstGeom>
        </p:spPr>
        <p:txBody>
          <a:bodyPr vert="horz" lIns="91440" tIns="45720" rIns="91440" bIns="45720" rtlCol="0">
            <a:normAutofit/>
          </a:body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5" name="Footer Placeholder 4"/>
          <p:cNvSpPr>
            <a:spLocks noGrp="1"/>
          </p:cNvSpPr>
          <p:nvPr>
            <p:ph type="ftr" sz="quarter" idx="3"/>
          </p:nvPr>
        </p:nvSpPr>
        <p:spPr>
          <a:xfrm>
            <a:off x="628650" y="4886212"/>
            <a:ext cx="3080611" cy="154577"/>
          </a:xfrm>
          <a:prstGeom prst="rect">
            <a:avLst/>
          </a:prstGeom>
        </p:spPr>
        <p:txBody>
          <a:bodyPr vert="horz" lIns="91440" tIns="45720" rIns="91440" bIns="45720" rtlCol="0" anchor="ctr"/>
          <a:lstStyle>
            <a:lvl1pPr algn="l" rtl="0">
              <a:defRPr sz="800" b="0">
                <a:solidFill>
                  <a:schemeClr val="bg2"/>
                </a:solidFill>
              </a:defRPr>
            </a:lvl1pPr>
          </a:lstStyle>
          <a:p>
            <a:r>
              <a:rPr lang="af-ZA"/>
              <a:t>Työ- ja elinkeinoministeriö • www.tem.fi</a:t>
            </a:r>
          </a:p>
        </p:txBody>
      </p:sp>
      <p:sp>
        <p:nvSpPr>
          <p:cNvPr id="4" name="Date Placeholder 3"/>
          <p:cNvSpPr>
            <a:spLocks noGrp="1"/>
          </p:cNvSpPr>
          <p:nvPr>
            <p:ph type="dt" sz="half" idx="2"/>
          </p:nvPr>
        </p:nvSpPr>
        <p:spPr>
          <a:xfrm>
            <a:off x="7271453" y="4886212"/>
            <a:ext cx="703447" cy="154577"/>
          </a:xfrm>
          <a:prstGeom prst="rect">
            <a:avLst/>
          </a:prstGeom>
        </p:spPr>
        <p:txBody>
          <a:bodyPr vert="horz" lIns="91440" tIns="45720" rIns="91440" bIns="45720" rtlCol="0" anchor="ctr"/>
          <a:lstStyle>
            <a:lvl1pPr algn="r" rtl="0">
              <a:defRPr sz="800">
                <a:solidFill>
                  <a:schemeClr val="bg2"/>
                </a:solidFill>
              </a:defRPr>
            </a:lvl1pPr>
          </a:lstStyle>
          <a:p>
            <a:fld id="{3F2DB349-D844-F140-BD48-943C54C28848}" type="datetime1">
              <a:rPr lang="af-ZA" smtClean="0"/>
              <a:pPr/>
              <a:t>2024-12-09</a:t>
            </a:fld>
            <a:endParaRPr lang="af-ZA"/>
          </a:p>
        </p:txBody>
      </p:sp>
      <p:sp>
        <p:nvSpPr>
          <p:cNvPr id="6" name="Slide Number Placeholder 5"/>
          <p:cNvSpPr>
            <a:spLocks noGrp="1"/>
          </p:cNvSpPr>
          <p:nvPr>
            <p:ph type="sldNum" sz="quarter" idx="4"/>
          </p:nvPr>
        </p:nvSpPr>
        <p:spPr>
          <a:xfrm>
            <a:off x="7976152" y="4886212"/>
            <a:ext cx="538239" cy="154577"/>
          </a:xfrm>
          <a:prstGeom prst="rect">
            <a:avLst/>
          </a:prstGeom>
        </p:spPr>
        <p:txBody>
          <a:bodyPr vert="horz" lIns="91440" tIns="45720" rIns="91440" bIns="45720" rtlCol="0" anchor="ctr"/>
          <a:lstStyle>
            <a:lvl1pPr algn="r" rtl="0">
              <a:defRPr sz="900" b="1">
                <a:solidFill>
                  <a:schemeClr val="bg2"/>
                </a:solidFill>
              </a:defRPr>
            </a:lvl1pPr>
          </a:lstStyle>
          <a:p>
            <a:fld id="{3065C9E5-8AC3-DF4B-BA99-CB03B9370A98}" type="slidenum">
              <a:rPr lang="af-ZA" smtClean="0"/>
              <a:pPr/>
              <a:t>‹#›</a:t>
            </a:fld>
            <a:endParaRPr lang="af-ZA"/>
          </a:p>
        </p:txBody>
      </p:sp>
    </p:spTree>
    <p:extLst>
      <p:ext uri="{BB962C8B-B14F-4D97-AF65-F5344CB8AC3E}">
        <p14:creationId xmlns:p14="http://schemas.microsoft.com/office/powerpoint/2010/main" val="1873662409"/>
      </p:ext>
    </p:extLst>
  </p:cSld>
  <p:clrMap bg1="lt1" tx1="dk1" bg2="lt2" tx2="dk2" accent1="accent1" accent2="accent2" accent3="accent3" accent4="accent4" accent5="accent5" accent6="accent6" hlink="hlink" folHlink="folHlink"/>
  <p:sldLayoutIdLst>
    <p:sldLayoutId id="2147483673" r:id="rId1"/>
    <p:sldLayoutId id="2147483805" r:id="rId2"/>
    <p:sldLayoutId id="2147483806" r:id="rId3"/>
    <p:sldLayoutId id="2147483808" r:id="rId4"/>
    <p:sldLayoutId id="2147483807" r:id="rId5"/>
    <p:sldLayoutId id="2147483810" r:id="rId6"/>
    <p:sldLayoutId id="2147483811" r:id="rId7"/>
    <p:sldLayoutId id="2147483812" r:id="rId8"/>
    <p:sldLayoutId id="2147483813" r:id="rId9"/>
    <p:sldLayoutId id="2147483814" r:id="rId10"/>
    <p:sldLayoutId id="2147483815" r:id="rId11"/>
    <p:sldLayoutId id="2147483809" r:id="rId12"/>
    <p:sldLayoutId id="2147483714" r:id="rId13"/>
    <p:sldLayoutId id="2147483783" r:id="rId14"/>
    <p:sldLayoutId id="2147483784" r:id="rId15"/>
  </p:sldLayoutIdLst>
  <p:hf hdr="0"/>
  <p:txStyles>
    <p:titleStyle>
      <a:lvl1pPr algn="l" defTabSz="685766"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171442" indent="-171442" algn="l" defTabSz="685766" rtl="0" eaLnBrk="1" latinLnBrk="0" hangingPunct="1">
        <a:lnSpc>
          <a:spcPct val="90000"/>
        </a:lnSpc>
        <a:spcBef>
          <a:spcPts val="750"/>
        </a:spcBef>
        <a:buFont typeface="Arial"/>
        <a:buChar char="•"/>
        <a:defRPr sz="1650" b="0" kern="1200">
          <a:solidFill>
            <a:schemeClr val="tx1"/>
          </a:solidFill>
          <a:latin typeface="+mn-lt"/>
          <a:ea typeface="+mn-ea"/>
          <a:cs typeface="+mn-cs"/>
        </a:defRPr>
      </a:lvl1pPr>
      <a:lvl2pPr marL="514325" indent="-171442" algn="l" defTabSz="685766" rtl="0" eaLnBrk="1" latinLnBrk="0" hangingPunct="1">
        <a:lnSpc>
          <a:spcPct val="90000"/>
        </a:lnSpc>
        <a:spcBef>
          <a:spcPts val="375"/>
        </a:spcBef>
        <a:buFont typeface="Arial"/>
        <a:buChar char="•"/>
        <a:defRPr sz="1350" kern="1200">
          <a:solidFill>
            <a:schemeClr val="tx1"/>
          </a:solidFill>
          <a:latin typeface="+mn-lt"/>
          <a:ea typeface="+mn-ea"/>
          <a:cs typeface="+mn-cs"/>
        </a:defRPr>
      </a:lvl2pPr>
      <a:lvl3pPr marL="857207" indent="-171442" algn="l" defTabSz="685766" rtl="0" eaLnBrk="1" latinLnBrk="0" hangingPunct="1">
        <a:lnSpc>
          <a:spcPct val="90000"/>
        </a:lnSpc>
        <a:spcBef>
          <a:spcPts val="375"/>
        </a:spcBef>
        <a:buFont typeface="Arial"/>
        <a:buChar char="•"/>
        <a:defRPr sz="1200" kern="1200">
          <a:solidFill>
            <a:srgbClr val="505050"/>
          </a:solidFill>
          <a:latin typeface="+mn-lt"/>
          <a:ea typeface="+mn-ea"/>
          <a:cs typeface="+mn-cs"/>
        </a:defRPr>
      </a:lvl3pPr>
      <a:lvl4pPr marL="1200090" indent="-171442" algn="l" defTabSz="685766" rtl="0" eaLnBrk="1" latinLnBrk="0" hangingPunct="1">
        <a:lnSpc>
          <a:spcPct val="90000"/>
        </a:lnSpc>
        <a:spcBef>
          <a:spcPts val="375"/>
        </a:spcBef>
        <a:buFont typeface="Arial"/>
        <a:buChar char="•"/>
        <a:defRPr sz="1200" kern="1200">
          <a:solidFill>
            <a:srgbClr val="505050"/>
          </a:solidFill>
          <a:latin typeface="+mn-lt"/>
          <a:ea typeface="+mn-ea"/>
          <a:cs typeface="+mn-cs"/>
        </a:defRPr>
      </a:lvl4pPr>
      <a:lvl5pPr marL="1542974" indent="-171442" algn="l" defTabSz="685766" rtl="0" eaLnBrk="1" latinLnBrk="0" hangingPunct="1">
        <a:lnSpc>
          <a:spcPct val="90000"/>
        </a:lnSpc>
        <a:spcBef>
          <a:spcPts val="375"/>
        </a:spcBef>
        <a:buFont typeface="Arial"/>
        <a:buChar char="•"/>
        <a:defRPr sz="1200" kern="1200">
          <a:solidFill>
            <a:srgbClr val="505050"/>
          </a:solidFill>
          <a:latin typeface="+mn-lt"/>
          <a:ea typeface="+mn-ea"/>
          <a:cs typeface="+mn-cs"/>
        </a:defRPr>
      </a:lvl5pPr>
      <a:lvl6pPr marL="1885856" indent="-171442" algn="l" defTabSz="685766"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2451D5C-548E-6E28-2EF3-D208E2F10C69}"/>
              </a:ext>
            </a:extLst>
          </p:cNvPr>
          <p:cNvGraphicFramePr>
            <a:graphicFrameLocks noChangeAspect="1"/>
          </p:cNvGraphicFramePr>
          <p:nvPr userDrawn="1">
            <p:custDataLst>
              <p:tags r:id="rId13"/>
            </p:custDataLst>
            <p:extLst>
              <p:ext uri="{D42A27DB-BD31-4B8C-83A1-F6EECF244321}">
                <p14:modId xmlns:p14="http://schemas.microsoft.com/office/powerpoint/2010/main" val="3504359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5" progId="TCLayout.ActiveDocument.1">
                  <p:embed/>
                </p:oleObj>
              </mc:Choice>
              <mc:Fallback>
                <p:oleObj name="think-cell Slide" r:id="rId14" imgW="592" imgH="595" progId="TCLayout.ActiveDocument.1">
                  <p:embed/>
                  <p:pic>
                    <p:nvPicPr>
                      <p:cNvPr id="8" name="think-cell data - do not delete" hidden="1">
                        <a:extLst>
                          <a:ext uri="{FF2B5EF4-FFF2-40B4-BE49-F238E27FC236}">
                            <a16:creationId xmlns:a16="http://schemas.microsoft.com/office/drawing/2014/main" id="{92451D5C-548E-6E28-2EF3-D208E2F10C6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Otsikon paikkamerkki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af-ZA"/>
              <a:t>Muokkaa perustyyl. napsautt.</a:t>
            </a:r>
          </a:p>
        </p:txBody>
      </p:sp>
      <p:sp>
        <p:nvSpPr>
          <p:cNvPr id="3" name="Tekstin paikkamerkki 2"/>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af-ZA"/>
              <a:t>Muokkaa tekstin perustyylejä</a:t>
            </a:r>
          </a:p>
          <a:p>
            <a:pPr lvl="1"/>
            <a:r>
              <a:rPr lang="af-ZA"/>
              <a:t>toinen taso</a:t>
            </a:r>
          </a:p>
          <a:p>
            <a:pPr lvl="2"/>
            <a:r>
              <a:rPr lang="af-ZA"/>
              <a:t>kolmas taso</a:t>
            </a:r>
          </a:p>
          <a:p>
            <a:pPr lvl="3"/>
            <a:r>
              <a:rPr lang="af-ZA"/>
              <a:t>neljäs taso</a:t>
            </a:r>
          </a:p>
          <a:p>
            <a:pPr lvl="4"/>
            <a:r>
              <a:rPr lang="af-ZA"/>
              <a:t>viides taso</a:t>
            </a:r>
          </a:p>
        </p:txBody>
      </p:sp>
      <p:sp>
        <p:nvSpPr>
          <p:cNvPr id="4" name="Päivämäärän paikkamerkki 3"/>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E65D78B3-2EFA-425A-AE02-B135B5EE2BC1}" type="datetimeFigureOut">
              <a:rPr lang="af-ZA" smtClean="0"/>
              <a:pPr/>
              <a:t>2024-12-09</a:t>
            </a:fld>
            <a:endParaRPr lang="af-ZA"/>
          </a:p>
        </p:txBody>
      </p:sp>
      <p:sp>
        <p:nvSpPr>
          <p:cNvPr id="5" name="Alatunnisteen paikkamerkki 4"/>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af-ZA"/>
          </a:p>
        </p:txBody>
      </p:sp>
      <p:sp>
        <p:nvSpPr>
          <p:cNvPr id="6" name="Dian numeron paikkamerkki 5"/>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3D549488-37D8-4B2C-9317-669728F3C63E}" type="slidenum">
              <a:rPr lang="af-ZA" smtClean="0"/>
              <a:pPr/>
              <a:t>‹#›</a:t>
            </a:fld>
            <a:endParaRPr lang="af-ZA"/>
          </a:p>
        </p:txBody>
      </p:sp>
    </p:spTree>
    <p:extLst>
      <p:ext uri="{BB962C8B-B14F-4D97-AF65-F5344CB8AC3E}">
        <p14:creationId xmlns:p14="http://schemas.microsoft.com/office/powerpoint/2010/main" val="1443993302"/>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0198108-E9A9-389F-1BF8-05E15D987C24}"/>
              </a:ext>
            </a:extLst>
          </p:cNvPr>
          <p:cNvGraphicFramePr>
            <a:graphicFrameLocks noChangeAspect="1"/>
          </p:cNvGraphicFramePr>
          <p:nvPr userDrawn="1">
            <p:custDataLst>
              <p:tags r:id="rId20"/>
            </p:custDataLst>
            <p:extLst>
              <p:ext uri="{D42A27DB-BD31-4B8C-83A1-F6EECF244321}">
                <p14:modId xmlns:p14="http://schemas.microsoft.com/office/powerpoint/2010/main" val="2337854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1" imgW="592" imgH="595" progId="TCLayout.ActiveDocument.1">
                  <p:embed/>
                </p:oleObj>
              </mc:Choice>
              <mc:Fallback>
                <p:oleObj name="think-cell Slide" r:id="rId21" imgW="592" imgH="595" progId="TCLayout.ActiveDocument.1">
                  <p:embed/>
                  <p:pic>
                    <p:nvPicPr>
                      <p:cNvPr id="8" name="Object 7" hidden="1">
                        <a:extLst>
                          <a:ext uri="{FF2B5EF4-FFF2-40B4-BE49-F238E27FC236}">
                            <a16:creationId xmlns:a16="http://schemas.microsoft.com/office/drawing/2014/main" id="{20198108-E9A9-389F-1BF8-05E15D987C24}"/>
                          </a:ext>
                        </a:extLst>
                      </p:cNvPr>
                      <p:cNvPicPr/>
                      <p:nvPr/>
                    </p:nvPicPr>
                    <p:blipFill>
                      <a:blip r:embed="rId22"/>
                      <a:stretch>
                        <a:fillRect/>
                      </a:stretch>
                    </p:blipFill>
                    <p:spPr>
                      <a:xfrm>
                        <a:off x="1191" y="1191"/>
                        <a:ext cx="1191" cy="1191"/>
                      </a:xfrm>
                      <a:prstGeom prst="rect">
                        <a:avLst/>
                      </a:prstGeom>
                    </p:spPr>
                  </p:pic>
                </p:oleObj>
              </mc:Fallback>
            </mc:AlternateContent>
          </a:graphicData>
        </a:graphic>
      </p:graphicFrame>
      <p:sp>
        <p:nvSpPr>
          <p:cNvPr id="10" name="Title Placeholder 1">
            <a:extLst>
              <a:ext uri="{FF2B5EF4-FFF2-40B4-BE49-F238E27FC236}">
                <a16:creationId xmlns:a16="http://schemas.microsoft.com/office/drawing/2014/main" id="{9D0A7067-2E01-7007-834E-3C7D609AB9E7}"/>
              </a:ext>
            </a:extLst>
          </p:cNvPr>
          <p:cNvSpPr>
            <a:spLocks noGrp="1"/>
          </p:cNvSpPr>
          <p:nvPr>
            <p:ph type="title"/>
          </p:nvPr>
        </p:nvSpPr>
        <p:spPr>
          <a:xfrm>
            <a:off x="359568" y="249493"/>
            <a:ext cx="8424862" cy="594662"/>
          </a:xfrm>
          <a:prstGeom prst="rect">
            <a:avLst/>
          </a:prstGeom>
        </p:spPr>
        <p:txBody>
          <a:bodyPr vert="horz" wrap="square" lIns="91440" tIns="45720" rIns="91440" bIns="45720" rtlCol="0" anchor="ctr">
            <a:noAutofit/>
          </a:bodyPr>
          <a:lstStyle/>
          <a:p>
            <a:pPr lvl="0"/>
            <a:r>
              <a:rPr lang="af-ZA" noProof="0"/>
              <a:t>Lisää otsikko</a:t>
            </a:r>
          </a:p>
        </p:txBody>
      </p:sp>
      <p:cxnSp>
        <p:nvCxnSpPr>
          <p:cNvPr id="11" name="Straight Connector 10">
            <a:extLst>
              <a:ext uri="{FF2B5EF4-FFF2-40B4-BE49-F238E27FC236}">
                <a16:creationId xmlns:a16="http://schemas.microsoft.com/office/drawing/2014/main" id="{FCAFD73F-1A4C-D74D-D825-D035A88C6D16}"/>
              </a:ext>
            </a:extLst>
          </p:cNvPr>
          <p:cNvCxnSpPr>
            <a:cxnSpLocks/>
          </p:cNvCxnSpPr>
          <p:nvPr userDrawn="1"/>
        </p:nvCxnSpPr>
        <p:spPr>
          <a:xfrm flipV="1">
            <a:off x="359605" y="4840002"/>
            <a:ext cx="8424863"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7">
            <a:extLst>
              <a:ext uri="{FF2B5EF4-FFF2-40B4-BE49-F238E27FC236}">
                <a16:creationId xmlns:a16="http://schemas.microsoft.com/office/drawing/2014/main" id="{541149BD-5FCA-5B50-D8E7-7CE0F631611E}"/>
              </a:ext>
            </a:extLst>
          </p:cNvPr>
          <p:cNvSpPr>
            <a:spLocks noGrp="1"/>
          </p:cNvSpPr>
          <p:nvPr>
            <p:ph type="ftr" sz="quarter" idx="3"/>
          </p:nvPr>
        </p:nvSpPr>
        <p:spPr>
          <a:xfrm>
            <a:off x="1331640" y="4883629"/>
            <a:ext cx="6264000" cy="164700"/>
          </a:xfrm>
          <a:prstGeom prst="rect">
            <a:avLst/>
          </a:prstGeom>
        </p:spPr>
        <p:txBody>
          <a:bodyPr vert="horz" wrap="square" lIns="91440" tIns="45720" rIns="91440" bIns="45720" rtlCol="0" anchor="ctr"/>
          <a:lstStyle>
            <a:lvl1pPr rtl="0">
              <a:defRPr lang="fi-FI" sz="675" dirty="0">
                <a:latin typeface="+mn-lt"/>
              </a:defRPr>
            </a:lvl1pPr>
          </a:lstStyle>
          <a:p>
            <a:pPr>
              <a:defRPr/>
            </a:pPr>
            <a:endParaRPr lang="af-ZA">
              <a:solidFill>
                <a:srgbClr val="000000"/>
              </a:solidFill>
            </a:endParaRPr>
          </a:p>
        </p:txBody>
      </p:sp>
      <p:sp>
        <p:nvSpPr>
          <p:cNvPr id="14" name="Slide Number Placeholder 8">
            <a:extLst>
              <a:ext uri="{FF2B5EF4-FFF2-40B4-BE49-F238E27FC236}">
                <a16:creationId xmlns:a16="http://schemas.microsoft.com/office/drawing/2014/main" id="{E79003B9-CB5C-4CD2-E761-63F2AA98F05C}"/>
              </a:ext>
            </a:extLst>
          </p:cNvPr>
          <p:cNvSpPr>
            <a:spLocks noGrp="1"/>
          </p:cNvSpPr>
          <p:nvPr>
            <p:ph type="sldNum" sz="quarter" idx="4"/>
          </p:nvPr>
        </p:nvSpPr>
        <p:spPr>
          <a:xfrm>
            <a:off x="8597027" y="4883629"/>
            <a:ext cx="510300" cy="164700"/>
          </a:xfrm>
          <a:prstGeom prst="rect">
            <a:avLst/>
          </a:prstGeom>
        </p:spPr>
        <p:txBody>
          <a:bodyPr vert="horz" lIns="91440" tIns="45720" rIns="91440" bIns="45720" rtlCol="0" anchor="ctr"/>
          <a:lstStyle>
            <a:lvl1pPr algn="l" rtl="0">
              <a:defRPr sz="750">
                <a:solidFill>
                  <a:schemeClr val="tx1"/>
                </a:solidFill>
                <a:latin typeface="+mn-lt"/>
              </a:defRPr>
            </a:lvl1pPr>
          </a:lstStyle>
          <a:p>
            <a:pPr>
              <a:defRPr/>
            </a:pPr>
            <a:fld id="{4053EE9D-34B3-514E-9B63-25914144127A}" type="slidenum">
              <a:rPr lang="af-ZA" smtClean="0">
                <a:solidFill>
                  <a:srgbClr val="000000"/>
                </a:solidFill>
              </a:rPr>
              <a:pPr>
                <a:defRPr/>
              </a:pPr>
              <a:t>‹#›</a:t>
            </a:fld>
            <a:endParaRPr lang="af-ZA">
              <a:solidFill>
                <a:srgbClr val="000000"/>
              </a:solidFill>
            </a:endParaRPr>
          </a:p>
        </p:txBody>
      </p:sp>
      <p:pic>
        <p:nvPicPr>
          <p:cNvPr id="15" name="Picture 14" descr="Logo&#10;&#10;Description automatically generated">
            <a:extLst>
              <a:ext uri="{FF2B5EF4-FFF2-40B4-BE49-F238E27FC236}">
                <a16:creationId xmlns:a16="http://schemas.microsoft.com/office/drawing/2014/main" id="{8164EC05-7BEC-0EB6-B522-3AB63D32A78B}"/>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
        <p:nvSpPr>
          <p:cNvPr id="3" name="TextBox 2">
            <a:extLst>
              <a:ext uri="{FF2B5EF4-FFF2-40B4-BE49-F238E27FC236}">
                <a16:creationId xmlns:a16="http://schemas.microsoft.com/office/drawing/2014/main" id="{39A1E9D6-D866-7E00-FFE2-4A5303CE7310}"/>
              </a:ext>
            </a:extLst>
          </p:cNvPr>
          <p:cNvSpPr txBox="1"/>
          <p:nvPr userDrawn="1"/>
        </p:nvSpPr>
        <p:spPr>
          <a:xfrm>
            <a:off x="3750466" y="2944415"/>
            <a:ext cx="2283620" cy="1181100"/>
          </a:xfrm>
          <a:prstGeom prst="rect">
            <a:avLst/>
          </a:prstGeom>
        </p:spPr>
        <p:txBody>
          <a:bodyPr vert="horz" wrap="square" lIns="68580" tIns="34290" rIns="68580" bIns="34290" rtlCol="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900" b="0" i="0" u="none" strike="noStrike" kern="1200" cap="none" spc="0" normalizeH="0" baseline="0" noProof="0">
              <a:ln>
                <a:noFill/>
              </a:ln>
              <a:solidFill>
                <a:srgbClr val="000000"/>
              </a:solidFill>
              <a:effectLst/>
              <a:uLnTx/>
              <a:uFillTx/>
              <a:latin typeface="Arial Nova Light" panose="020B0304020202020204" pitchFamily="34" charset="0"/>
              <a:ea typeface="+mn-ea"/>
              <a:cs typeface="+mn-cs"/>
            </a:endParaRPr>
          </a:p>
        </p:txBody>
      </p:sp>
      <p:sp>
        <p:nvSpPr>
          <p:cNvPr id="2" name="Text Placeholder 1">
            <a:extLst>
              <a:ext uri="{FF2B5EF4-FFF2-40B4-BE49-F238E27FC236}">
                <a16:creationId xmlns:a16="http://schemas.microsoft.com/office/drawing/2014/main" id="{660A07FA-ED9C-BCC9-1F71-E229271BF078}"/>
              </a:ext>
            </a:extLst>
          </p:cNvPr>
          <p:cNvSpPr>
            <a:spLocks noGrp="1"/>
          </p:cNvSpPr>
          <p:nvPr>
            <p:ph type="body" idx="1"/>
          </p:nvPr>
        </p:nvSpPr>
        <p:spPr>
          <a:xfrm>
            <a:off x="359533" y="931422"/>
            <a:ext cx="8424899" cy="3854891"/>
          </a:xfrm>
          <a:prstGeom prst="rect">
            <a:avLst/>
          </a:prstGeom>
        </p:spPr>
        <p:txBody>
          <a:bodyPr vert="horz" lIns="91440" tIns="45720" rIns="91440" bIns="45720" rtlCol="0">
            <a:normAutofit/>
          </a:bodyPr>
          <a:lstStyle/>
          <a:p>
            <a:pPr lvl="0"/>
            <a:r>
              <a:rPr lang="af-ZA"/>
              <a:t>Click to edit Master text styles</a:t>
            </a:r>
          </a:p>
          <a:p>
            <a:pPr lvl="1"/>
            <a:r>
              <a:rPr lang="af-ZA"/>
              <a:t>Second level</a:t>
            </a:r>
          </a:p>
          <a:p>
            <a:pPr lvl="2"/>
            <a:r>
              <a:rPr lang="af-ZA"/>
              <a:t>Third level</a:t>
            </a:r>
          </a:p>
          <a:p>
            <a:pPr lvl="3"/>
            <a:r>
              <a:rPr lang="af-ZA"/>
              <a:t>Fourth level</a:t>
            </a:r>
          </a:p>
          <a:p>
            <a:pPr lvl="4"/>
            <a:r>
              <a:rPr lang="af-ZA"/>
              <a:t>Fifth level</a:t>
            </a:r>
          </a:p>
        </p:txBody>
      </p:sp>
    </p:spTree>
    <p:extLst>
      <p:ext uri="{BB962C8B-B14F-4D97-AF65-F5344CB8AC3E}">
        <p14:creationId xmlns:p14="http://schemas.microsoft.com/office/powerpoint/2010/main" val="88061667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Lst>
  <p:hf hdr="0"/>
  <p:txStyles>
    <p:titleStyle>
      <a:lvl1pPr algn="l" defTabSz="685800" rtl="0" eaLnBrk="1" latinLnBrk="0" hangingPunct="1">
        <a:lnSpc>
          <a:spcPct val="90000"/>
        </a:lnSpc>
        <a:spcBef>
          <a:spcPct val="0"/>
        </a:spcBef>
        <a:buNone/>
        <a:defRPr lang="fi-FI" sz="3000" b="0" kern="1200" noProof="0" dirty="0">
          <a:solidFill>
            <a:schemeClr val="tx1"/>
          </a:solidFill>
          <a:latin typeface="Arial Nova Light" panose="020B0304020202020204" pitchFamily="34" charset="0"/>
          <a:ea typeface="+mj-ea"/>
          <a:cs typeface="Helvetica" panose="020B0604020202020204" pitchFamily="34" charset="0"/>
        </a:defRPr>
      </a:lvl1pPr>
    </p:titleStyle>
    <p:bodyStyle>
      <a:lvl1pPr marL="135000" indent="-13500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lang="fi-FI" sz="1350" kern="1200" noProof="0" dirty="0">
          <a:solidFill>
            <a:schemeClr val="tx1"/>
          </a:solidFill>
          <a:latin typeface="+mn-lt"/>
          <a:ea typeface="+mn-ea"/>
          <a:cs typeface="Helvetica" panose="020B0604020202020204" pitchFamily="34" charset="0"/>
        </a:defRPr>
      </a:lvl1pPr>
      <a:lvl2pPr marL="270000" indent="-13500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lang="fi-FI" sz="1350" kern="1200" noProof="0" dirty="0">
          <a:solidFill>
            <a:schemeClr val="tx1"/>
          </a:solidFill>
          <a:latin typeface="+mn-lt"/>
          <a:ea typeface="+mn-ea"/>
          <a:cs typeface="Helvetica" panose="020B0604020202020204" pitchFamily="34" charset="0"/>
        </a:defRPr>
      </a:lvl2pPr>
      <a:lvl3pPr marL="405000" indent="-13500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350" kern="1200">
          <a:solidFill>
            <a:schemeClr val="tx1"/>
          </a:solidFill>
          <a:latin typeface="+mn-lt"/>
          <a:ea typeface="+mn-ea"/>
          <a:cs typeface="+mn-cs"/>
        </a:defRPr>
      </a:lvl3pPr>
      <a:lvl4pPr marL="540000" indent="-13500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350" kern="1200">
          <a:solidFill>
            <a:schemeClr val="tx1"/>
          </a:solidFill>
          <a:latin typeface="+mn-lt"/>
          <a:ea typeface="+mn-ea"/>
          <a:cs typeface="+mn-cs"/>
        </a:defRPr>
      </a:lvl4pPr>
      <a:lvl5pPr marL="675000" indent="-135000" algn="l" defTabSz="685800" rtl="0" eaLnBrk="1" latinLnBrk="0" hangingPunct="1">
        <a:lnSpc>
          <a:spcPct val="100000"/>
        </a:lnSpc>
        <a:spcBef>
          <a:spcPts val="0"/>
        </a:spcBef>
        <a:spcAft>
          <a:spcPts val="450"/>
        </a:spcAft>
        <a:buClr>
          <a:schemeClr val="accent1"/>
        </a:buClr>
        <a:buFont typeface="Courier New" panose="02070309020205020404" pitchFamily="49" charset="0"/>
        <a:buChar char="o"/>
        <a:defRPr sz="7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i-FI"/>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orient="horz" pos="709">
          <p15:clr>
            <a:srgbClr val="F26B43"/>
          </p15:clr>
        </p15:guide>
        <p15:guide id="4" orient="horz" pos="4020">
          <p15:clr>
            <a:srgbClr val="F26B43"/>
          </p15:clr>
        </p15:guide>
        <p15:guide id="5" pos="7378">
          <p15:clr>
            <a:srgbClr val="F26B43"/>
          </p15:clr>
        </p15:guide>
        <p15:guide id="6" pos="302">
          <p15:clr>
            <a:srgbClr val="F26B43"/>
          </p15:clr>
        </p15:guide>
        <p15:guide id="10" pos="2661">
          <p15:clr>
            <a:srgbClr val="F26B43"/>
          </p15:clr>
        </p15:guide>
        <p15:guide id="13" pos="5019">
          <p15:clr>
            <a:srgbClr val="F26B43"/>
          </p15:clr>
        </p15:guide>
        <p15:guide id="15" pos="98">
          <p15:clr>
            <a:srgbClr val="F26B43"/>
          </p15:clr>
        </p15:guide>
        <p15:guide id="16" pos="7582">
          <p15:clr>
            <a:srgbClr val="F26B43"/>
          </p15:clr>
        </p15:guide>
        <p15:guide id="17" orient="horz" pos="210">
          <p15:clr>
            <a:srgbClr val="F26B43"/>
          </p15:clr>
        </p15:guide>
        <p15:guide id="18" orient="horz" pos="777">
          <p15:clr>
            <a:srgbClr val="F26B43"/>
          </p15:clr>
        </p15:guide>
        <p15:guide id="19" orient="horz" pos="890">
          <p15:clr>
            <a:srgbClr val="F26B43"/>
          </p15:clr>
        </p15:guide>
        <p15:guide id="21" pos="3863">
          <p15:clr>
            <a:srgbClr val="F26B43"/>
          </p15:clr>
        </p15:guide>
        <p15:guide id="22" pos="3817">
          <p15:clr>
            <a:srgbClr val="F26B43"/>
          </p15:clr>
        </p15:guide>
        <p15:guide id="23"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0198108-E9A9-389F-1BF8-05E15D987C24}"/>
              </a:ext>
            </a:extLst>
          </p:cNvPr>
          <p:cNvGraphicFramePr>
            <a:graphicFrameLocks noChangeAspect="1"/>
          </p:cNvGraphicFramePr>
          <p:nvPr userDrawn="1">
            <p:custDataLst>
              <p:tags r:id="rId22"/>
            </p:custDataLst>
            <p:extLst>
              <p:ext uri="{D42A27DB-BD31-4B8C-83A1-F6EECF244321}">
                <p14:modId xmlns:p14="http://schemas.microsoft.com/office/powerpoint/2010/main" val="29577615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3" imgW="592" imgH="595" progId="TCLayout.ActiveDocument.1">
                  <p:embed/>
                </p:oleObj>
              </mc:Choice>
              <mc:Fallback>
                <p:oleObj name="think-cell Slide" r:id="rId23" imgW="592" imgH="595" progId="TCLayout.ActiveDocument.1">
                  <p:embed/>
                  <p:pic>
                    <p:nvPicPr>
                      <p:cNvPr id="8" name="Object 7" hidden="1">
                        <a:extLst>
                          <a:ext uri="{FF2B5EF4-FFF2-40B4-BE49-F238E27FC236}">
                            <a16:creationId xmlns:a16="http://schemas.microsoft.com/office/drawing/2014/main" id="{20198108-E9A9-389F-1BF8-05E15D987C24}"/>
                          </a:ext>
                        </a:extLst>
                      </p:cNvPr>
                      <p:cNvPicPr/>
                      <p:nvPr/>
                    </p:nvPicPr>
                    <p:blipFill>
                      <a:blip r:embed="rId24"/>
                      <a:stretch>
                        <a:fillRect/>
                      </a:stretch>
                    </p:blipFill>
                    <p:spPr>
                      <a:xfrm>
                        <a:off x="1191" y="1191"/>
                        <a:ext cx="1191" cy="1191"/>
                      </a:xfrm>
                      <a:prstGeom prst="rect">
                        <a:avLst/>
                      </a:prstGeom>
                    </p:spPr>
                  </p:pic>
                </p:oleObj>
              </mc:Fallback>
            </mc:AlternateContent>
          </a:graphicData>
        </a:graphic>
      </p:graphicFrame>
      <p:sp>
        <p:nvSpPr>
          <p:cNvPr id="10" name="Title Placeholder 1">
            <a:extLst>
              <a:ext uri="{FF2B5EF4-FFF2-40B4-BE49-F238E27FC236}">
                <a16:creationId xmlns:a16="http://schemas.microsoft.com/office/drawing/2014/main" id="{9D0A7067-2E01-7007-834E-3C7D609AB9E7}"/>
              </a:ext>
            </a:extLst>
          </p:cNvPr>
          <p:cNvSpPr>
            <a:spLocks noGrp="1"/>
          </p:cNvSpPr>
          <p:nvPr>
            <p:ph type="title"/>
          </p:nvPr>
        </p:nvSpPr>
        <p:spPr>
          <a:xfrm>
            <a:off x="359568" y="249493"/>
            <a:ext cx="8424862" cy="594662"/>
          </a:xfrm>
          <a:prstGeom prst="rect">
            <a:avLst/>
          </a:prstGeom>
        </p:spPr>
        <p:txBody>
          <a:bodyPr vert="horz" wrap="square" lIns="91440" tIns="45720" rIns="91440" bIns="45720" rtlCol="0" anchor="ctr">
            <a:noAutofit/>
          </a:bodyPr>
          <a:lstStyle/>
          <a:p>
            <a:pPr lvl="0"/>
            <a:r>
              <a:rPr lang="af-ZA" noProof="0"/>
              <a:t>Lisää otsikko</a:t>
            </a:r>
          </a:p>
        </p:txBody>
      </p:sp>
      <p:cxnSp>
        <p:nvCxnSpPr>
          <p:cNvPr id="11" name="Straight Connector 10">
            <a:extLst>
              <a:ext uri="{FF2B5EF4-FFF2-40B4-BE49-F238E27FC236}">
                <a16:creationId xmlns:a16="http://schemas.microsoft.com/office/drawing/2014/main" id="{FCAFD73F-1A4C-D74D-D825-D035A88C6D16}"/>
              </a:ext>
            </a:extLst>
          </p:cNvPr>
          <p:cNvCxnSpPr>
            <a:cxnSpLocks/>
          </p:cNvCxnSpPr>
          <p:nvPr userDrawn="1"/>
        </p:nvCxnSpPr>
        <p:spPr>
          <a:xfrm flipV="1">
            <a:off x="359605" y="4840002"/>
            <a:ext cx="8424863"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7">
            <a:extLst>
              <a:ext uri="{FF2B5EF4-FFF2-40B4-BE49-F238E27FC236}">
                <a16:creationId xmlns:a16="http://schemas.microsoft.com/office/drawing/2014/main" id="{541149BD-5FCA-5B50-D8E7-7CE0F631611E}"/>
              </a:ext>
            </a:extLst>
          </p:cNvPr>
          <p:cNvSpPr>
            <a:spLocks noGrp="1"/>
          </p:cNvSpPr>
          <p:nvPr>
            <p:ph type="ftr" sz="quarter" idx="3"/>
          </p:nvPr>
        </p:nvSpPr>
        <p:spPr>
          <a:xfrm>
            <a:off x="1331640" y="4883629"/>
            <a:ext cx="6264000" cy="164700"/>
          </a:xfrm>
          <a:prstGeom prst="rect">
            <a:avLst/>
          </a:prstGeom>
        </p:spPr>
        <p:txBody>
          <a:bodyPr vert="horz" wrap="square" lIns="91440" tIns="45720" rIns="91440" bIns="45720" rtlCol="0" anchor="ctr"/>
          <a:lstStyle>
            <a:lvl1pPr rtl="0">
              <a:defRPr lang="fi-FI" sz="675" dirty="0">
                <a:latin typeface="+mn-lt"/>
              </a:defRPr>
            </a:lvl1pPr>
          </a:lstStyle>
          <a:p>
            <a:pPr>
              <a:defRPr/>
            </a:pPr>
            <a:endParaRPr lang="af-ZA">
              <a:solidFill>
                <a:srgbClr val="000000"/>
              </a:solidFill>
            </a:endParaRPr>
          </a:p>
        </p:txBody>
      </p:sp>
      <p:sp>
        <p:nvSpPr>
          <p:cNvPr id="14" name="Slide Number Placeholder 8">
            <a:extLst>
              <a:ext uri="{FF2B5EF4-FFF2-40B4-BE49-F238E27FC236}">
                <a16:creationId xmlns:a16="http://schemas.microsoft.com/office/drawing/2014/main" id="{E79003B9-CB5C-4CD2-E761-63F2AA98F05C}"/>
              </a:ext>
            </a:extLst>
          </p:cNvPr>
          <p:cNvSpPr>
            <a:spLocks noGrp="1"/>
          </p:cNvSpPr>
          <p:nvPr>
            <p:ph type="sldNum" sz="quarter" idx="4"/>
          </p:nvPr>
        </p:nvSpPr>
        <p:spPr>
          <a:xfrm>
            <a:off x="8597027" y="4883629"/>
            <a:ext cx="510300" cy="164700"/>
          </a:xfrm>
          <a:prstGeom prst="rect">
            <a:avLst/>
          </a:prstGeom>
        </p:spPr>
        <p:txBody>
          <a:bodyPr vert="horz" lIns="91440" tIns="45720" rIns="91440" bIns="45720" rtlCol="0" anchor="ctr"/>
          <a:lstStyle>
            <a:lvl1pPr algn="l" rtl="0">
              <a:defRPr sz="750">
                <a:solidFill>
                  <a:schemeClr val="tx1"/>
                </a:solidFill>
                <a:latin typeface="+mn-lt"/>
              </a:defRPr>
            </a:lvl1pPr>
          </a:lstStyle>
          <a:p>
            <a:pPr>
              <a:defRPr/>
            </a:pPr>
            <a:fld id="{4053EE9D-34B3-514E-9B63-25914144127A}" type="slidenum">
              <a:rPr lang="af-ZA" smtClean="0">
                <a:solidFill>
                  <a:srgbClr val="000000"/>
                </a:solidFill>
              </a:rPr>
              <a:pPr>
                <a:defRPr/>
              </a:pPr>
              <a:t>‹#›</a:t>
            </a:fld>
            <a:endParaRPr lang="af-ZA">
              <a:solidFill>
                <a:srgbClr val="000000"/>
              </a:solidFill>
            </a:endParaRPr>
          </a:p>
        </p:txBody>
      </p:sp>
      <p:pic>
        <p:nvPicPr>
          <p:cNvPr id="15" name="Picture 14" descr="Logo&#10;&#10;Description automatically generated">
            <a:extLst>
              <a:ext uri="{FF2B5EF4-FFF2-40B4-BE49-F238E27FC236}">
                <a16:creationId xmlns:a16="http://schemas.microsoft.com/office/drawing/2014/main" id="{8164EC05-7BEC-0EB6-B522-3AB63D32A78B}"/>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
        <p:nvSpPr>
          <p:cNvPr id="3" name="TextBox 2">
            <a:extLst>
              <a:ext uri="{FF2B5EF4-FFF2-40B4-BE49-F238E27FC236}">
                <a16:creationId xmlns:a16="http://schemas.microsoft.com/office/drawing/2014/main" id="{39A1E9D6-D866-7E00-FFE2-4A5303CE7310}"/>
              </a:ext>
            </a:extLst>
          </p:cNvPr>
          <p:cNvSpPr txBox="1"/>
          <p:nvPr userDrawn="1"/>
        </p:nvSpPr>
        <p:spPr>
          <a:xfrm>
            <a:off x="3750466" y="2944415"/>
            <a:ext cx="2283620" cy="1181100"/>
          </a:xfrm>
          <a:prstGeom prst="rect">
            <a:avLst/>
          </a:prstGeom>
        </p:spPr>
        <p:txBody>
          <a:bodyPr vert="horz" wrap="square" lIns="68580" tIns="34290" rIns="68580" bIns="34290" rtlCol="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900" b="0" i="0" u="none" strike="noStrike" kern="1200" cap="none" spc="0" normalizeH="0" baseline="0" noProof="0">
              <a:ln>
                <a:noFill/>
              </a:ln>
              <a:solidFill>
                <a:srgbClr val="000000"/>
              </a:solidFill>
              <a:effectLst/>
              <a:uLnTx/>
              <a:uFillTx/>
              <a:latin typeface="Arial Nova Light" panose="020B0304020202020204" pitchFamily="34" charset="0"/>
              <a:ea typeface="+mn-ea"/>
              <a:cs typeface="+mn-cs"/>
            </a:endParaRPr>
          </a:p>
        </p:txBody>
      </p:sp>
      <p:sp>
        <p:nvSpPr>
          <p:cNvPr id="2" name="Text Placeholder 1">
            <a:extLst>
              <a:ext uri="{FF2B5EF4-FFF2-40B4-BE49-F238E27FC236}">
                <a16:creationId xmlns:a16="http://schemas.microsoft.com/office/drawing/2014/main" id="{660A07FA-ED9C-BCC9-1F71-E229271BF078}"/>
              </a:ext>
            </a:extLst>
          </p:cNvPr>
          <p:cNvSpPr>
            <a:spLocks noGrp="1"/>
          </p:cNvSpPr>
          <p:nvPr>
            <p:ph type="body" idx="1"/>
          </p:nvPr>
        </p:nvSpPr>
        <p:spPr>
          <a:xfrm>
            <a:off x="359533" y="931422"/>
            <a:ext cx="8424899" cy="3854891"/>
          </a:xfrm>
          <a:prstGeom prst="rect">
            <a:avLst/>
          </a:prstGeom>
        </p:spPr>
        <p:txBody>
          <a:bodyPr vert="horz" lIns="91440" tIns="45720" rIns="91440" bIns="45720" rtlCol="0">
            <a:normAutofit/>
          </a:bodyPr>
          <a:lstStyle/>
          <a:p>
            <a:pPr lvl="0"/>
            <a:r>
              <a:rPr lang="af-ZA"/>
              <a:t>Click to edit Master text styles</a:t>
            </a:r>
          </a:p>
          <a:p>
            <a:pPr lvl="1"/>
            <a:r>
              <a:rPr lang="af-ZA"/>
              <a:t>Second level</a:t>
            </a:r>
          </a:p>
          <a:p>
            <a:pPr lvl="2"/>
            <a:r>
              <a:rPr lang="af-ZA"/>
              <a:t>Third level</a:t>
            </a:r>
          </a:p>
          <a:p>
            <a:pPr lvl="3"/>
            <a:r>
              <a:rPr lang="af-ZA"/>
              <a:t>Fourth level</a:t>
            </a:r>
          </a:p>
          <a:p>
            <a:pPr lvl="4"/>
            <a:r>
              <a:rPr lang="af-ZA"/>
              <a:t>Fifth level</a:t>
            </a:r>
          </a:p>
        </p:txBody>
      </p:sp>
    </p:spTree>
    <p:extLst>
      <p:ext uri="{BB962C8B-B14F-4D97-AF65-F5344CB8AC3E}">
        <p14:creationId xmlns:p14="http://schemas.microsoft.com/office/powerpoint/2010/main" val="94711260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823" r:id="rId15"/>
    <p:sldLayoutId id="2147483778" r:id="rId16"/>
    <p:sldLayoutId id="2147483779" r:id="rId17"/>
    <p:sldLayoutId id="2147483780" r:id="rId18"/>
    <p:sldLayoutId id="2147483781" r:id="rId19"/>
    <p:sldLayoutId id="2147483782" r:id="rId20"/>
  </p:sldLayoutIdLst>
  <p:hf hdr="0"/>
  <p:txStyles>
    <p:titleStyle>
      <a:lvl1pPr algn="l" defTabSz="685800" rtl="0" eaLnBrk="1" latinLnBrk="0" hangingPunct="1">
        <a:lnSpc>
          <a:spcPct val="90000"/>
        </a:lnSpc>
        <a:spcBef>
          <a:spcPct val="0"/>
        </a:spcBef>
        <a:buNone/>
        <a:defRPr lang="fi-FI" sz="3000" b="0" kern="1200" noProof="0" dirty="0">
          <a:solidFill>
            <a:schemeClr val="tx1"/>
          </a:solidFill>
          <a:latin typeface="Arial Nova Light" panose="020B0304020202020204" pitchFamily="34" charset="0"/>
          <a:ea typeface="+mj-ea"/>
          <a:cs typeface="Helvetica" panose="020B0604020202020204" pitchFamily="34" charset="0"/>
        </a:defRPr>
      </a:lvl1pPr>
    </p:titleStyle>
    <p:bodyStyle>
      <a:lvl1pPr marL="135000" indent="-13500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lang="fi-FI" sz="1350" kern="1200" noProof="0" dirty="0">
          <a:solidFill>
            <a:schemeClr val="tx1"/>
          </a:solidFill>
          <a:latin typeface="+mn-lt"/>
          <a:ea typeface="+mn-ea"/>
          <a:cs typeface="Helvetica" panose="020B0604020202020204" pitchFamily="34" charset="0"/>
        </a:defRPr>
      </a:lvl1pPr>
      <a:lvl2pPr marL="270000" indent="-13500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lang="fi-FI" sz="1350" kern="1200" noProof="0" dirty="0">
          <a:solidFill>
            <a:schemeClr val="tx1"/>
          </a:solidFill>
          <a:latin typeface="+mn-lt"/>
          <a:ea typeface="+mn-ea"/>
          <a:cs typeface="Helvetica" panose="020B0604020202020204" pitchFamily="34" charset="0"/>
        </a:defRPr>
      </a:lvl2pPr>
      <a:lvl3pPr marL="405000" indent="-13500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350" kern="1200">
          <a:solidFill>
            <a:schemeClr val="tx1"/>
          </a:solidFill>
          <a:latin typeface="+mn-lt"/>
          <a:ea typeface="+mn-ea"/>
          <a:cs typeface="+mn-cs"/>
        </a:defRPr>
      </a:lvl3pPr>
      <a:lvl4pPr marL="540000" indent="-135000" algn="l" defTabSz="685800" rtl="0" eaLnBrk="1" latinLnBrk="0" hangingPunct="1">
        <a:lnSpc>
          <a:spcPct val="100000"/>
        </a:lnSpc>
        <a:spcBef>
          <a:spcPts val="0"/>
        </a:spcBef>
        <a:spcAft>
          <a:spcPts val="450"/>
        </a:spcAft>
        <a:buClr>
          <a:schemeClr val="accent1"/>
        </a:buClr>
        <a:buFont typeface="Arial" panose="020B0604020202020204" pitchFamily="34" charset="0"/>
        <a:buChar char="•"/>
        <a:defRPr sz="1350" kern="1200">
          <a:solidFill>
            <a:schemeClr val="tx1"/>
          </a:solidFill>
          <a:latin typeface="+mn-lt"/>
          <a:ea typeface="+mn-ea"/>
          <a:cs typeface="+mn-cs"/>
        </a:defRPr>
      </a:lvl4pPr>
      <a:lvl5pPr marL="675000" indent="-135000" algn="l" defTabSz="685800" rtl="0" eaLnBrk="1" latinLnBrk="0" hangingPunct="1">
        <a:lnSpc>
          <a:spcPct val="100000"/>
        </a:lnSpc>
        <a:spcBef>
          <a:spcPts val="0"/>
        </a:spcBef>
        <a:spcAft>
          <a:spcPts val="450"/>
        </a:spcAft>
        <a:buClr>
          <a:schemeClr val="accent1"/>
        </a:buClr>
        <a:buFont typeface="Courier New" panose="02070309020205020404" pitchFamily="49" charset="0"/>
        <a:buChar char="o"/>
        <a:defRPr sz="7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i-FI"/>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orient="horz" pos="709">
          <p15:clr>
            <a:srgbClr val="F26B43"/>
          </p15:clr>
        </p15:guide>
        <p15:guide id="4" orient="horz" pos="4020">
          <p15:clr>
            <a:srgbClr val="F26B43"/>
          </p15:clr>
        </p15:guide>
        <p15:guide id="5" pos="7378">
          <p15:clr>
            <a:srgbClr val="F26B43"/>
          </p15:clr>
        </p15:guide>
        <p15:guide id="6" pos="302">
          <p15:clr>
            <a:srgbClr val="F26B43"/>
          </p15:clr>
        </p15:guide>
        <p15:guide id="10" pos="2661">
          <p15:clr>
            <a:srgbClr val="F26B43"/>
          </p15:clr>
        </p15:guide>
        <p15:guide id="13" pos="5019">
          <p15:clr>
            <a:srgbClr val="F26B43"/>
          </p15:clr>
        </p15:guide>
        <p15:guide id="15" pos="98">
          <p15:clr>
            <a:srgbClr val="F26B43"/>
          </p15:clr>
        </p15:guide>
        <p15:guide id="16" pos="7582">
          <p15:clr>
            <a:srgbClr val="F26B43"/>
          </p15:clr>
        </p15:guide>
        <p15:guide id="17" orient="horz" pos="210">
          <p15:clr>
            <a:srgbClr val="F26B43"/>
          </p15:clr>
        </p15:guide>
        <p15:guide id="18" orient="horz" pos="777">
          <p15:clr>
            <a:srgbClr val="F26B43"/>
          </p15:clr>
        </p15:guide>
        <p15:guide id="19" orient="horz" pos="890">
          <p15:clr>
            <a:srgbClr val="F26B43"/>
          </p15:clr>
        </p15:guide>
        <p15:guide id="21" pos="3863">
          <p15:clr>
            <a:srgbClr val="F26B43"/>
          </p15:clr>
        </p15:guide>
        <p15:guide id="22" pos="3817">
          <p15:clr>
            <a:srgbClr val="F26B43"/>
          </p15:clr>
        </p15:guide>
        <p15:guide id="23"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0198108-E9A9-389F-1BF8-05E15D987C24}"/>
              </a:ext>
            </a:extLst>
          </p:cNvPr>
          <p:cNvGraphicFramePr>
            <a:graphicFrameLocks noChangeAspect="1"/>
          </p:cNvGraphicFramePr>
          <p:nvPr userDrawn="1">
            <p:custDataLst>
              <p:tags r:id="rId22"/>
            </p:custDataLst>
            <p:extLst>
              <p:ext uri="{D42A27DB-BD31-4B8C-83A1-F6EECF244321}">
                <p14:modId xmlns:p14="http://schemas.microsoft.com/office/powerpoint/2010/main" val="34079240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3" imgW="592" imgH="595" progId="TCLayout.ActiveDocument.1">
                  <p:embed/>
                </p:oleObj>
              </mc:Choice>
              <mc:Fallback>
                <p:oleObj name="think-cell Slide" r:id="rId23" imgW="592" imgH="595" progId="TCLayout.ActiveDocument.1">
                  <p:embed/>
                  <p:pic>
                    <p:nvPicPr>
                      <p:cNvPr id="8" name="Object 7" hidden="1">
                        <a:extLst>
                          <a:ext uri="{FF2B5EF4-FFF2-40B4-BE49-F238E27FC236}">
                            <a16:creationId xmlns:a16="http://schemas.microsoft.com/office/drawing/2014/main" id="{20198108-E9A9-389F-1BF8-05E15D987C24}"/>
                          </a:ext>
                        </a:extLst>
                      </p:cNvPr>
                      <p:cNvPicPr/>
                      <p:nvPr/>
                    </p:nvPicPr>
                    <p:blipFill>
                      <a:blip r:embed="rId24"/>
                      <a:stretch>
                        <a:fillRect/>
                      </a:stretch>
                    </p:blipFill>
                    <p:spPr>
                      <a:xfrm>
                        <a:off x="1191" y="1191"/>
                        <a:ext cx="1191" cy="1191"/>
                      </a:xfrm>
                      <a:prstGeom prst="rect">
                        <a:avLst/>
                      </a:prstGeom>
                    </p:spPr>
                  </p:pic>
                </p:oleObj>
              </mc:Fallback>
            </mc:AlternateContent>
          </a:graphicData>
        </a:graphic>
      </p:graphicFrame>
      <p:sp>
        <p:nvSpPr>
          <p:cNvPr id="10" name="Title Placeholder 1">
            <a:extLst>
              <a:ext uri="{FF2B5EF4-FFF2-40B4-BE49-F238E27FC236}">
                <a16:creationId xmlns:a16="http://schemas.microsoft.com/office/drawing/2014/main" id="{9D0A7067-2E01-7007-834E-3C7D609AB9E7}"/>
              </a:ext>
            </a:extLst>
          </p:cNvPr>
          <p:cNvSpPr>
            <a:spLocks noGrp="1"/>
          </p:cNvSpPr>
          <p:nvPr>
            <p:ph type="title"/>
          </p:nvPr>
        </p:nvSpPr>
        <p:spPr>
          <a:xfrm>
            <a:off x="359568" y="249493"/>
            <a:ext cx="8424862" cy="594662"/>
          </a:xfrm>
          <a:prstGeom prst="rect">
            <a:avLst/>
          </a:prstGeom>
        </p:spPr>
        <p:txBody>
          <a:bodyPr vert="horz" wrap="square" lIns="91440" tIns="45720" rIns="91440" bIns="45720" rtlCol="0" anchor="ctr">
            <a:noAutofit/>
          </a:bodyPr>
          <a:lstStyle/>
          <a:p>
            <a:pPr lvl="0"/>
            <a:r>
              <a:rPr lang="af-ZA" noProof="0"/>
              <a:t>Lisää otsikko</a:t>
            </a:r>
          </a:p>
        </p:txBody>
      </p:sp>
      <p:cxnSp>
        <p:nvCxnSpPr>
          <p:cNvPr id="11" name="Straight Connector 10">
            <a:extLst>
              <a:ext uri="{FF2B5EF4-FFF2-40B4-BE49-F238E27FC236}">
                <a16:creationId xmlns:a16="http://schemas.microsoft.com/office/drawing/2014/main" id="{FCAFD73F-1A4C-D74D-D825-D035A88C6D16}"/>
              </a:ext>
            </a:extLst>
          </p:cNvPr>
          <p:cNvCxnSpPr>
            <a:cxnSpLocks/>
          </p:cNvCxnSpPr>
          <p:nvPr userDrawn="1"/>
        </p:nvCxnSpPr>
        <p:spPr>
          <a:xfrm flipV="1">
            <a:off x="359605" y="4840002"/>
            <a:ext cx="8424863"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ooter Placeholder 7">
            <a:extLst>
              <a:ext uri="{FF2B5EF4-FFF2-40B4-BE49-F238E27FC236}">
                <a16:creationId xmlns:a16="http://schemas.microsoft.com/office/drawing/2014/main" id="{541149BD-5FCA-5B50-D8E7-7CE0F631611E}"/>
              </a:ext>
            </a:extLst>
          </p:cNvPr>
          <p:cNvSpPr>
            <a:spLocks noGrp="1"/>
          </p:cNvSpPr>
          <p:nvPr>
            <p:ph type="ftr" sz="quarter" idx="3"/>
          </p:nvPr>
        </p:nvSpPr>
        <p:spPr>
          <a:xfrm>
            <a:off x="1331640" y="4883629"/>
            <a:ext cx="6264000" cy="164700"/>
          </a:xfrm>
          <a:prstGeom prst="rect">
            <a:avLst/>
          </a:prstGeom>
        </p:spPr>
        <p:txBody>
          <a:bodyPr vert="horz" wrap="square" lIns="91440" tIns="45720" rIns="91440" bIns="45720" rtlCol="0" anchor="ctr"/>
          <a:lstStyle>
            <a:lvl1pPr rtl="0">
              <a:defRPr lang="fi-FI" sz="675" dirty="0">
                <a:latin typeface="+mn-lt"/>
              </a:defRPr>
            </a:lvl1pPr>
          </a:lstStyle>
          <a:p>
            <a:pPr>
              <a:defRPr/>
            </a:pPr>
            <a:endParaRPr lang="af-ZA">
              <a:solidFill>
                <a:srgbClr val="000000"/>
              </a:solidFill>
            </a:endParaRPr>
          </a:p>
        </p:txBody>
      </p:sp>
      <p:sp>
        <p:nvSpPr>
          <p:cNvPr id="14" name="Slide Number Placeholder 8">
            <a:extLst>
              <a:ext uri="{FF2B5EF4-FFF2-40B4-BE49-F238E27FC236}">
                <a16:creationId xmlns:a16="http://schemas.microsoft.com/office/drawing/2014/main" id="{E79003B9-CB5C-4CD2-E761-63F2AA98F05C}"/>
              </a:ext>
            </a:extLst>
          </p:cNvPr>
          <p:cNvSpPr>
            <a:spLocks noGrp="1"/>
          </p:cNvSpPr>
          <p:nvPr>
            <p:ph type="sldNum" sz="quarter" idx="4"/>
          </p:nvPr>
        </p:nvSpPr>
        <p:spPr>
          <a:xfrm>
            <a:off x="8597027" y="4883629"/>
            <a:ext cx="510300" cy="164700"/>
          </a:xfrm>
          <a:prstGeom prst="rect">
            <a:avLst/>
          </a:prstGeom>
        </p:spPr>
        <p:txBody>
          <a:bodyPr vert="horz" lIns="91440" tIns="45720" rIns="91440" bIns="45720" rtlCol="0" anchor="ctr"/>
          <a:lstStyle>
            <a:lvl1pPr algn="l" rtl="0">
              <a:defRPr sz="750">
                <a:solidFill>
                  <a:schemeClr val="tx1"/>
                </a:solidFill>
                <a:latin typeface="+mn-lt"/>
              </a:defRPr>
            </a:lvl1pPr>
          </a:lstStyle>
          <a:p>
            <a:pPr>
              <a:defRPr/>
            </a:pPr>
            <a:fld id="{4053EE9D-34B3-514E-9B63-25914144127A}" type="slidenum">
              <a:rPr lang="af-ZA" smtClean="0">
                <a:solidFill>
                  <a:srgbClr val="000000"/>
                </a:solidFill>
              </a:rPr>
              <a:pPr>
                <a:defRPr/>
              </a:pPr>
              <a:t>‹#›</a:t>
            </a:fld>
            <a:endParaRPr lang="af-ZA">
              <a:solidFill>
                <a:srgbClr val="000000"/>
              </a:solidFill>
            </a:endParaRPr>
          </a:p>
        </p:txBody>
      </p:sp>
      <p:pic>
        <p:nvPicPr>
          <p:cNvPr id="15" name="Picture 14" descr="Logo&#10;&#10;Description automatically generated">
            <a:extLst>
              <a:ext uri="{FF2B5EF4-FFF2-40B4-BE49-F238E27FC236}">
                <a16:creationId xmlns:a16="http://schemas.microsoft.com/office/drawing/2014/main" id="{8164EC05-7BEC-0EB6-B522-3AB63D32A78B}"/>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359532" y="4838871"/>
            <a:ext cx="457514" cy="245598"/>
          </a:xfrm>
          <a:prstGeom prst="rect">
            <a:avLst/>
          </a:prstGeom>
        </p:spPr>
      </p:pic>
      <p:sp>
        <p:nvSpPr>
          <p:cNvPr id="3" name="TextBox 2">
            <a:extLst>
              <a:ext uri="{FF2B5EF4-FFF2-40B4-BE49-F238E27FC236}">
                <a16:creationId xmlns:a16="http://schemas.microsoft.com/office/drawing/2014/main" id="{39A1E9D6-D866-7E00-FFE2-4A5303CE7310}"/>
              </a:ext>
            </a:extLst>
          </p:cNvPr>
          <p:cNvSpPr txBox="1"/>
          <p:nvPr userDrawn="1"/>
        </p:nvSpPr>
        <p:spPr>
          <a:xfrm>
            <a:off x="3750466" y="2944415"/>
            <a:ext cx="2283620" cy="1181100"/>
          </a:xfrm>
          <a:prstGeom prst="rect">
            <a:avLst/>
          </a:prstGeom>
        </p:spPr>
        <p:txBody>
          <a:bodyPr vert="horz" wrap="square" lIns="68580" tIns="34290" rIns="68580" bIns="34290" rtlCol="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af-ZA" sz="900" b="0" i="0" u="none" strike="noStrike" kern="1200" cap="none" spc="0" normalizeH="0" baseline="0" noProof="0">
              <a:ln>
                <a:noFill/>
              </a:ln>
              <a:solidFill>
                <a:srgbClr val="000000"/>
              </a:solidFill>
              <a:effectLst/>
              <a:uLnTx/>
              <a:uFillTx/>
              <a:latin typeface="Arial Nova Light" panose="020B0304020202020204" pitchFamily="34" charset="0"/>
              <a:ea typeface="+mn-ea"/>
              <a:cs typeface="+mn-cs"/>
            </a:endParaRPr>
          </a:p>
        </p:txBody>
      </p:sp>
      <p:sp>
        <p:nvSpPr>
          <p:cNvPr id="2" name="Text Placeholder 1">
            <a:extLst>
              <a:ext uri="{FF2B5EF4-FFF2-40B4-BE49-F238E27FC236}">
                <a16:creationId xmlns:a16="http://schemas.microsoft.com/office/drawing/2014/main" id="{660A07FA-ED9C-BCC9-1F71-E229271BF078}"/>
              </a:ext>
            </a:extLst>
          </p:cNvPr>
          <p:cNvSpPr>
            <a:spLocks noGrp="1"/>
          </p:cNvSpPr>
          <p:nvPr>
            <p:ph type="body" idx="1"/>
          </p:nvPr>
        </p:nvSpPr>
        <p:spPr>
          <a:xfrm>
            <a:off x="359533" y="931422"/>
            <a:ext cx="8424899" cy="3854891"/>
          </a:xfrm>
          <a:prstGeom prst="rect">
            <a:avLst/>
          </a:prstGeom>
        </p:spPr>
        <p:txBody>
          <a:bodyPr vert="horz" lIns="91440" tIns="45720" rIns="91440" bIns="45720" rtlCol="0">
            <a:normAutofit/>
          </a:bodyPr>
          <a:lstStyle/>
          <a:p>
            <a:pPr lvl="0"/>
            <a:r>
              <a:rPr lang="af-ZA"/>
              <a:t>Click to edit Master text styles</a:t>
            </a:r>
          </a:p>
          <a:p>
            <a:pPr lvl="1"/>
            <a:r>
              <a:rPr lang="af-ZA"/>
              <a:t>Second level</a:t>
            </a:r>
          </a:p>
          <a:p>
            <a:pPr lvl="2"/>
            <a:r>
              <a:rPr lang="af-ZA"/>
              <a:t>Third level</a:t>
            </a:r>
          </a:p>
          <a:p>
            <a:pPr lvl="3"/>
            <a:r>
              <a:rPr lang="af-ZA"/>
              <a:t>Fourth level</a:t>
            </a:r>
          </a:p>
          <a:p>
            <a:pPr lvl="4"/>
            <a:r>
              <a:rPr lang="af-ZA"/>
              <a:t>Fifth level</a:t>
            </a:r>
          </a:p>
        </p:txBody>
      </p:sp>
    </p:spTree>
    <p:extLst>
      <p:ext uri="{BB962C8B-B14F-4D97-AF65-F5344CB8AC3E}">
        <p14:creationId xmlns:p14="http://schemas.microsoft.com/office/powerpoint/2010/main" val="144890430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777" r:id="rId20"/>
  </p:sldLayoutIdLst>
  <p:hf sldNum="0" hdr="0" dt="0"/>
  <p:txStyles>
    <p:titleStyle>
      <a:lvl1pPr algn="l" defTabSz="914400" rtl="0" eaLnBrk="1" latinLnBrk="0" hangingPunct="1">
        <a:lnSpc>
          <a:spcPct val="90000"/>
        </a:lnSpc>
        <a:spcBef>
          <a:spcPct val="0"/>
        </a:spcBef>
        <a:buNone/>
        <a:defRPr lang="fi-FI" sz="4000" b="0" kern="1200" noProof="0" dirty="0">
          <a:solidFill>
            <a:schemeClr val="tx1"/>
          </a:solidFill>
          <a:latin typeface="Arial Nova Light" panose="020B0304020202020204" pitchFamily="34" charset="0"/>
          <a:ea typeface="+mj-ea"/>
          <a:cs typeface="Helvetica" panose="020B0604020202020204" pitchFamily="34" charset="0"/>
        </a:defRPr>
      </a:lvl1pPr>
    </p:titleStyle>
    <p:bodyStyle>
      <a:lvl1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lang="fi-FI" sz="1800" kern="1200" noProof="0" dirty="0">
          <a:solidFill>
            <a:schemeClr val="tx1"/>
          </a:solidFill>
          <a:latin typeface="+mn-lt"/>
          <a:ea typeface="+mn-ea"/>
          <a:cs typeface="Helvetica" panose="020B0604020202020204" pitchFamily="34" charset="0"/>
        </a:defRPr>
      </a:lvl1pPr>
      <a:lvl2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lang="fi-FI" sz="1800" kern="1200" noProof="0" dirty="0">
          <a:solidFill>
            <a:schemeClr val="tx1"/>
          </a:solidFill>
          <a:latin typeface="+mn-lt"/>
          <a:ea typeface="+mn-ea"/>
          <a:cs typeface="Helvetica" panose="020B0604020202020204" pitchFamily="34" charset="0"/>
        </a:defRPr>
      </a:lvl2pPr>
      <a:lvl3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00000" indent="-180000" algn="l" defTabSz="914400" rtl="0" eaLnBrk="1" latinLnBrk="0" hangingPunct="1">
        <a:lnSpc>
          <a:spcPct val="100000"/>
        </a:lnSpc>
        <a:spcBef>
          <a:spcPts val="0"/>
        </a:spcBef>
        <a:spcAft>
          <a:spcPts val="600"/>
        </a:spcAft>
        <a:buClr>
          <a:schemeClr val="accent1"/>
        </a:buClr>
        <a:buFont typeface="Courier New" panose="02070309020205020404" pitchFamily="49" charset="0"/>
        <a:buChar char="o"/>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532" userDrawn="1">
          <p15:clr>
            <a:srgbClr val="F26B43"/>
          </p15:clr>
        </p15:guide>
        <p15:guide id="4" orient="horz" pos="3015" userDrawn="1">
          <p15:clr>
            <a:srgbClr val="F26B43"/>
          </p15:clr>
        </p15:guide>
        <p15:guide id="5" pos="5534" userDrawn="1">
          <p15:clr>
            <a:srgbClr val="F26B43"/>
          </p15:clr>
        </p15:guide>
        <p15:guide id="6" pos="227" userDrawn="1">
          <p15:clr>
            <a:srgbClr val="F26B43"/>
          </p15:clr>
        </p15:guide>
        <p15:guide id="10" pos="1996" userDrawn="1">
          <p15:clr>
            <a:srgbClr val="F26B43"/>
          </p15:clr>
        </p15:guide>
        <p15:guide id="13" pos="3764" userDrawn="1">
          <p15:clr>
            <a:srgbClr val="F26B43"/>
          </p15:clr>
        </p15:guide>
        <p15:guide id="15" pos="74" userDrawn="1">
          <p15:clr>
            <a:srgbClr val="F26B43"/>
          </p15:clr>
        </p15:guide>
        <p15:guide id="16" pos="5687" userDrawn="1">
          <p15:clr>
            <a:srgbClr val="F26B43"/>
          </p15:clr>
        </p15:guide>
        <p15:guide id="17" orient="horz" pos="158" userDrawn="1">
          <p15:clr>
            <a:srgbClr val="F26B43"/>
          </p15:clr>
        </p15:guide>
        <p15:guide id="18" orient="horz" pos="583" userDrawn="1">
          <p15:clr>
            <a:srgbClr val="F26B43"/>
          </p15:clr>
        </p15:guide>
        <p15:guide id="19" orient="horz" pos="668" userDrawn="1">
          <p15:clr>
            <a:srgbClr val="F26B43"/>
          </p15:clr>
        </p15:guide>
        <p15:guide id="21" pos="2897" userDrawn="1">
          <p15:clr>
            <a:srgbClr val="F26B43"/>
          </p15:clr>
        </p15:guide>
        <p15:guide id="22" pos="2863" userDrawn="1">
          <p15:clr>
            <a:srgbClr val="F26B43"/>
          </p15:clr>
        </p15:guide>
        <p15:guide id="23"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98.xml"/><Relationship Id="rId5" Type="http://schemas.openxmlformats.org/officeDocument/2006/relationships/image" Target="../media/image18.emf"/><Relationship Id="rId4" Type="http://schemas.openxmlformats.org/officeDocument/2006/relationships/oleObject" Target="../embeddings/oleObject95.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99.x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9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B37381-9FDB-047D-E947-316709584EC4}"/>
              </a:ext>
            </a:extLst>
          </p:cNvPr>
          <p:cNvGraphicFramePr>
            <a:graphicFrameLocks noChangeAspect="1"/>
          </p:cNvGraphicFramePr>
          <p:nvPr>
            <p:custDataLst>
              <p:tags r:id="rId1"/>
            </p:custDataLst>
            <p:extLst>
              <p:ext uri="{D42A27DB-BD31-4B8C-83A1-F6EECF244321}">
                <p14:modId xmlns:p14="http://schemas.microsoft.com/office/powerpoint/2010/main" val="802753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26B37381-9FDB-047D-E947-316709584E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231355" y="1368458"/>
            <a:ext cx="8781032" cy="1676181"/>
          </a:xfrm>
        </p:spPr>
        <p:txBody>
          <a:bodyPr vert="horz">
            <a:noAutofit/>
          </a:bodyPr>
          <a:lstStyle/>
          <a:p>
            <a:r>
              <a:rPr lang="af-ZA" sz="4400" dirty="0"/>
              <a:t>TEM:n esitys Tesin sijoitusstrategiaksi </a:t>
            </a:r>
            <a:br>
              <a:rPr lang="af-ZA" sz="4400" dirty="0"/>
            </a:br>
            <a:br>
              <a:rPr lang="af-ZA" sz="3600" dirty="0"/>
            </a:br>
            <a:endParaRPr lang="af-ZA" sz="2400" strike="sngStrike" dirty="0"/>
          </a:p>
        </p:txBody>
      </p:sp>
      <p:sp>
        <p:nvSpPr>
          <p:cNvPr id="3" name="Subtitle 2"/>
          <p:cNvSpPr>
            <a:spLocks noGrp="1"/>
          </p:cNvSpPr>
          <p:nvPr>
            <p:ph type="subTitle" idx="1"/>
          </p:nvPr>
        </p:nvSpPr>
        <p:spPr>
          <a:xfrm>
            <a:off x="1476113" y="2782740"/>
            <a:ext cx="6012965" cy="1130412"/>
          </a:xfrm>
        </p:spPr>
        <p:txBody>
          <a:bodyPr vert="horz" lIns="91440" tIns="45720" rIns="91440" bIns="45720" rtlCol="0">
            <a:normAutofit/>
          </a:bodyPr>
          <a:lstStyle/>
          <a:p>
            <a:endParaRPr lang="af-ZA" sz="1200" dirty="0"/>
          </a:p>
          <a:p>
            <a:r>
              <a:rPr lang="af-ZA" sz="2000" b="1" dirty="0"/>
              <a:t>Sidosryhmätilaisuus, Teams</a:t>
            </a:r>
          </a:p>
          <a:p>
            <a:r>
              <a:rPr lang="af-ZA" sz="2000" b="1" dirty="0"/>
              <a:t>9.12.2024 klo 16-16.45</a:t>
            </a:r>
          </a:p>
          <a:p>
            <a:endParaRPr lang="af-ZA" sz="2000" b="1" dirty="0"/>
          </a:p>
        </p:txBody>
      </p:sp>
    </p:spTree>
    <p:extLst>
      <p:ext uri="{BB962C8B-B14F-4D97-AF65-F5344CB8AC3E}">
        <p14:creationId xmlns:p14="http://schemas.microsoft.com/office/powerpoint/2010/main" val="675961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688E3B-6EC2-D786-B97E-420B96322AB4}"/>
              </a:ext>
            </a:extLst>
          </p:cNvPr>
          <p:cNvGraphicFramePr>
            <a:graphicFrameLocks noChangeAspect="1"/>
          </p:cNvGraphicFramePr>
          <p:nvPr>
            <p:custDataLst>
              <p:tags r:id="rId1"/>
            </p:custDataLst>
            <p:extLst>
              <p:ext uri="{D42A27DB-BD31-4B8C-83A1-F6EECF244321}">
                <p14:modId xmlns:p14="http://schemas.microsoft.com/office/powerpoint/2010/main" val="12843033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08688E3B-6EC2-D786-B97E-420B96322AB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F5A6C8-5448-B87B-A6B7-0F743F279A50}"/>
              </a:ext>
            </a:extLst>
          </p:cNvPr>
          <p:cNvSpPr>
            <a:spLocks noGrp="1"/>
          </p:cNvSpPr>
          <p:nvPr>
            <p:ph type="title"/>
          </p:nvPr>
        </p:nvSpPr>
        <p:spPr>
          <a:xfrm>
            <a:off x="226960" y="118321"/>
            <a:ext cx="8784432" cy="594662"/>
          </a:xfrm>
        </p:spPr>
        <p:txBody>
          <a:bodyPr vert="horz"/>
          <a:lstStyle/>
          <a:p>
            <a:r>
              <a:rPr lang="af-ZA" sz="2800" b="1" dirty="0">
                <a:cs typeface="Helvetica"/>
              </a:rPr>
              <a:t>TEM:n ehdotus Tesin sijoitusstrategiaksi 1/4</a:t>
            </a:r>
          </a:p>
        </p:txBody>
      </p:sp>
      <p:sp>
        <p:nvSpPr>
          <p:cNvPr id="3" name="Footer Placeholder 2">
            <a:extLst>
              <a:ext uri="{FF2B5EF4-FFF2-40B4-BE49-F238E27FC236}">
                <a16:creationId xmlns:a16="http://schemas.microsoft.com/office/drawing/2014/main" id="{9FAB62EA-ACFC-A970-4313-0F61A683595F}"/>
              </a:ext>
            </a:extLst>
          </p:cNvPr>
          <p:cNvSpPr>
            <a:spLocks noGrp="1"/>
          </p:cNvSpPr>
          <p:nvPr>
            <p:ph type="ftr" sz="quarter" idx="11"/>
          </p:nvPr>
        </p:nvSpPr>
        <p:spPr/>
        <p:txBody>
          <a:bodyPr/>
          <a:lstStyle/>
          <a:p>
            <a:pPr>
              <a:defRPr/>
            </a:pPr>
            <a:endParaRPr lang="af-ZA">
              <a:solidFill>
                <a:srgbClr val="000000"/>
              </a:solidFill>
              <a:latin typeface="Arial Nova Light"/>
            </a:endParaRPr>
          </a:p>
        </p:txBody>
      </p:sp>
      <p:sp>
        <p:nvSpPr>
          <p:cNvPr id="4" name="Slide Number Placeholder 3">
            <a:extLst>
              <a:ext uri="{FF2B5EF4-FFF2-40B4-BE49-F238E27FC236}">
                <a16:creationId xmlns:a16="http://schemas.microsoft.com/office/drawing/2014/main" id="{E4108450-FAA4-1B58-3B89-0E1CCCE06821}"/>
              </a:ext>
            </a:extLst>
          </p:cNvPr>
          <p:cNvSpPr>
            <a:spLocks noGrp="1"/>
          </p:cNvSpPr>
          <p:nvPr>
            <p:ph type="sldNum" sz="quarter" idx="12"/>
          </p:nvPr>
        </p:nvSpPr>
        <p:spPr/>
        <p:txBody>
          <a:bodyPr/>
          <a:lstStyle/>
          <a:p>
            <a:pPr>
              <a:defRPr/>
            </a:pPr>
            <a:fld id="{CE9217F8-2013-4D97-8E96-94DD82EC3651}" type="slidenum">
              <a:rPr lang="af-ZA" smtClean="0">
                <a:solidFill>
                  <a:srgbClr val="000000"/>
                </a:solidFill>
                <a:latin typeface="Arial Nova Light"/>
              </a:rPr>
              <a:pPr>
                <a:defRPr/>
              </a:pPr>
              <a:t>10</a:t>
            </a:fld>
            <a:endParaRPr lang="af-ZA">
              <a:solidFill>
                <a:srgbClr val="000000"/>
              </a:solidFill>
              <a:latin typeface="Arial Nova Light"/>
            </a:endParaRPr>
          </a:p>
        </p:txBody>
      </p:sp>
      <p:sp>
        <p:nvSpPr>
          <p:cNvPr id="5" name="Text Placeholder 4">
            <a:extLst>
              <a:ext uri="{FF2B5EF4-FFF2-40B4-BE49-F238E27FC236}">
                <a16:creationId xmlns:a16="http://schemas.microsoft.com/office/drawing/2014/main" id="{75BC1652-A68F-BE4C-3001-898DD5E05058}"/>
              </a:ext>
            </a:extLst>
          </p:cNvPr>
          <p:cNvSpPr>
            <a:spLocks noGrp="1"/>
          </p:cNvSpPr>
          <p:nvPr>
            <p:ph type="body" sz="quarter" idx="13"/>
          </p:nvPr>
        </p:nvSpPr>
        <p:spPr>
          <a:xfrm>
            <a:off x="132608" y="719333"/>
            <a:ext cx="8424863" cy="3533365"/>
          </a:xfrm>
        </p:spPr>
        <p:txBody>
          <a:bodyPr vert="horz" wrap="square" lIns="68580" tIns="34290" rIns="68580" bIns="34290" rtlCol="0" anchor="t">
            <a:noAutofit/>
          </a:bodyPr>
          <a:lstStyle/>
          <a:p>
            <a:pPr marL="134779" lvl="1" indent="0">
              <a:buNone/>
            </a:pPr>
            <a:r>
              <a:rPr lang="af-ZA" sz="1800" b="1" dirty="0"/>
              <a:t>Tesin sijoitustoimintaa suunnataan uudelleen kasvun vauhdittamiseksi osana teollisuuspolitiikkaa, yhteistyössä yksityisten rahoittajien kanssa markkinakysyntä ja –tarjonta huomioiden. Laatu edellä, ei volyymi. Tesi ei syrjäytä yksityisiä sijoittajia.</a:t>
            </a:r>
            <a:endParaRPr lang="af-ZA" sz="1600" dirty="0"/>
          </a:p>
          <a:p>
            <a:pPr marL="539813" lvl="3" indent="-134779"/>
            <a:r>
              <a:rPr lang="af-ZA" sz="1600" dirty="0">
                <a:solidFill>
                  <a:schemeClr val="tx1"/>
                </a:solidFill>
                <a:latin typeface="+mj-lt"/>
                <a:ea typeface="Aptos" panose="020B0004020202020204" pitchFamily="34" charset="0"/>
                <a:cs typeface="Times New Roman" panose="02020603050405020304" pitchFamily="18" charset="0"/>
              </a:rPr>
              <a:t>Tavoitteena, että Tesin noin 1,8 mrd panoksella yhteistyössä muiden rahoittajien kanssa mahdollistaa noin 12 mrd lisärahoitus suomalaisten yritysten investointeihin ja kasvuun vuosina 2025-2029. Myönteinen signaali elinkeinoelämälle.</a:t>
            </a:r>
          </a:p>
          <a:p>
            <a:pPr marL="539813" lvl="3" indent="-134779"/>
            <a:r>
              <a:rPr lang="af-ZA" sz="1600" dirty="0">
                <a:solidFill>
                  <a:schemeClr val="tx1"/>
                </a:solidFill>
              </a:rPr>
              <a:t>Yhtiö kaksinkertaistaa koko sijoitusvolyyminsa kasvun vauhdittamiseksi.</a:t>
            </a:r>
          </a:p>
          <a:p>
            <a:pPr marL="539813" lvl="3" indent="-134779"/>
            <a:r>
              <a:rPr lang="af-ZA" sz="1600" dirty="0">
                <a:solidFill>
                  <a:schemeClr val="tx1"/>
                </a:solidFill>
                <a:latin typeface="+mj-lt"/>
              </a:rPr>
              <a:t>Tesi moninkertaistaa suorien sijoituksien volyyminsa – nopea, kohdennettu vaikuttavuus. Mm. 300 milj. Kasvu-sijoitusohjelma (kevään 2024 kehysriihi).</a:t>
            </a:r>
          </a:p>
          <a:p>
            <a:pPr marL="539813" lvl="3" indent="-134779"/>
            <a:r>
              <a:rPr lang="af-ZA" sz="1600" dirty="0">
                <a:solidFill>
                  <a:schemeClr val="tx1"/>
                </a:solidFill>
                <a:latin typeface="+mj-lt"/>
              </a:rPr>
              <a:t>Myös rahastosijoitusten volyymi kasvaa, mutta huomattavasti maltillisemmin.</a:t>
            </a:r>
            <a:endParaRPr lang="af-ZA" sz="1600" b="1" dirty="0">
              <a:solidFill>
                <a:schemeClr val="tx1"/>
              </a:solidFill>
              <a:latin typeface="+mj-lt"/>
              <a:ea typeface="Aptos" panose="020B0004020202020204" pitchFamily="34" charset="0"/>
              <a:cs typeface="Times New Roman" panose="02020603050405020304" pitchFamily="18" charset="0"/>
            </a:endParaRPr>
          </a:p>
          <a:p>
            <a:pPr marL="405034" lvl="3" indent="0">
              <a:buNone/>
            </a:pPr>
            <a:r>
              <a:rPr lang="af-ZA" sz="1800" b="1" dirty="0">
                <a:solidFill>
                  <a:schemeClr val="tx1"/>
                </a:solidFill>
                <a:latin typeface="+mj-lt"/>
                <a:ea typeface="Aptos" panose="020B0004020202020204" pitchFamily="34" charset="0"/>
                <a:cs typeface="Times New Roman" panose="02020603050405020304" pitchFamily="18" charset="0"/>
              </a:rPr>
              <a:t>Sijoitusallokaatio joustaa ja elää markkinoiden mukaan – valitaan paras keino/keinovalikoima.  Rahastosijoitusten osuus voi kasvaa. Yksityiset rahoittajat keskiössä jatkossakin.</a:t>
            </a:r>
          </a:p>
          <a:p>
            <a:pPr marL="134779" lvl="1" indent="0">
              <a:buNone/>
            </a:pPr>
            <a:endParaRPr lang="af-ZA" dirty="0"/>
          </a:p>
        </p:txBody>
      </p:sp>
    </p:spTree>
    <p:extLst>
      <p:ext uri="{BB962C8B-B14F-4D97-AF65-F5344CB8AC3E}">
        <p14:creationId xmlns:p14="http://schemas.microsoft.com/office/powerpoint/2010/main" val="1069008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3A3CDAC-7107-E79C-BD99-49D31B066558}"/>
              </a:ext>
            </a:extLst>
          </p:cNvPr>
          <p:cNvSpPr>
            <a:spLocks noGrp="1"/>
          </p:cNvSpPr>
          <p:nvPr>
            <p:ph type="title"/>
          </p:nvPr>
        </p:nvSpPr>
        <p:spPr>
          <a:xfrm>
            <a:off x="247650" y="-106060"/>
            <a:ext cx="8077200" cy="896748"/>
          </a:xfrm>
        </p:spPr>
        <p:txBody>
          <a:bodyPr>
            <a:normAutofit/>
          </a:bodyPr>
          <a:lstStyle/>
          <a:p>
            <a:r>
              <a:rPr lang="af-ZA" sz="2800" b="1" dirty="0">
                <a:cs typeface="Helvetica"/>
              </a:rPr>
              <a:t>TEM:n ehdotus Tesin sijoitusstrategiaksi 2/4</a:t>
            </a:r>
            <a:endParaRPr lang="fi-FI" dirty="0"/>
          </a:p>
        </p:txBody>
      </p:sp>
      <p:sp>
        <p:nvSpPr>
          <p:cNvPr id="3" name="Sisällön paikkamerkki 2">
            <a:extLst>
              <a:ext uri="{FF2B5EF4-FFF2-40B4-BE49-F238E27FC236}">
                <a16:creationId xmlns:a16="http://schemas.microsoft.com/office/drawing/2014/main" id="{FB1CE154-04BA-E7A6-C793-8F7C7FD19746}"/>
              </a:ext>
            </a:extLst>
          </p:cNvPr>
          <p:cNvSpPr>
            <a:spLocks noGrp="1"/>
          </p:cNvSpPr>
          <p:nvPr>
            <p:ph idx="1"/>
          </p:nvPr>
        </p:nvSpPr>
        <p:spPr>
          <a:xfrm>
            <a:off x="-215901" y="844550"/>
            <a:ext cx="8654091" cy="4196239"/>
          </a:xfrm>
        </p:spPr>
        <p:txBody>
          <a:bodyPr>
            <a:noAutofit/>
          </a:bodyPr>
          <a:lstStyle/>
          <a:p>
            <a:pPr marL="405034" lvl="3" indent="0">
              <a:buNone/>
            </a:pPr>
            <a:endParaRPr lang="af-ZA" b="1" dirty="0">
              <a:solidFill>
                <a:schemeClr val="tx1"/>
              </a:solidFill>
              <a:latin typeface="+mj-lt"/>
              <a:ea typeface="Aptos" panose="020B0004020202020204" pitchFamily="34" charset="0"/>
              <a:cs typeface="Times New Roman" panose="02020603050405020304" pitchFamily="18" charset="0"/>
            </a:endParaRPr>
          </a:p>
          <a:p>
            <a:pPr marL="405034" lvl="3" indent="0">
              <a:buNone/>
            </a:pPr>
            <a:r>
              <a:rPr lang="af-ZA" sz="1400" dirty="0">
                <a:solidFill>
                  <a:schemeClr val="tx1"/>
                </a:solidFill>
                <a:latin typeface="+mj-lt"/>
                <a:ea typeface="Aptos" panose="020B0004020202020204" pitchFamily="34" charset="0"/>
                <a:cs typeface="Times New Roman" panose="02020603050405020304" pitchFamily="18" charset="0"/>
              </a:rPr>
              <a:t>Yhtiö voi tehdä jatkossa entistä suurempia yksittäisiä suoria tai rahastosijoituksia yhdessä yks.sijoittajien kanssa. Tämä parantaa osaltaan kasvuyritysten rahoitustarjontaa ja vahvistaa kotimaista omistajuutta. Kotimainen ja kansainvälinen omistajuus täydentävät ja monipuolistavat rahoitusta ja avaavat mahdollisuuksia yrityksille eri vaiheissa ja erilaisiin tarpeisiin.</a:t>
            </a:r>
          </a:p>
          <a:p>
            <a:pPr marL="405034" lvl="3" indent="0">
              <a:buNone/>
            </a:pPr>
            <a:endParaRPr lang="af-ZA" sz="1400" dirty="0">
              <a:solidFill>
                <a:schemeClr val="tx1"/>
              </a:solidFill>
              <a:latin typeface="+mj-lt"/>
              <a:ea typeface="Aptos" panose="020B0004020202020204" pitchFamily="34" charset="0"/>
              <a:cs typeface="Times New Roman" panose="02020603050405020304" pitchFamily="18" charset="0"/>
            </a:endParaRPr>
          </a:p>
          <a:p>
            <a:pPr marL="405034" lvl="3" indent="0">
              <a:buNone/>
            </a:pPr>
            <a:r>
              <a:rPr lang="af-ZA" sz="1400" dirty="0">
                <a:solidFill>
                  <a:schemeClr val="tx1"/>
                </a:solidFill>
                <a:latin typeface="+mj-lt"/>
                <a:ea typeface="Aptos" panose="020B0004020202020204" pitchFamily="34" charset="0"/>
                <a:cs typeface="Times New Roman" panose="02020603050405020304" pitchFamily="18" charset="0"/>
              </a:rPr>
              <a:t>Tesi aloittaa kokonaan uuden teollisten investointien sijoituslinjan yhteistyössä yksityisten sijoittajien ja kanssarahoittajien kanssa. </a:t>
            </a:r>
            <a:endParaRPr lang="fi-FI" sz="1400" b="1" dirty="0">
              <a:solidFill>
                <a:schemeClr val="tx1"/>
              </a:solidFill>
              <a:latin typeface="+mj-lt"/>
              <a:ea typeface="Aptos" panose="020B0004020202020204" pitchFamily="34" charset="0"/>
              <a:cs typeface="Times New Roman" panose="02020603050405020304" pitchFamily="18" charset="0"/>
            </a:endParaRPr>
          </a:p>
          <a:p>
            <a:pPr marL="405034" lvl="3" indent="0">
              <a:buNone/>
            </a:pPr>
            <a:endParaRPr lang="fi-FI" sz="1400" dirty="0"/>
          </a:p>
          <a:p>
            <a:pPr marL="405034" lvl="3" indent="0">
              <a:buNone/>
            </a:pPr>
            <a:r>
              <a:rPr lang="fi-FI" sz="1400" dirty="0" err="1"/>
              <a:t>Tesillä</a:t>
            </a:r>
            <a:r>
              <a:rPr lang="fi-FI" sz="1400" dirty="0"/>
              <a:t> on mahdollisuus poikkeuksellisissa tilanteissa toimia </a:t>
            </a:r>
            <a:r>
              <a:rPr lang="fi-FI" sz="1400" dirty="0" err="1"/>
              <a:t>lead</a:t>
            </a:r>
            <a:r>
              <a:rPr lang="fi-FI" sz="1400" dirty="0"/>
              <a:t> -sijoittajana, jos yksityistä sijoittajaa ei löydy. Tesi väistyy heti, kun yksityinen </a:t>
            </a:r>
            <a:r>
              <a:rPr lang="fi-FI" sz="1400" dirty="0" err="1"/>
              <a:t>lead</a:t>
            </a:r>
            <a:r>
              <a:rPr lang="fi-FI" sz="1400" dirty="0"/>
              <a:t>-sijoittaja löytyy. Tesi toimii markkinaehtoisesti myös </a:t>
            </a:r>
            <a:r>
              <a:rPr lang="fi-FI" sz="1400" dirty="0" err="1"/>
              <a:t>lead</a:t>
            </a:r>
            <a:r>
              <a:rPr lang="fi-FI" sz="1400" dirty="0"/>
              <a:t> –sijoittajaroolissa.</a:t>
            </a:r>
          </a:p>
          <a:p>
            <a:pPr marL="405034" lvl="3" indent="0">
              <a:buNone/>
            </a:pPr>
            <a:endParaRPr lang="af-ZA" sz="1400" dirty="0">
              <a:solidFill>
                <a:schemeClr val="tx1"/>
              </a:solidFill>
              <a:cs typeface="Times New Roman" panose="02020603050405020304" pitchFamily="18" charset="0"/>
            </a:endParaRPr>
          </a:p>
          <a:p>
            <a:pPr marL="405034" lvl="3" indent="0">
              <a:buNone/>
            </a:pPr>
            <a:r>
              <a:rPr lang="af-ZA" sz="1400" dirty="0">
                <a:solidFill>
                  <a:schemeClr val="tx1"/>
                </a:solidFill>
                <a:cs typeface="Times New Roman" panose="02020603050405020304" pitchFamily="18" charset="0"/>
              </a:rPr>
              <a:t>Yhtiö kohdistaa rahastosijoitukset aiempaa selektiivisemmin niihin rahastoihin, joilla on kyky menestyä ja kasvaa kokonaan uuteen kansainvälisen tason kokoluokkaan omassa kategoriassaan.  Markkinapuutteet/kapeikot sekä yhtiölle asetetut strategiset tavoitteet näkyvät uusissa rahastosijoituksissa.</a:t>
            </a:r>
          </a:p>
          <a:p>
            <a:pPr marL="405034" lvl="3" indent="0">
              <a:buNone/>
            </a:pPr>
            <a:endParaRPr lang="af-ZA" sz="1400" kern="100" dirty="0">
              <a:solidFill>
                <a:schemeClr val="tx1"/>
              </a:solidFill>
              <a:ea typeface="Aptos" panose="020B0004020202020204" pitchFamily="34" charset="0"/>
              <a:cs typeface="Times New Roman" panose="02020603050405020304" pitchFamily="18" charset="0"/>
            </a:endParaRPr>
          </a:p>
          <a:p>
            <a:pPr marL="405034" lvl="3" indent="0">
              <a:buNone/>
            </a:pPr>
            <a:endParaRPr lang="af-ZA" sz="1400" kern="100" dirty="0">
              <a:solidFill>
                <a:schemeClr val="tx1"/>
              </a:solidFill>
              <a:latin typeface="+mj-lt"/>
              <a:ea typeface="Aptos" panose="020B0004020202020204" pitchFamily="34" charset="0"/>
              <a:cs typeface="Times New Roman"/>
            </a:endParaRPr>
          </a:p>
          <a:p>
            <a:pPr marL="405034" lvl="3" indent="0">
              <a:buNone/>
            </a:pPr>
            <a:endParaRPr lang="af-ZA" dirty="0">
              <a:solidFill>
                <a:schemeClr val="tx1"/>
              </a:solidFill>
              <a:cs typeface="Times New Roman" panose="02020603050405020304" pitchFamily="18" charset="0"/>
            </a:endParaRPr>
          </a:p>
        </p:txBody>
      </p:sp>
      <p:sp>
        <p:nvSpPr>
          <p:cNvPr id="4" name="Alatunnisteen paikkamerkki 3">
            <a:extLst>
              <a:ext uri="{FF2B5EF4-FFF2-40B4-BE49-F238E27FC236}">
                <a16:creationId xmlns:a16="http://schemas.microsoft.com/office/drawing/2014/main" id="{30B147B8-B1B4-E2D9-5ADC-5FDCD484CD27}"/>
              </a:ext>
            </a:extLst>
          </p:cNvPr>
          <p:cNvSpPr>
            <a:spLocks noGrp="1"/>
          </p:cNvSpPr>
          <p:nvPr>
            <p:ph type="ftr" sz="quarter" idx="11"/>
          </p:nvPr>
        </p:nvSpPr>
        <p:spPr/>
        <p:txBody>
          <a:bodyPr/>
          <a:lstStyle/>
          <a:p>
            <a:r>
              <a:rPr lang="af-ZA"/>
              <a:t>Työ- ja elinkeinoministeriö • www.tem.fi</a:t>
            </a:r>
          </a:p>
        </p:txBody>
      </p:sp>
      <p:sp>
        <p:nvSpPr>
          <p:cNvPr id="5" name="Päivämäärän paikkamerkki 4">
            <a:extLst>
              <a:ext uri="{FF2B5EF4-FFF2-40B4-BE49-F238E27FC236}">
                <a16:creationId xmlns:a16="http://schemas.microsoft.com/office/drawing/2014/main" id="{63AF941A-E712-E48B-D1B4-613349C39627}"/>
              </a:ext>
            </a:extLst>
          </p:cNvPr>
          <p:cNvSpPr>
            <a:spLocks noGrp="1"/>
          </p:cNvSpPr>
          <p:nvPr>
            <p:ph type="dt" sz="half" idx="10"/>
          </p:nvPr>
        </p:nvSpPr>
        <p:spPr/>
        <p:txBody>
          <a:bodyPr/>
          <a:lstStyle/>
          <a:p>
            <a:fld id="{CF0B024A-9348-8F4E-84E6-1AC861A3D50B}" type="datetime1">
              <a:rPr lang="af-ZA" smtClean="0"/>
              <a:pPr/>
              <a:t>2024-12-09</a:t>
            </a:fld>
            <a:endParaRPr lang="af-ZA"/>
          </a:p>
        </p:txBody>
      </p:sp>
      <p:sp>
        <p:nvSpPr>
          <p:cNvPr id="6" name="Dian numeron paikkamerkki 5">
            <a:extLst>
              <a:ext uri="{FF2B5EF4-FFF2-40B4-BE49-F238E27FC236}">
                <a16:creationId xmlns:a16="http://schemas.microsoft.com/office/drawing/2014/main" id="{E5584826-9888-4957-2C44-518A0140E47E}"/>
              </a:ext>
            </a:extLst>
          </p:cNvPr>
          <p:cNvSpPr>
            <a:spLocks noGrp="1"/>
          </p:cNvSpPr>
          <p:nvPr>
            <p:ph type="sldNum" sz="quarter" idx="12"/>
          </p:nvPr>
        </p:nvSpPr>
        <p:spPr/>
        <p:txBody>
          <a:bodyPr/>
          <a:lstStyle/>
          <a:p>
            <a:fld id="{3065C9E5-8AC3-DF4B-BA99-CB03B9370A98}" type="slidenum">
              <a:rPr lang="af-ZA" smtClean="0"/>
              <a:pPr/>
              <a:t>11</a:t>
            </a:fld>
            <a:endParaRPr lang="af-ZA"/>
          </a:p>
        </p:txBody>
      </p:sp>
    </p:spTree>
    <p:extLst>
      <p:ext uri="{BB962C8B-B14F-4D97-AF65-F5344CB8AC3E}">
        <p14:creationId xmlns:p14="http://schemas.microsoft.com/office/powerpoint/2010/main" val="8434880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FF849E1-CFBF-1888-EB3B-4E96D75CA0C7}"/>
              </a:ext>
            </a:extLst>
          </p:cNvPr>
          <p:cNvSpPr>
            <a:spLocks noGrp="1"/>
          </p:cNvSpPr>
          <p:nvPr>
            <p:ph type="title"/>
          </p:nvPr>
        </p:nvSpPr>
        <p:spPr>
          <a:xfrm>
            <a:off x="558800" y="194320"/>
            <a:ext cx="7203017" cy="746936"/>
          </a:xfrm>
        </p:spPr>
        <p:txBody>
          <a:bodyPr/>
          <a:lstStyle/>
          <a:p>
            <a:r>
              <a:rPr lang="af-ZA" sz="2400" b="1" dirty="0">
                <a:cs typeface="Helvetica"/>
              </a:rPr>
              <a:t>TEM:n ehdotus Tesin sijoitusstrategiaksi 3/4</a:t>
            </a:r>
            <a:endParaRPr lang="fi-FI" dirty="0"/>
          </a:p>
        </p:txBody>
      </p:sp>
      <p:sp>
        <p:nvSpPr>
          <p:cNvPr id="3" name="Sisällön paikkamerkki 2">
            <a:extLst>
              <a:ext uri="{FF2B5EF4-FFF2-40B4-BE49-F238E27FC236}">
                <a16:creationId xmlns:a16="http://schemas.microsoft.com/office/drawing/2014/main" id="{1025A2CE-CDED-27CB-797B-8336CD7E8387}"/>
              </a:ext>
            </a:extLst>
          </p:cNvPr>
          <p:cNvSpPr>
            <a:spLocks noGrp="1"/>
          </p:cNvSpPr>
          <p:nvPr>
            <p:ph idx="1"/>
          </p:nvPr>
        </p:nvSpPr>
        <p:spPr>
          <a:xfrm>
            <a:off x="120650" y="941256"/>
            <a:ext cx="7951258" cy="3557720"/>
          </a:xfrm>
        </p:spPr>
        <p:txBody>
          <a:bodyPr/>
          <a:lstStyle/>
          <a:p>
            <a:pPr marL="405034" lvl="3" indent="0">
              <a:buNone/>
            </a:pPr>
            <a:endParaRPr lang="af-ZA" kern="100" dirty="0">
              <a:solidFill>
                <a:schemeClr val="tx1"/>
              </a:solidFill>
              <a:latin typeface="+mj-lt"/>
              <a:ea typeface="Aptos" panose="020B0004020202020204" pitchFamily="34" charset="0"/>
              <a:cs typeface="Times New Roman"/>
            </a:endParaRPr>
          </a:p>
          <a:p>
            <a:pPr marL="405034" lvl="3" indent="0">
              <a:buNone/>
            </a:pPr>
            <a:r>
              <a:rPr lang="af-ZA" sz="1400" kern="100" dirty="0">
                <a:solidFill>
                  <a:schemeClr val="tx1"/>
                </a:solidFill>
                <a:ea typeface="Aptos" panose="020B0004020202020204" pitchFamily="34" charset="0"/>
                <a:cs typeface="Times New Roman" panose="02020603050405020304" pitchFamily="18" charset="0"/>
              </a:rPr>
              <a:t>Tesi kehittää uudenlaisia ja monipuolisia rahoitusratkaisuja yhdessä yksityisten toimijoiden kanssa yritysten kasvuun. Tehostetaan EU-rahoituksen hyödyntämistä. Verkostoidaan suomalaisia rahastoja/hallinnointiyhtiöitä ja Tesin kumppaneita aikaisempaa systemaattisemmin.</a:t>
            </a:r>
          </a:p>
          <a:p>
            <a:pPr marL="405034" lvl="3" indent="0">
              <a:buNone/>
            </a:pPr>
            <a:endParaRPr lang="af-ZA" sz="1400" kern="100" dirty="0">
              <a:solidFill>
                <a:schemeClr val="tx1"/>
              </a:solidFill>
              <a:latin typeface="+mj-lt"/>
              <a:ea typeface="Aptos" panose="020B0004020202020204" pitchFamily="34" charset="0"/>
              <a:cs typeface="Times New Roman" panose="02020603050405020304" pitchFamily="18" charset="0"/>
            </a:endParaRPr>
          </a:p>
          <a:p>
            <a:pPr marL="405034" lvl="3" indent="0">
              <a:buNone/>
            </a:pPr>
            <a:r>
              <a:rPr lang="af-ZA" sz="1400" kern="100" dirty="0">
                <a:solidFill>
                  <a:schemeClr val="tx1"/>
                </a:solidFill>
                <a:latin typeface="+mj-lt"/>
                <a:ea typeface="Aptos" panose="020B0004020202020204" pitchFamily="34" charset="0"/>
                <a:cs typeface="Times New Roman" panose="02020603050405020304" pitchFamily="18" charset="0"/>
              </a:rPr>
              <a:t>Yhtiö ottaa toiminnassaan huomioon uuden sijoitusstrategian tehokkaan ja vaikuttavan toimeenpanon.Tesi vahvistaa ja rakentaa eri keinoin uusissa tehtävissä tarvittavaa asiantuntemusta, verkostoja ja rahoitusmalleja yhteistyössä yksityisten toimijoiden kanssa. </a:t>
            </a:r>
            <a:endParaRPr lang="af-ZA" sz="1400" dirty="0"/>
          </a:p>
          <a:p>
            <a:pPr marL="405034" lvl="3" indent="0">
              <a:buNone/>
            </a:pPr>
            <a:endParaRPr lang="af-ZA" sz="1400" kern="100" dirty="0">
              <a:solidFill>
                <a:schemeClr val="tx1"/>
              </a:solidFill>
              <a:latin typeface="+mj-lt"/>
              <a:ea typeface="Aptos" panose="020B0004020202020204" pitchFamily="34" charset="0"/>
              <a:cs typeface="Times New Roman"/>
            </a:endParaRPr>
          </a:p>
          <a:p>
            <a:pPr marL="405034" lvl="3" indent="0">
              <a:buNone/>
            </a:pPr>
            <a:r>
              <a:rPr lang="af-ZA" sz="1400" kern="100" dirty="0">
                <a:solidFill>
                  <a:schemeClr val="tx1"/>
                </a:solidFill>
                <a:latin typeface="+mj-lt"/>
                <a:ea typeface="Aptos" panose="020B0004020202020204" pitchFamily="34" charset="0"/>
                <a:cs typeface="Times New Roman"/>
              </a:rPr>
              <a:t>Tesi vahvistaa yhteistyötä ja rajapintaa muiden julkisten rahoittajien kanssa (yhteinen näkymä, painopistealueet ja yhteistyömallit).</a:t>
            </a:r>
            <a:r>
              <a:rPr lang="af-ZA" sz="1400" dirty="0">
                <a:solidFill>
                  <a:schemeClr val="tx1"/>
                </a:solidFill>
                <a:cs typeface="Times New Roman" panose="02020603050405020304" pitchFamily="18" charset="0"/>
              </a:rPr>
              <a:t> </a:t>
            </a:r>
          </a:p>
          <a:p>
            <a:pPr marL="405034" lvl="3" indent="0">
              <a:buNone/>
            </a:pPr>
            <a:endParaRPr lang="af-ZA" sz="1400" dirty="0">
              <a:solidFill>
                <a:schemeClr val="tx1"/>
              </a:solidFill>
              <a:cs typeface="Times New Roman" panose="02020603050405020304" pitchFamily="18" charset="0"/>
            </a:endParaRPr>
          </a:p>
          <a:p>
            <a:pPr marL="405034" lvl="3" indent="0">
              <a:buNone/>
            </a:pPr>
            <a:r>
              <a:rPr lang="af-ZA" sz="1400" dirty="0">
                <a:solidFill>
                  <a:schemeClr val="tx1"/>
                </a:solidFill>
                <a:cs typeface="Times New Roman" panose="02020603050405020304" pitchFamily="18" charset="0"/>
              </a:rPr>
              <a:t>Tulevia sijoitustoiminnan painopistealueita voivat olla esim. syväteknologia ja kaksikäyttö/puolustus, avaruusteknologia, kyberturvallisuus, kvantti ja tekoäly, biopohjaiset ratkaisut ja uudet materiaalit, energiamurros ja puhdas ja digitaalinen siirtymä.</a:t>
            </a:r>
            <a:endParaRPr lang="af-ZA" sz="1400" dirty="0">
              <a:solidFill>
                <a:schemeClr val="tx1"/>
              </a:solidFill>
              <a:highlight>
                <a:srgbClr val="FFFF00"/>
              </a:highlight>
              <a:cs typeface="Times New Roman" panose="02020603050405020304" pitchFamily="18" charset="0"/>
            </a:endParaRPr>
          </a:p>
        </p:txBody>
      </p:sp>
      <p:sp>
        <p:nvSpPr>
          <p:cNvPr id="4" name="Alatunnisteen paikkamerkki 3">
            <a:extLst>
              <a:ext uri="{FF2B5EF4-FFF2-40B4-BE49-F238E27FC236}">
                <a16:creationId xmlns:a16="http://schemas.microsoft.com/office/drawing/2014/main" id="{5652F5FD-B00B-25ED-D95B-8E48E6DFC4AD}"/>
              </a:ext>
            </a:extLst>
          </p:cNvPr>
          <p:cNvSpPr>
            <a:spLocks noGrp="1"/>
          </p:cNvSpPr>
          <p:nvPr>
            <p:ph type="ftr" sz="quarter" idx="11"/>
          </p:nvPr>
        </p:nvSpPr>
        <p:spPr/>
        <p:txBody>
          <a:bodyPr/>
          <a:lstStyle/>
          <a:p>
            <a:r>
              <a:rPr lang="af-ZA"/>
              <a:t>Työ- ja elinkeinoministeriö • www.tem.fi</a:t>
            </a:r>
          </a:p>
        </p:txBody>
      </p:sp>
      <p:sp>
        <p:nvSpPr>
          <p:cNvPr id="5" name="Päivämäärän paikkamerkki 4">
            <a:extLst>
              <a:ext uri="{FF2B5EF4-FFF2-40B4-BE49-F238E27FC236}">
                <a16:creationId xmlns:a16="http://schemas.microsoft.com/office/drawing/2014/main" id="{E0FEAC6A-297C-2F03-57BF-24CACF49209C}"/>
              </a:ext>
            </a:extLst>
          </p:cNvPr>
          <p:cNvSpPr>
            <a:spLocks noGrp="1"/>
          </p:cNvSpPr>
          <p:nvPr>
            <p:ph type="dt" sz="half" idx="10"/>
          </p:nvPr>
        </p:nvSpPr>
        <p:spPr/>
        <p:txBody>
          <a:bodyPr/>
          <a:lstStyle/>
          <a:p>
            <a:fld id="{CF0B024A-9348-8F4E-84E6-1AC861A3D50B}" type="datetime1">
              <a:rPr lang="af-ZA" smtClean="0"/>
              <a:pPr/>
              <a:t>2024-12-09</a:t>
            </a:fld>
            <a:endParaRPr lang="af-ZA"/>
          </a:p>
        </p:txBody>
      </p:sp>
      <p:sp>
        <p:nvSpPr>
          <p:cNvPr id="6" name="Dian numeron paikkamerkki 5">
            <a:extLst>
              <a:ext uri="{FF2B5EF4-FFF2-40B4-BE49-F238E27FC236}">
                <a16:creationId xmlns:a16="http://schemas.microsoft.com/office/drawing/2014/main" id="{D41B46D6-FAB2-873E-C6FC-2A602664E339}"/>
              </a:ext>
            </a:extLst>
          </p:cNvPr>
          <p:cNvSpPr>
            <a:spLocks noGrp="1"/>
          </p:cNvSpPr>
          <p:nvPr>
            <p:ph type="sldNum" sz="quarter" idx="12"/>
          </p:nvPr>
        </p:nvSpPr>
        <p:spPr/>
        <p:txBody>
          <a:bodyPr/>
          <a:lstStyle/>
          <a:p>
            <a:fld id="{3065C9E5-8AC3-DF4B-BA99-CB03B9370A98}" type="slidenum">
              <a:rPr lang="af-ZA" smtClean="0"/>
              <a:pPr/>
              <a:t>12</a:t>
            </a:fld>
            <a:endParaRPr lang="af-ZA"/>
          </a:p>
        </p:txBody>
      </p:sp>
    </p:spTree>
    <p:extLst>
      <p:ext uri="{BB962C8B-B14F-4D97-AF65-F5344CB8AC3E}">
        <p14:creationId xmlns:p14="http://schemas.microsoft.com/office/powerpoint/2010/main" val="465997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2D67CB4-5CDB-CCB8-499C-E197F316D3C3}"/>
              </a:ext>
            </a:extLst>
          </p:cNvPr>
          <p:cNvSpPr>
            <a:spLocks noGrp="1"/>
          </p:cNvSpPr>
          <p:nvPr>
            <p:ph type="title"/>
          </p:nvPr>
        </p:nvSpPr>
        <p:spPr>
          <a:xfrm>
            <a:off x="381000" y="103433"/>
            <a:ext cx="7476067" cy="649155"/>
          </a:xfrm>
        </p:spPr>
        <p:txBody>
          <a:bodyPr>
            <a:normAutofit fontScale="90000"/>
          </a:bodyPr>
          <a:lstStyle/>
          <a:p>
            <a:r>
              <a:rPr lang="fi-FI" dirty="0"/>
              <a:t>Keskeisimmät näkökohdat ja muutokset suhteessa työryhmän ehdotukseen 4/4</a:t>
            </a:r>
          </a:p>
        </p:txBody>
      </p:sp>
      <p:sp>
        <p:nvSpPr>
          <p:cNvPr id="3" name="Sisällön paikkamerkki 2">
            <a:extLst>
              <a:ext uri="{FF2B5EF4-FFF2-40B4-BE49-F238E27FC236}">
                <a16:creationId xmlns:a16="http://schemas.microsoft.com/office/drawing/2014/main" id="{F516D9C9-A13F-5D7C-229F-FCEE32245010}"/>
              </a:ext>
            </a:extLst>
          </p:cNvPr>
          <p:cNvSpPr>
            <a:spLocks noGrp="1"/>
          </p:cNvSpPr>
          <p:nvPr>
            <p:ph idx="1"/>
          </p:nvPr>
        </p:nvSpPr>
        <p:spPr>
          <a:xfrm>
            <a:off x="381000" y="874769"/>
            <a:ext cx="8216900" cy="3767081"/>
          </a:xfrm>
        </p:spPr>
        <p:txBody>
          <a:bodyPr>
            <a:normAutofit fontScale="92500" lnSpcReduction="20000"/>
          </a:bodyPr>
          <a:lstStyle/>
          <a:p>
            <a:pPr marL="0" indent="0">
              <a:buNone/>
            </a:pPr>
            <a:r>
              <a:rPr lang="fi-FI" b="1" dirty="0"/>
              <a:t>Myös työryhmän ehdotuksessa lähtökohtana oli, että Tesi toimii jatkossakin markkinaehtoisesti ja yhteistyössä yksityisten sijoittajien kanssa. Myös uudessa teollisuuspoliittisessa tehtävässä markkinatarvelähtöisyys ja laaja keinovalikoima korostuvat (ei volyymi).</a:t>
            </a:r>
          </a:p>
          <a:p>
            <a:pPr marL="0" indent="0">
              <a:buNone/>
            </a:pPr>
            <a:endParaRPr lang="fi-FI" b="1" dirty="0"/>
          </a:p>
          <a:p>
            <a:pPr marL="0" indent="0">
              <a:buNone/>
            </a:pPr>
            <a:r>
              <a:rPr lang="fi-FI" b="1" dirty="0"/>
              <a:t>Sijoitustoiminnan/allokaation jouston korostaminen eli markkinatarvelähtöisyys </a:t>
            </a:r>
          </a:p>
          <a:p>
            <a:pPr lvl="1"/>
            <a:r>
              <a:rPr lang="fi-FI" dirty="0"/>
              <a:t>markkinoiden kysynnän ja tarjonnan huomioiminen ml. suhdanteet </a:t>
            </a:r>
          </a:p>
          <a:p>
            <a:pPr lvl="1"/>
            <a:r>
              <a:rPr lang="fi-FI" dirty="0"/>
              <a:t>Tesi ei syrjäytä yksityistä rahaa, ei kilpaile hankkeista ja toimii markkinaehtoisesti.</a:t>
            </a:r>
          </a:p>
          <a:p>
            <a:pPr lvl="1"/>
            <a:r>
              <a:rPr lang="fi-FI" dirty="0"/>
              <a:t>laatu edellä/ei volyymi edellä. Lopullinen sijoitusallokaation toteuma elää ajassa ja markkinassa.</a:t>
            </a:r>
          </a:p>
          <a:p>
            <a:pPr marL="0" indent="0">
              <a:buNone/>
            </a:pPr>
            <a:endParaRPr lang="fi-FI" b="1" dirty="0"/>
          </a:p>
          <a:p>
            <a:pPr marL="0" indent="0">
              <a:buNone/>
            </a:pPr>
            <a:r>
              <a:rPr lang="fi-FI" b="1" dirty="0"/>
              <a:t>Tesi ei tee kategorisia poisrajauksia sijoitusvälineistä tai sijoituskohteista, vaan joustavuus ja tarve reagoida markkinoiden muutoksiin ja varmistaen, että sijoitukset edistävät yhtiölle asetettuja strategisia tavoitteita.</a:t>
            </a:r>
          </a:p>
          <a:p>
            <a:pPr lvl="1"/>
            <a:r>
              <a:rPr lang="fi-FI" dirty="0"/>
              <a:t>mahdollisuus tehdä selektiivisesti sijoituksia myös esim. 3. ja 4. rahastoon pienenevillä sijoituksilla, mikäli markkinapuute/kapeikko ja strategian mukainen –  samalla kannustetaan kuitenkin hallinnointitiimejä jo varhaisessa vaiheessa laajentamaan sijoittajajoukkoa myös </a:t>
            </a:r>
            <a:r>
              <a:rPr lang="fi-FI" dirty="0" err="1"/>
              <a:t>kv.sijoittajiin</a:t>
            </a:r>
            <a:r>
              <a:rPr lang="fi-FI" dirty="0"/>
              <a:t> (aikaa vievä prosessi).</a:t>
            </a:r>
          </a:p>
          <a:p>
            <a:pPr lvl="1"/>
            <a:r>
              <a:rPr lang="fi-FI" dirty="0"/>
              <a:t>mahdollisuus tehdä selektiivisesti sijoituksia kaikkiin rahastoluokkiin eli myös </a:t>
            </a:r>
            <a:r>
              <a:rPr lang="fi-FI" dirty="0" err="1"/>
              <a:t>buy</a:t>
            </a:r>
            <a:r>
              <a:rPr lang="fi-FI" dirty="0"/>
              <a:t>-out –rahastoihin, jos markkinapuute/kapeikko ja strategian mukainen</a:t>
            </a:r>
          </a:p>
          <a:p>
            <a:pPr lvl="1"/>
            <a:r>
              <a:rPr lang="fi-FI" dirty="0"/>
              <a:t>Tesi seuraa markkinoiden kehitystä ml. varainkeruumarkkina. Valtion erityistehtäväyhtiöllä jatkossakin vastasyklinen toiminta.</a:t>
            </a:r>
          </a:p>
          <a:p>
            <a:pPr lvl="1"/>
            <a:endParaRPr lang="fi-FI" dirty="0"/>
          </a:p>
        </p:txBody>
      </p:sp>
      <p:sp>
        <p:nvSpPr>
          <p:cNvPr id="4" name="Alatunnisteen paikkamerkki 3">
            <a:extLst>
              <a:ext uri="{FF2B5EF4-FFF2-40B4-BE49-F238E27FC236}">
                <a16:creationId xmlns:a16="http://schemas.microsoft.com/office/drawing/2014/main" id="{0E30EB56-AC24-771B-E4F5-470DA0624BBD}"/>
              </a:ext>
            </a:extLst>
          </p:cNvPr>
          <p:cNvSpPr>
            <a:spLocks noGrp="1"/>
          </p:cNvSpPr>
          <p:nvPr>
            <p:ph type="ftr" sz="quarter" idx="11"/>
          </p:nvPr>
        </p:nvSpPr>
        <p:spPr/>
        <p:txBody>
          <a:bodyPr/>
          <a:lstStyle/>
          <a:p>
            <a:r>
              <a:rPr lang="af-ZA"/>
              <a:t>Työ- ja elinkeinoministeriö • www.tem.fi</a:t>
            </a:r>
          </a:p>
        </p:txBody>
      </p:sp>
      <p:sp>
        <p:nvSpPr>
          <p:cNvPr id="5" name="Päivämäärän paikkamerkki 4">
            <a:extLst>
              <a:ext uri="{FF2B5EF4-FFF2-40B4-BE49-F238E27FC236}">
                <a16:creationId xmlns:a16="http://schemas.microsoft.com/office/drawing/2014/main" id="{189BE964-DBF7-CE1B-6CF2-9FF6028D7807}"/>
              </a:ext>
            </a:extLst>
          </p:cNvPr>
          <p:cNvSpPr>
            <a:spLocks noGrp="1"/>
          </p:cNvSpPr>
          <p:nvPr>
            <p:ph type="dt" sz="half" idx="10"/>
          </p:nvPr>
        </p:nvSpPr>
        <p:spPr/>
        <p:txBody>
          <a:bodyPr/>
          <a:lstStyle/>
          <a:p>
            <a:fld id="{CF0B024A-9348-8F4E-84E6-1AC861A3D50B}" type="datetime1">
              <a:rPr lang="af-ZA" smtClean="0"/>
              <a:pPr/>
              <a:t>2024-12-09</a:t>
            </a:fld>
            <a:endParaRPr lang="af-ZA"/>
          </a:p>
        </p:txBody>
      </p:sp>
      <p:sp>
        <p:nvSpPr>
          <p:cNvPr id="6" name="Dian numeron paikkamerkki 5">
            <a:extLst>
              <a:ext uri="{FF2B5EF4-FFF2-40B4-BE49-F238E27FC236}">
                <a16:creationId xmlns:a16="http://schemas.microsoft.com/office/drawing/2014/main" id="{0DE7AFDA-7898-4C78-D754-C5929E908F02}"/>
              </a:ext>
            </a:extLst>
          </p:cNvPr>
          <p:cNvSpPr>
            <a:spLocks noGrp="1"/>
          </p:cNvSpPr>
          <p:nvPr>
            <p:ph type="sldNum" sz="quarter" idx="12"/>
          </p:nvPr>
        </p:nvSpPr>
        <p:spPr/>
        <p:txBody>
          <a:bodyPr/>
          <a:lstStyle/>
          <a:p>
            <a:fld id="{3065C9E5-8AC3-DF4B-BA99-CB03B9370A98}" type="slidenum">
              <a:rPr lang="af-ZA" smtClean="0"/>
              <a:pPr/>
              <a:t>13</a:t>
            </a:fld>
            <a:endParaRPr lang="af-ZA"/>
          </a:p>
        </p:txBody>
      </p:sp>
    </p:spTree>
    <p:extLst>
      <p:ext uri="{BB962C8B-B14F-4D97-AF65-F5344CB8AC3E}">
        <p14:creationId xmlns:p14="http://schemas.microsoft.com/office/powerpoint/2010/main" val="19994714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6BA1E33-8441-24C8-0AD0-132B989367FC}"/>
              </a:ext>
            </a:extLst>
          </p:cNvPr>
          <p:cNvGraphicFramePr>
            <a:graphicFrameLocks noChangeAspect="1"/>
          </p:cNvGraphicFramePr>
          <p:nvPr>
            <p:custDataLst>
              <p:tags r:id="rId1"/>
            </p:custDataLst>
            <p:extLst>
              <p:ext uri="{D42A27DB-BD31-4B8C-83A1-F6EECF244321}">
                <p14:modId xmlns:p14="http://schemas.microsoft.com/office/powerpoint/2010/main" val="413140639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6" name="think-cell data - do not delete" hidden="1">
                        <a:extLst>
                          <a:ext uri="{FF2B5EF4-FFF2-40B4-BE49-F238E27FC236}">
                            <a16:creationId xmlns:a16="http://schemas.microsoft.com/office/drawing/2014/main" id="{96BA1E33-8441-24C8-0AD0-132B989367FC}"/>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Otsikko 1"/>
          <p:cNvSpPr>
            <a:spLocks noGrp="1"/>
          </p:cNvSpPr>
          <p:nvPr>
            <p:ph type="title"/>
          </p:nvPr>
        </p:nvSpPr>
        <p:spPr/>
        <p:txBody>
          <a:bodyPr vert="horz">
            <a:normAutofit/>
          </a:bodyPr>
          <a:lstStyle/>
          <a:p>
            <a:r>
              <a:rPr lang="af-ZA"/>
              <a:t>Tesin sijoitustoiminnan yleisperiaatteet</a:t>
            </a:r>
          </a:p>
        </p:txBody>
      </p:sp>
      <p:sp>
        <p:nvSpPr>
          <p:cNvPr id="5" name="Päivämäärän paikkamerkki 4"/>
          <p:cNvSpPr>
            <a:spLocks noGrp="1"/>
          </p:cNvSpPr>
          <p:nvPr>
            <p:ph type="dt" sz="half" idx="10"/>
          </p:nvPr>
        </p:nvSpPr>
        <p:spPr/>
        <p:txBody>
          <a:bodyPr/>
          <a:lstStyle/>
          <a:p>
            <a:pPr defTabSz="685783">
              <a:defRPr/>
            </a:pPr>
            <a:fld id="{CF0B024A-9348-8F4E-84E6-1AC861A3D50B}" type="datetime1">
              <a:rPr lang="af-ZA" smtClean="0">
                <a:solidFill>
                  <a:srgbClr val="DDBF8C"/>
                </a:solidFill>
                <a:latin typeface="Arial" panose="020B0604020202020204"/>
              </a:rPr>
              <a:pPr defTabSz="685783">
                <a:defRPr/>
              </a:pPr>
              <a:t>2024-12-09</a:t>
            </a:fld>
            <a:endParaRPr lang="af-ZA">
              <a:solidFill>
                <a:srgbClr val="DDBF8C"/>
              </a:solidFill>
              <a:latin typeface="Arial" panose="020B0604020202020204"/>
            </a:endParaRPr>
          </a:p>
        </p:txBody>
      </p:sp>
      <p:sp>
        <p:nvSpPr>
          <p:cNvPr id="4" name="Alatunnisteen paikkamerkki 3"/>
          <p:cNvSpPr>
            <a:spLocks noGrp="1"/>
          </p:cNvSpPr>
          <p:nvPr>
            <p:ph type="ftr" sz="quarter" idx="11"/>
          </p:nvPr>
        </p:nvSpPr>
        <p:spPr/>
        <p:txBody>
          <a:bodyPr/>
          <a:lstStyle/>
          <a:p>
            <a:pPr defTabSz="685783">
              <a:defRPr/>
            </a:pPr>
            <a:endParaRPr lang="af-ZA">
              <a:solidFill>
                <a:srgbClr val="DDBF8C"/>
              </a:solidFill>
              <a:latin typeface="Arial" panose="020B0604020202020204"/>
            </a:endParaRPr>
          </a:p>
        </p:txBody>
      </p:sp>
      <p:sp>
        <p:nvSpPr>
          <p:cNvPr id="6" name="Dian numeron paikkamerkki 5"/>
          <p:cNvSpPr>
            <a:spLocks noGrp="1"/>
          </p:cNvSpPr>
          <p:nvPr>
            <p:ph type="sldNum" sz="quarter" idx="12"/>
          </p:nvPr>
        </p:nvSpPr>
        <p:spPr/>
        <p:txBody>
          <a:bodyPr/>
          <a:lstStyle/>
          <a:p>
            <a:pPr defTabSz="685783">
              <a:defRPr/>
            </a:pPr>
            <a:fld id="{3065C9E5-8AC3-DF4B-BA99-CB03B9370A98}" type="slidenum">
              <a:rPr lang="af-ZA" smtClean="0">
                <a:solidFill>
                  <a:srgbClr val="DDBF8C"/>
                </a:solidFill>
                <a:latin typeface="Arial" panose="020B0604020202020204"/>
              </a:rPr>
              <a:pPr defTabSz="685783">
                <a:defRPr/>
              </a:pPr>
              <a:t>14</a:t>
            </a:fld>
            <a:endParaRPr lang="af-ZA">
              <a:solidFill>
                <a:srgbClr val="DDBF8C"/>
              </a:solidFill>
              <a:latin typeface="Arial" panose="020B0604020202020204"/>
            </a:endParaRPr>
          </a:p>
        </p:txBody>
      </p:sp>
      <p:grpSp>
        <p:nvGrpSpPr>
          <p:cNvPr id="25" name="Group 24">
            <a:extLst>
              <a:ext uri="{FF2B5EF4-FFF2-40B4-BE49-F238E27FC236}">
                <a16:creationId xmlns:a16="http://schemas.microsoft.com/office/drawing/2014/main" id="{718B80FE-3283-8997-0F95-70F79F3DCB4C}"/>
              </a:ext>
            </a:extLst>
          </p:cNvPr>
          <p:cNvGrpSpPr/>
          <p:nvPr/>
        </p:nvGrpSpPr>
        <p:grpSpPr>
          <a:xfrm>
            <a:off x="203202" y="889608"/>
            <a:ext cx="8738534" cy="3588279"/>
            <a:chOff x="320844" y="1044680"/>
            <a:chExt cx="8738534" cy="3588279"/>
          </a:xfrm>
        </p:grpSpPr>
        <p:sp>
          <p:nvSpPr>
            <p:cNvPr id="7" name="Rectangle 6">
              <a:extLst>
                <a:ext uri="{FF2B5EF4-FFF2-40B4-BE49-F238E27FC236}">
                  <a16:creationId xmlns:a16="http://schemas.microsoft.com/office/drawing/2014/main" id="{CCEB0B80-9623-D7A0-09A5-2DCFB67BAFE2}"/>
                </a:ext>
              </a:extLst>
            </p:cNvPr>
            <p:cNvSpPr/>
            <p:nvPr/>
          </p:nvSpPr>
          <p:spPr>
            <a:xfrm>
              <a:off x="320844" y="1044680"/>
              <a:ext cx="2757637" cy="3967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r>
                <a:rPr lang="af-ZA" sz="1200">
                  <a:solidFill>
                    <a:srgbClr val="201E5B"/>
                  </a:solidFill>
                  <a:latin typeface="Arial" panose="020B0604020202020204"/>
                </a:rPr>
                <a:t>Markkinaehtoinen rahoitustoiminta</a:t>
              </a:r>
            </a:p>
          </p:txBody>
        </p:sp>
        <p:sp>
          <p:nvSpPr>
            <p:cNvPr id="11" name="Rectangle 10">
              <a:extLst>
                <a:ext uri="{FF2B5EF4-FFF2-40B4-BE49-F238E27FC236}">
                  <a16:creationId xmlns:a16="http://schemas.microsoft.com/office/drawing/2014/main" id="{08869D6C-1211-FB7A-038D-28B45C0B1167}"/>
                </a:ext>
              </a:extLst>
            </p:cNvPr>
            <p:cNvSpPr/>
            <p:nvPr/>
          </p:nvSpPr>
          <p:spPr>
            <a:xfrm>
              <a:off x="320844" y="2868414"/>
              <a:ext cx="2757637" cy="3967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defTabSz="685783">
                <a:defRPr/>
              </a:pPr>
              <a:r>
                <a:rPr lang="af-ZA" sz="1200">
                  <a:solidFill>
                    <a:srgbClr val="201E5B"/>
                  </a:solidFill>
                  <a:latin typeface="Arial" panose="020B0604020202020204"/>
                </a:rPr>
                <a:t>Vastasyklisyys</a:t>
              </a:r>
            </a:p>
          </p:txBody>
        </p:sp>
        <p:sp>
          <p:nvSpPr>
            <p:cNvPr id="12" name="Rectangle 11">
              <a:extLst>
                <a:ext uri="{FF2B5EF4-FFF2-40B4-BE49-F238E27FC236}">
                  <a16:creationId xmlns:a16="http://schemas.microsoft.com/office/drawing/2014/main" id="{B7D81A71-C023-8C1B-2E15-35E7EE245818}"/>
                </a:ext>
              </a:extLst>
            </p:cNvPr>
            <p:cNvSpPr/>
            <p:nvPr/>
          </p:nvSpPr>
          <p:spPr>
            <a:xfrm>
              <a:off x="320844" y="3324348"/>
              <a:ext cx="2757637" cy="3967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defTabSz="685783">
                <a:defRPr/>
              </a:pPr>
              <a:r>
                <a:rPr lang="af-ZA" sz="1200">
                  <a:solidFill>
                    <a:srgbClr val="201E5B"/>
                  </a:solidFill>
                  <a:latin typeface="Arial" panose="020B0604020202020204"/>
                </a:rPr>
                <a:t>Taloudellinen tuotto ja vaikuttavuus</a:t>
              </a:r>
            </a:p>
          </p:txBody>
        </p:sp>
        <p:sp>
          <p:nvSpPr>
            <p:cNvPr id="13" name="Rectangle 12">
              <a:extLst>
                <a:ext uri="{FF2B5EF4-FFF2-40B4-BE49-F238E27FC236}">
                  <a16:creationId xmlns:a16="http://schemas.microsoft.com/office/drawing/2014/main" id="{24352160-DB9B-E851-19BC-009F9A7C2FA4}"/>
                </a:ext>
              </a:extLst>
            </p:cNvPr>
            <p:cNvSpPr/>
            <p:nvPr/>
          </p:nvSpPr>
          <p:spPr>
            <a:xfrm>
              <a:off x="320844" y="3780282"/>
              <a:ext cx="2757637" cy="3967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defTabSz="685783">
                <a:defRPr/>
              </a:pPr>
              <a:r>
                <a:rPr lang="af-ZA" sz="1200">
                  <a:solidFill>
                    <a:srgbClr val="201E5B"/>
                  </a:solidFill>
                  <a:latin typeface="Arial" panose="020B0604020202020204"/>
                </a:rPr>
                <a:t>Kotimaisen omistajuuden vahvistaminen</a:t>
              </a:r>
            </a:p>
          </p:txBody>
        </p:sp>
        <p:sp>
          <p:nvSpPr>
            <p:cNvPr id="15" name="Rectangle 14">
              <a:extLst>
                <a:ext uri="{FF2B5EF4-FFF2-40B4-BE49-F238E27FC236}">
                  <a16:creationId xmlns:a16="http://schemas.microsoft.com/office/drawing/2014/main" id="{05BE3FAC-D5B3-A279-0CB5-21A427ECDBE0}"/>
                </a:ext>
              </a:extLst>
            </p:cNvPr>
            <p:cNvSpPr/>
            <p:nvPr/>
          </p:nvSpPr>
          <p:spPr>
            <a:xfrm>
              <a:off x="320844" y="4236214"/>
              <a:ext cx="2757637" cy="3967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defTabSz="685783">
                <a:defRPr/>
              </a:pPr>
              <a:r>
                <a:rPr lang="af-ZA" sz="1200">
                  <a:solidFill>
                    <a:srgbClr val="201E5B"/>
                  </a:solidFill>
                  <a:latin typeface="Arial" panose="020B0604020202020204"/>
                </a:rPr>
                <a:t>Valtiontuki-instrumentit käytössä poikkeustilanteissa</a:t>
              </a:r>
            </a:p>
          </p:txBody>
        </p:sp>
        <p:sp>
          <p:nvSpPr>
            <p:cNvPr id="16" name="Rectangle 15">
              <a:extLst>
                <a:ext uri="{FF2B5EF4-FFF2-40B4-BE49-F238E27FC236}">
                  <a16:creationId xmlns:a16="http://schemas.microsoft.com/office/drawing/2014/main" id="{EAB3F856-A42C-47E0-59D7-AAF55A95B4FF}"/>
                </a:ext>
              </a:extLst>
            </p:cNvPr>
            <p:cNvSpPr/>
            <p:nvPr/>
          </p:nvSpPr>
          <p:spPr>
            <a:xfrm>
              <a:off x="3154681" y="1044680"/>
              <a:ext cx="5904697" cy="396744"/>
            </a:xfrm>
            <a:prstGeom prst="rect">
              <a:avLst/>
            </a:prstGeom>
            <a:no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71446" indent="-171446" defTabSz="685783">
                <a:buFont typeface="Arial" panose="020B0604020202020204" pitchFamily="34" charset="0"/>
                <a:buChar char="•"/>
                <a:defRPr/>
              </a:pPr>
              <a:r>
                <a:rPr lang="af-ZA" sz="1050" dirty="0">
                  <a:solidFill>
                    <a:srgbClr val="000000"/>
                  </a:solidFill>
                  <a:latin typeface="Arial" panose="020B0604020202020204"/>
                </a:rPr>
                <a:t>Tesin emoyhtiö toimii markkinaehtoisesti yhdessä yksityisten sijoittajien kanssa, vähemmistösijoittajana, markkinaehtoisesti ja samoilla ehdoilla. </a:t>
              </a:r>
            </a:p>
          </p:txBody>
        </p:sp>
        <p:sp>
          <p:nvSpPr>
            <p:cNvPr id="8" name="Rectangle 7">
              <a:extLst>
                <a:ext uri="{FF2B5EF4-FFF2-40B4-BE49-F238E27FC236}">
                  <a16:creationId xmlns:a16="http://schemas.microsoft.com/office/drawing/2014/main" id="{5F5F5107-6FD8-AA8D-E422-609DA3CE3930}"/>
                </a:ext>
              </a:extLst>
            </p:cNvPr>
            <p:cNvSpPr/>
            <p:nvPr/>
          </p:nvSpPr>
          <p:spPr>
            <a:xfrm>
              <a:off x="320844" y="1956547"/>
              <a:ext cx="2757637" cy="3967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r>
                <a:rPr lang="af-ZA" sz="1200">
                  <a:solidFill>
                    <a:srgbClr val="201E5B"/>
                  </a:solidFill>
                  <a:latin typeface="Arial" panose="020B0604020202020204"/>
                </a:rPr>
                <a:t>Kanssasijoittaminen</a:t>
              </a:r>
            </a:p>
          </p:txBody>
        </p:sp>
        <p:sp>
          <p:nvSpPr>
            <p:cNvPr id="17" name="Rectangle 16">
              <a:extLst>
                <a:ext uri="{FF2B5EF4-FFF2-40B4-BE49-F238E27FC236}">
                  <a16:creationId xmlns:a16="http://schemas.microsoft.com/office/drawing/2014/main" id="{A327976F-1C71-CC47-8D80-C25A0D106B48}"/>
                </a:ext>
              </a:extLst>
            </p:cNvPr>
            <p:cNvSpPr/>
            <p:nvPr/>
          </p:nvSpPr>
          <p:spPr>
            <a:xfrm>
              <a:off x="3154681" y="1956547"/>
              <a:ext cx="5904697" cy="396744"/>
            </a:xfrm>
            <a:prstGeom prst="rect">
              <a:avLst/>
            </a:prstGeom>
            <a:no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71446" indent="-171446" defTabSz="685783">
                <a:buFont typeface="Arial" panose="020B0604020202020204" pitchFamily="34" charset="0"/>
                <a:buChar char="•"/>
                <a:defRPr/>
              </a:pPr>
              <a:r>
                <a:rPr lang="af-ZA" sz="1050">
                  <a:solidFill>
                    <a:srgbClr val="000000"/>
                  </a:solidFill>
                  <a:latin typeface="Arial" panose="020B0604020202020204"/>
                </a:rPr>
                <a:t>Tesi tekee pääsääntöisesti sijoitukset muiden sijoittajien kanssa samanaikaisesti yhtäläisin ehdoin (pari passu).</a:t>
              </a:r>
            </a:p>
          </p:txBody>
        </p:sp>
        <p:sp>
          <p:nvSpPr>
            <p:cNvPr id="9" name="Rectangle 8">
              <a:extLst>
                <a:ext uri="{FF2B5EF4-FFF2-40B4-BE49-F238E27FC236}">
                  <a16:creationId xmlns:a16="http://schemas.microsoft.com/office/drawing/2014/main" id="{7B71E1B4-8AC9-466C-A243-E417C88DB6D0}"/>
                </a:ext>
              </a:extLst>
            </p:cNvPr>
            <p:cNvSpPr/>
            <p:nvPr/>
          </p:nvSpPr>
          <p:spPr>
            <a:xfrm>
              <a:off x="320844" y="2412481"/>
              <a:ext cx="2757637" cy="3967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r>
                <a:rPr lang="af-ZA" sz="1200">
                  <a:solidFill>
                    <a:srgbClr val="201E5B"/>
                  </a:solidFill>
                  <a:latin typeface="Arial" panose="020B0604020202020204"/>
                </a:rPr>
                <a:t>Sijoitukset tehdään markkinatarve edellä</a:t>
              </a:r>
            </a:p>
          </p:txBody>
        </p:sp>
        <p:sp>
          <p:nvSpPr>
            <p:cNvPr id="18" name="Rectangle 17">
              <a:extLst>
                <a:ext uri="{FF2B5EF4-FFF2-40B4-BE49-F238E27FC236}">
                  <a16:creationId xmlns:a16="http://schemas.microsoft.com/office/drawing/2014/main" id="{1F091825-5193-06A1-7E6C-5F142870177C}"/>
                </a:ext>
              </a:extLst>
            </p:cNvPr>
            <p:cNvSpPr/>
            <p:nvPr/>
          </p:nvSpPr>
          <p:spPr>
            <a:xfrm>
              <a:off x="3154681" y="2412481"/>
              <a:ext cx="5904697" cy="396744"/>
            </a:xfrm>
            <a:prstGeom prst="rect">
              <a:avLst/>
            </a:prstGeom>
            <a:no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71446" indent="-171446" defTabSz="685783">
                <a:buFont typeface="Arial" panose="020B0604020202020204" pitchFamily="34" charset="0"/>
                <a:buChar char="•"/>
                <a:defRPr/>
              </a:pPr>
              <a:r>
                <a:rPr lang="af-ZA" sz="1050">
                  <a:solidFill>
                    <a:srgbClr val="000000"/>
                  </a:solidFill>
                  <a:latin typeface="Arial" panose="020B0604020202020204"/>
                </a:rPr>
                <a:t>Tesi toteuttaa pääomasijoitustoimintaa sijoituskohde- ja tarvelähtöisesti markkinatarpeen mukaan eikä volyymilähtöisesti.</a:t>
              </a:r>
            </a:p>
          </p:txBody>
        </p:sp>
        <p:sp>
          <p:nvSpPr>
            <p:cNvPr id="10" name="Rectangle 9">
              <a:extLst>
                <a:ext uri="{FF2B5EF4-FFF2-40B4-BE49-F238E27FC236}">
                  <a16:creationId xmlns:a16="http://schemas.microsoft.com/office/drawing/2014/main" id="{FB4EB322-FF41-B3D5-A493-07A514E2C3CF}"/>
                </a:ext>
              </a:extLst>
            </p:cNvPr>
            <p:cNvSpPr/>
            <p:nvPr/>
          </p:nvSpPr>
          <p:spPr>
            <a:xfrm>
              <a:off x="320844" y="1500614"/>
              <a:ext cx="2757637" cy="396744"/>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783">
                <a:defRPr/>
              </a:pPr>
              <a:r>
                <a:rPr lang="af-ZA" sz="1200" dirty="0">
                  <a:solidFill>
                    <a:srgbClr val="201E5B"/>
                  </a:solidFill>
                  <a:latin typeface="Arial" panose="020B0604020202020204"/>
                </a:rPr>
                <a:t>Tesi ei kilpaile yksityisten toimijoiden kanssa</a:t>
              </a:r>
            </a:p>
          </p:txBody>
        </p:sp>
        <p:sp>
          <p:nvSpPr>
            <p:cNvPr id="19" name="Rectangle 18">
              <a:extLst>
                <a:ext uri="{FF2B5EF4-FFF2-40B4-BE49-F238E27FC236}">
                  <a16:creationId xmlns:a16="http://schemas.microsoft.com/office/drawing/2014/main" id="{25E78D71-0E4F-8781-E922-F644FE6B54F0}"/>
                </a:ext>
              </a:extLst>
            </p:cNvPr>
            <p:cNvSpPr/>
            <p:nvPr/>
          </p:nvSpPr>
          <p:spPr>
            <a:xfrm>
              <a:off x="3154681" y="1500614"/>
              <a:ext cx="5904697" cy="396744"/>
            </a:xfrm>
            <a:prstGeom prst="rect">
              <a:avLst/>
            </a:prstGeom>
            <a:no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71446" indent="-171446" defTabSz="685783">
                <a:buFont typeface="Arial" panose="020B0604020202020204" pitchFamily="34" charset="0"/>
                <a:buChar char="•"/>
                <a:defRPr/>
              </a:pPr>
              <a:r>
                <a:rPr lang="af-ZA" sz="1050" dirty="0">
                  <a:solidFill>
                    <a:srgbClr val="000000"/>
                  </a:solidFill>
                  <a:latin typeface="Arial" panose="020B0604020202020204"/>
                </a:rPr>
                <a:t>Tesi ei kilpaile yksityisten rahoituksen kanssa, eikä syrjäytä sitä ja väistyy yksityisen sijoittajien ja toimijoiden tieltä.</a:t>
              </a:r>
            </a:p>
          </p:txBody>
        </p:sp>
        <p:sp>
          <p:nvSpPr>
            <p:cNvPr id="20" name="Rectangle 19">
              <a:extLst>
                <a:ext uri="{FF2B5EF4-FFF2-40B4-BE49-F238E27FC236}">
                  <a16:creationId xmlns:a16="http://schemas.microsoft.com/office/drawing/2014/main" id="{5196A264-DE3B-FF18-6B7F-AC35AA23A4BF}"/>
                </a:ext>
              </a:extLst>
            </p:cNvPr>
            <p:cNvSpPr/>
            <p:nvPr/>
          </p:nvSpPr>
          <p:spPr>
            <a:xfrm>
              <a:off x="3154681" y="2868414"/>
              <a:ext cx="5904697" cy="396744"/>
            </a:xfrm>
            <a:prstGeom prst="rect">
              <a:avLst/>
            </a:prstGeom>
            <a:no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71446" indent="-171446" defTabSz="685783">
                <a:buFont typeface="Arial" panose="020B0604020202020204" pitchFamily="34" charset="0"/>
                <a:buChar char="•"/>
                <a:defRPr/>
              </a:pPr>
              <a:r>
                <a:rPr lang="af-ZA" sz="1050">
                  <a:solidFill>
                    <a:srgbClr val="000000"/>
                  </a:solidFill>
                  <a:latin typeface="Arial" panose="020B0604020202020204"/>
                </a:rPr>
                <a:t>Tesin toiminnassa otetaan huomioon julkiselle rahoitukselle tyypillinen vastasyklisyys, jonka tavoitteena on tasoittaa suhdannevaihteluiden vaikutuksia talouteen</a:t>
              </a:r>
            </a:p>
          </p:txBody>
        </p:sp>
        <p:sp>
          <p:nvSpPr>
            <p:cNvPr id="21" name="Rectangle 20">
              <a:extLst>
                <a:ext uri="{FF2B5EF4-FFF2-40B4-BE49-F238E27FC236}">
                  <a16:creationId xmlns:a16="http://schemas.microsoft.com/office/drawing/2014/main" id="{7720DA1D-7393-7D8D-93A0-43FB41CE9280}"/>
                </a:ext>
              </a:extLst>
            </p:cNvPr>
            <p:cNvSpPr/>
            <p:nvPr/>
          </p:nvSpPr>
          <p:spPr>
            <a:xfrm>
              <a:off x="3154681" y="3324348"/>
              <a:ext cx="5904697" cy="396744"/>
            </a:xfrm>
            <a:prstGeom prst="rect">
              <a:avLst/>
            </a:prstGeom>
            <a:no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71446" indent="-171446" defTabSz="685783">
                <a:buFont typeface="Arial" panose="020B0604020202020204" pitchFamily="34" charset="0"/>
                <a:buChar char="•"/>
                <a:defRPr/>
              </a:pPr>
              <a:r>
                <a:rPr lang="af-ZA" sz="1050">
                  <a:solidFill>
                    <a:srgbClr val="000000"/>
                  </a:solidFill>
                  <a:latin typeface="Arial" panose="020B0604020202020204"/>
                </a:rPr>
                <a:t>Sijoituksille tavoitellaan taloudellista tuottoa huomioiden riskit. Taloudellisen tuoton lisäksi tuotto voi olla muuta tärkeää lisäarvoa, kuten osaamiskeskittymän/toimialan käynnistäminen.</a:t>
              </a:r>
            </a:p>
          </p:txBody>
        </p:sp>
        <p:sp>
          <p:nvSpPr>
            <p:cNvPr id="22" name="Rectangle 21">
              <a:extLst>
                <a:ext uri="{FF2B5EF4-FFF2-40B4-BE49-F238E27FC236}">
                  <a16:creationId xmlns:a16="http://schemas.microsoft.com/office/drawing/2014/main" id="{BB96E072-9CC1-F1BB-06F9-348410E0A95F}"/>
                </a:ext>
              </a:extLst>
            </p:cNvPr>
            <p:cNvSpPr/>
            <p:nvPr/>
          </p:nvSpPr>
          <p:spPr>
            <a:xfrm>
              <a:off x="3154681" y="3780282"/>
              <a:ext cx="5904697" cy="396744"/>
            </a:xfrm>
            <a:prstGeom prst="rect">
              <a:avLst/>
            </a:prstGeom>
            <a:no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71446" indent="-171446" defTabSz="685783">
                <a:buFont typeface="Arial" panose="020B0604020202020204" pitchFamily="34" charset="0"/>
                <a:buChar char="•"/>
                <a:defRPr/>
              </a:pPr>
              <a:r>
                <a:rPr lang="af-ZA" sz="1050">
                  <a:solidFill>
                    <a:srgbClr val="000000"/>
                  </a:solidFill>
                  <a:latin typeface="Arial" panose="020B0604020202020204"/>
                </a:rPr>
                <a:t>Tesin toiminnassa pyritään vahvistamaan kotimaista omistajuutta eri keinoin, kuten uusilla toimintamalleilla ja yksityisen kotimaisen rahoituksen lisäämisellä.</a:t>
              </a:r>
            </a:p>
          </p:txBody>
        </p:sp>
        <p:sp>
          <p:nvSpPr>
            <p:cNvPr id="23" name="Rectangle 22">
              <a:extLst>
                <a:ext uri="{FF2B5EF4-FFF2-40B4-BE49-F238E27FC236}">
                  <a16:creationId xmlns:a16="http://schemas.microsoft.com/office/drawing/2014/main" id="{E1B22EAC-F6F0-2AC4-63BB-F32FB9A1152E}"/>
                </a:ext>
              </a:extLst>
            </p:cNvPr>
            <p:cNvSpPr/>
            <p:nvPr/>
          </p:nvSpPr>
          <p:spPr>
            <a:xfrm>
              <a:off x="3154681" y="4236215"/>
              <a:ext cx="5904697" cy="396744"/>
            </a:xfrm>
            <a:prstGeom prst="rect">
              <a:avLst/>
            </a:prstGeom>
            <a:no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171446" indent="-171446" defTabSz="685783">
                <a:buFont typeface="Arial" panose="020B0604020202020204" pitchFamily="34" charset="0"/>
                <a:buChar char="•"/>
                <a:defRPr/>
              </a:pPr>
              <a:r>
                <a:rPr lang="af-ZA" sz="1050" dirty="0">
                  <a:solidFill>
                    <a:srgbClr val="000000"/>
                  </a:solidFill>
                  <a:latin typeface="Arial" panose="020B0604020202020204"/>
                </a:rPr>
                <a:t>Tesillä on mahdollisuus myöntää valtiontukea sisältävää rahoitusta tytäryhtiönsä Teollisuustuki Oy:n kautta ja poikkeustapauksissa Tesi voi olla myös ainoa sijoittaja.</a:t>
              </a:r>
            </a:p>
          </p:txBody>
        </p:sp>
      </p:grpSp>
    </p:spTree>
    <p:extLst>
      <p:ext uri="{BB962C8B-B14F-4D97-AF65-F5344CB8AC3E}">
        <p14:creationId xmlns:p14="http://schemas.microsoft.com/office/powerpoint/2010/main" val="647049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n paikkamerkki 1">
            <a:extLst>
              <a:ext uri="{FF2B5EF4-FFF2-40B4-BE49-F238E27FC236}">
                <a16:creationId xmlns:a16="http://schemas.microsoft.com/office/drawing/2014/main" id="{0C875800-771F-B71A-A097-1BCE9079BFAA}"/>
              </a:ext>
            </a:extLst>
          </p:cNvPr>
          <p:cNvSpPr>
            <a:spLocks noGrp="1"/>
          </p:cNvSpPr>
          <p:nvPr>
            <p:ph type="body" sz="quarter" idx="10"/>
          </p:nvPr>
        </p:nvSpPr>
        <p:spPr/>
        <p:txBody>
          <a:bodyPr/>
          <a:lstStyle/>
          <a:p>
            <a:r>
              <a:rPr lang="fi-FI" b="1" dirty="0"/>
              <a:t>Keskustelua ja kysymyksiä</a:t>
            </a:r>
          </a:p>
        </p:txBody>
      </p:sp>
    </p:spTree>
    <p:extLst>
      <p:ext uri="{BB962C8B-B14F-4D97-AF65-F5344CB8AC3E}">
        <p14:creationId xmlns:p14="http://schemas.microsoft.com/office/powerpoint/2010/main" val="3965598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n paikkamerkki 1"/>
          <p:cNvSpPr>
            <a:spLocks noGrp="1"/>
          </p:cNvSpPr>
          <p:nvPr>
            <p:ph type="body" sz="quarter" idx="10"/>
          </p:nvPr>
        </p:nvSpPr>
        <p:spPr/>
        <p:txBody>
          <a:bodyPr/>
          <a:lstStyle/>
          <a:p>
            <a:r>
              <a:rPr lang="fi-FI" b="1" dirty="0"/>
              <a:t>Kiitos</a:t>
            </a:r>
          </a:p>
        </p:txBody>
      </p:sp>
    </p:spTree>
    <p:extLst>
      <p:ext uri="{BB962C8B-B14F-4D97-AF65-F5344CB8AC3E}">
        <p14:creationId xmlns:p14="http://schemas.microsoft.com/office/powerpoint/2010/main" val="3364553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C9BFB4-8641-4C1B-F638-261B1CA92232}"/>
              </a:ext>
            </a:extLst>
          </p:cNvPr>
          <p:cNvGraphicFramePr>
            <a:graphicFrameLocks noChangeAspect="1"/>
          </p:cNvGraphicFramePr>
          <p:nvPr>
            <p:custDataLst>
              <p:tags r:id="rId1"/>
            </p:custDataLst>
            <p:extLst>
              <p:ext uri="{D42A27DB-BD31-4B8C-83A1-F6EECF244321}">
                <p14:modId xmlns:p14="http://schemas.microsoft.com/office/powerpoint/2010/main" val="2184322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think-cell data - do not delete" hidden="1">
                        <a:extLst>
                          <a:ext uri="{FF2B5EF4-FFF2-40B4-BE49-F238E27FC236}">
                            <a16:creationId xmlns:a16="http://schemas.microsoft.com/office/drawing/2014/main" id="{ACC9BFB4-8641-4C1B-F638-261B1CA922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title"/>
          </p:nvPr>
        </p:nvSpPr>
        <p:spPr>
          <a:xfrm>
            <a:off x="688123" y="553579"/>
            <a:ext cx="7203017" cy="746936"/>
          </a:xfrm>
        </p:spPr>
        <p:txBody>
          <a:bodyPr vert="horz">
            <a:normAutofit fontScale="90000"/>
          </a:bodyPr>
          <a:lstStyle/>
          <a:p>
            <a:r>
              <a:rPr lang="af-ZA" sz="2800" dirty="0"/>
              <a:t>Asialista: </a:t>
            </a:r>
            <a:br>
              <a:rPr lang="af-ZA" sz="3600" dirty="0"/>
            </a:br>
            <a:endParaRPr lang="af-ZA" dirty="0"/>
          </a:p>
        </p:txBody>
      </p:sp>
      <p:sp>
        <p:nvSpPr>
          <p:cNvPr id="4" name="Alatunnisteen paikkamerkki 3"/>
          <p:cNvSpPr>
            <a:spLocks noGrp="1"/>
          </p:cNvSpPr>
          <p:nvPr>
            <p:ph type="ftr" sz="quarter" idx="11"/>
          </p:nvPr>
        </p:nvSpPr>
        <p:spPr/>
        <p:txBody>
          <a:bodyPr/>
          <a:lstStyle/>
          <a:p>
            <a:r>
              <a:rPr lang="af-ZA"/>
              <a:t>Työ- ja elinkeinoministeriö • www.tem.fi</a:t>
            </a:r>
          </a:p>
        </p:txBody>
      </p:sp>
      <p:sp>
        <p:nvSpPr>
          <p:cNvPr id="5" name="Päivämäärän paikkamerkki 4"/>
          <p:cNvSpPr>
            <a:spLocks noGrp="1"/>
          </p:cNvSpPr>
          <p:nvPr>
            <p:ph type="dt" sz="half" idx="10"/>
          </p:nvPr>
        </p:nvSpPr>
        <p:spPr/>
        <p:txBody>
          <a:bodyPr/>
          <a:lstStyle/>
          <a:p>
            <a:fld id="{CF0B024A-9348-8F4E-84E6-1AC861A3D50B}" type="datetime1">
              <a:rPr lang="af-ZA" smtClean="0"/>
              <a:pPr/>
              <a:t>2024-12-09</a:t>
            </a:fld>
            <a:endParaRPr lang="af-ZA"/>
          </a:p>
        </p:txBody>
      </p:sp>
      <p:sp>
        <p:nvSpPr>
          <p:cNvPr id="6" name="Dian numeron paikkamerkki 5"/>
          <p:cNvSpPr>
            <a:spLocks noGrp="1"/>
          </p:cNvSpPr>
          <p:nvPr>
            <p:ph type="sldNum" sz="quarter" idx="12"/>
          </p:nvPr>
        </p:nvSpPr>
        <p:spPr/>
        <p:txBody>
          <a:bodyPr/>
          <a:lstStyle/>
          <a:p>
            <a:fld id="{3065C9E5-8AC3-DF4B-BA99-CB03B9370A98}" type="slidenum">
              <a:rPr lang="af-ZA" smtClean="0"/>
              <a:pPr/>
              <a:t>2</a:t>
            </a:fld>
            <a:endParaRPr lang="af-ZA"/>
          </a:p>
        </p:txBody>
      </p:sp>
      <p:sp>
        <p:nvSpPr>
          <p:cNvPr id="8" name="Sisällön paikkamerkki 7"/>
          <p:cNvSpPr>
            <a:spLocks noGrp="1"/>
          </p:cNvSpPr>
          <p:nvPr>
            <p:ph idx="1"/>
          </p:nvPr>
        </p:nvSpPr>
        <p:spPr>
          <a:xfrm>
            <a:off x="476250" y="1125915"/>
            <a:ext cx="7886700" cy="3335527"/>
          </a:xfrm>
        </p:spPr>
        <p:txBody>
          <a:bodyPr>
            <a:normAutofit lnSpcReduction="10000"/>
          </a:bodyPr>
          <a:lstStyle/>
          <a:p>
            <a:pPr marL="0" indent="0">
              <a:spcAft>
                <a:spcPts val="0"/>
              </a:spcAft>
              <a:buNone/>
            </a:pPr>
            <a:r>
              <a:rPr lang="af-ZA" sz="2000" b="1" dirty="0"/>
              <a:t>1. 	Avaus </a:t>
            </a:r>
            <a:r>
              <a:rPr lang="af-ZA" sz="2000" b="1" i="1" dirty="0"/>
              <a:t>(osastopäällikkö Juhapekka Ristola, TEM)</a:t>
            </a:r>
          </a:p>
          <a:p>
            <a:pPr marL="0" indent="0">
              <a:spcAft>
                <a:spcPts val="0"/>
              </a:spcAft>
              <a:buNone/>
            </a:pPr>
            <a:endParaRPr lang="af-ZA" sz="2000" b="1" dirty="0"/>
          </a:p>
          <a:p>
            <a:pPr marL="0" indent="0">
              <a:spcAft>
                <a:spcPts val="0"/>
              </a:spcAft>
              <a:buNone/>
            </a:pPr>
            <a:r>
              <a:rPr lang="af-ZA" sz="2000" b="1" dirty="0"/>
              <a:t>2. 	TEM:n ehdotus Tesin sijoitusstrategiaksi ml. 	lausuntopalautteen huomioiminen </a:t>
            </a:r>
            <a:r>
              <a:rPr lang="af-ZA" sz="2000" b="1" i="1" dirty="0"/>
              <a:t>(erityisasiantuntija 	Henri Tuominen ja teollisuusneuvos Tiina Ingman, TEM)</a:t>
            </a:r>
          </a:p>
          <a:p>
            <a:pPr marL="0" indent="0">
              <a:spcAft>
                <a:spcPts val="0"/>
              </a:spcAft>
              <a:buNone/>
            </a:pPr>
            <a:endParaRPr lang="af-ZA" sz="2000" b="1" dirty="0"/>
          </a:p>
          <a:p>
            <a:pPr marL="0" indent="0">
              <a:spcAft>
                <a:spcPts val="0"/>
              </a:spcAft>
              <a:buNone/>
            </a:pPr>
            <a:r>
              <a:rPr lang="af-ZA" sz="2000" b="1" dirty="0"/>
              <a:t>3. 	Keskustelu ja kysymykset</a:t>
            </a:r>
          </a:p>
          <a:p>
            <a:pPr marL="0" indent="0">
              <a:spcAft>
                <a:spcPts val="0"/>
              </a:spcAft>
              <a:buNone/>
            </a:pPr>
            <a:endParaRPr lang="af-ZA" sz="2000" b="1" dirty="0"/>
          </a:p>
          <a:p>
            <a:pPr marL="0" indent="0">
              <a:spcAft>
                <a:spcPts val="0"/>
              </a:spcAft>
              <a:buNone/>
            </a:pPr>
            <a:r>
              <a:rPr lang="af-ZA" sz="2000" b="1" dirty="0"/>
              <a:t>4. 	Tilaisuuden päätös </a:t>
            </a:r>
            <a:r>
              <a:rPr lang="af-ZA" sz="2000" b="1" i="1" dirty="0"/>
              <a:t>(osastopäällikkö Juhapekka Ristola, 	TEM) </a:t>
            </a:r>
          </a:p>
          <a:p>
            <a:pPr marL="0" indent="0">
              <a:spcAft>
                <a:spcPts val="0"/>
              </a:spcAft>
              <a:buNone/>
            </a:pPr>
            <a:endParaRPr lang="af-ZA" sz="2000" dirty="0"/>
          </a:p>
          <a:p>
            <a:endParaRPr lang="af-ZA" dirty="0"/>
          </a:p>
        </p:txBody>
      </p:sp>
    </p:spTree>
    <p:extLst>
      <p:ext uri="{BB962C8B-B14F-4D97-AF65-F5344CB8AC3E}">
        <p14:creationId xmlns:p14="http://schemas.microsoft.com/office/powerpoint/2010/main" val="1643044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C903744-9F63-3932-51F2-44F91B6B34AA}"/>
              </a:ext>
            </a:extLst>
          </p:cNvPr>
          <p:cNvGraphicFramePr>
            <a:graphicFrameLocks noChangeAspect="1"/>
          </p:cNvGraphicFramePr>
          <p:nvPr>
            <p:custDataLst>
              <p:tags r:id="rId1"/>
            </p:custDataLst>
            <p:extLst>
              <p:ext uri="{D42A27DB-BD31-4B8C-83A1-F6EECF244321}">
                <p14:modId xmlns:p14="http://schemas.microsoft.com/office/powerpoint/2010/main" val="422922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think-cell data - do not delete" hidden="1">
                        <a:extLst>
                          <a:ext uri="{FF2B5EF4-FFF2-40B4-BE49-F238E27FC236}">
                            <a16:creationId xmlns:a16="http://schemas.microsoft.com/office/drawing/2014/main" id="{AC903744-9F63-3932-51F2-44F91B6B34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ctrTitle"/>
          </p:nvPr>
        </p:nvSpPr>
        <p:spPr>
          <a:xfrm>
            <a:off x="963806" y="1340257"/>
            <a:ext cx="7361663" cy="1790700"/>
          </a:xfrm>
        </p:spPr>
        <p:txBody>
          <a:bodyPr vert="horz">
            <a:normAutofit fontScale="90000"/>
          </a:bodyPr>
          <a:lstStyle/>
          <a:p>
            <a:r>
              <a:rPr lang="af-ZA" dirty="0"/>
              <a:t>Lausuntokierroksen palaute koskien työryhmän ehdotusta</a:t>
            </a:r>
          </a:p>
        </p:txBody>
      </p:sp>
      <p:sp>
        <p:nvSpPr>
          <p:cNvPr id="3" name="Alaotsikko 2">
            <a:extLst>
              <a:ext uri="{FF2B5EF4-FFF2-40B4-BE49-F238E27FC236}">
                <a16:creationId xmlns:a16="http://schemas.microsoft.com/office/drawing/2014/main" id="{2F3D1E1B-17D6-6A01-831F-7243B5F32D36}"/>
              </a:ext>
            </a:extLst>
          </p:cNvPr>
          <p:cNvSpPr>
            <a:spLocks noGrp="1"/>
          </p:cNvSpPr>
          <p:nvPr>
            <p:ph type="subTitle" idx="1"/>
          </p:nvPr>
        </p:nvSpPr>
        <p:spPr>
          <a:xfrm>
            <a:off x="1143000" y="3130957"/>
            <a:ext cx="6858000" cy="675291"/>
          </a:xfrm>
        </p:spPr>
        <p:txBody>
          <a:bodyPr/>
          <a:lstStyle/>
          <a:p>
            <a:r>
              <a:rPr lang="af-ZA" dirty="0"/>
              <a:t>Henri Tuominen, erityisasaintuntija</a:t>
            </a:r>
          </a:p>
        </p:txBody>
      </p:sp>
    </p:spTree>
    <p:extLst>
      <p:ext uri="{BB962C8B-B14F-4D97-AF65-F5344CB8AC3E}">
        <p14:creationId xmlns:p14="http://schemas.microsoft.com/office/powerpoint/2010/main" val="31272701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1F4142F-ECC5-79B5-C088-D93CBF8AA979}"/>
              </a:ext>
            </a:extLst>
          </p:cNvPr>
          <p:cNvSpPr>
            <a:spLocks noGrp="1"/>
          </p:cNvSpPr>
          <p:nvPr>
            <p:ph type="title"/>
          </p:nvPr>
        </p:nvSpPr>
        <p:spPr/>
        <p:txBody>
          <a:bodyPr/>
          <a:lstStyle/>
          <a:p>
            <a:r>
              <a:rPr lang="fi-FI" dirty="0"/>
              <a:t>Lausuntojen yhteenveto</a:t>
            </a:r>
          </a:p>
        </p:txBody>
      </p:sp>
      <p:sp>
        <p:nvSpPr>
          <p:cNvPr id="3" name="Sisällön paikkamerkki 2">
            <a:extLst>
              <a:ext uri="{FF2B5EF4-FFF2-40B4-BE49-F238E27FC236}">
                <a16:creationId xmlns:a16="http://schemas.microsoft.com/office/drawing/2014/main" id="{5BDFF5DA-E55A-2E77-D258-298FF3811A72}"/>
              </a:ext>
            </a:extLst>
          </p:cNvPr>
          <p:cNvSpPr>
            <a:spLocks noGrp="1"/>
          </p:cNvSpPr>
          <p:nvPr>
            <p:ph idx="1"/>
          </p:nvPr>
        </p:nvSpPr>
        <p:spPr/>
        <p:txBody>
          <a:bodyPr>
            <a:normAutofit/>
          </a:bodyPr>
          <a:lstStyle/>
          <a:p>
            <a:r>
              <a:rPr lang="fi-FI" dirty="0"/>
              <a:t>Lausuntojen määrä: 62 kpl</a:t>
            </a:r>
          </a:p>
          <a:p>
            <a:r>
              <a:rPr lang="fi-FI" dirty="0"/>
              <a:t>Tulkinnat tehty objektiivisesti työryhmän sihteeristön toimesta.</a:t>
            </a:r>
          </a:p>
          <a:p>
            <a:r>
              <a:rPr lang="fi-FI" dirty="0"/>
              <a:t>Vastaukset luokiteltu </a:t>
            </a:r>
          </a:p>
          <a:p>
            <a:pPr lvl="1"/>
            <a:r>
              <a:rPr lang="fi-FI" dirty="0"/>
              <a:t>positiivisiin, negatiivisiin ja neutraaleihin.</a:t>
            </a:r>
          </a:p>
          <a:p>
            <a:pPr lvl="1"/>
            <a:r>
              <a:rPr lang="fi-FI" dirty="0"/>
              <a:t>Teemoihin joita lausunnoista oli selvästi nostettavissa</a:t>
            </a:r>
          </a:p>
          <a:p>
            <a:r>
              <a:rPr lang="fi-FI" dirty="0"/>
              <a:t>Vastaajaluokat:</a:t>
            </a:r>
          </a:p>
          <a:p>
            <a:pPr lvl="1"/>
            <a:r>
              <a:rPr lang="fi-FI" dirty="0"/>
              <a:t>Pääomasijoittajat: 21</a:t>
            </a:r>
          </a:p>
          <a:p>
            <a:pPr lvl="1"/>
            <a:r>
              <a:rPr lang="fi-FI" dirty="0"/>
              <a:t>Edunvalvontatoimijat: 21</a:t>
            </a:r>
          </a:p>
          <a:p>
            <a:pPr lvl="1"/>
            <a:r>
              <a:rPr lang="fi-FI" dirty="0"/>
              <a:t>Akateemiset toimijat: 7</a:t>
            </a:r>
          </a:p>
          <a:p>
            <a:pPr lvl="1"/>
            <a:r>
              <a:rPr lang="fi-FI" dirty="0"/>
              <a:t>Valtio-omisteiset toimijat: 6</a:t>
            </a:r>
          </a:p>
          <a:p>
            <a:pPr lvl="1"/>
            <a:r>
              <a:rPr lang="fi-FI" dirty="0"/>
              <a:t>Muut toimijat: 7</a:t>
            </a:r>
          </a:p>
        </p:txBody>
      </p:sp>
    </p:spTree>
    <p:extLst>
      <p:ext uri="{BB962C8B-B14F-4D97-AF65-F5344CB8AC3E}">
        <p14:creationId xmlns:p14="http://schemas.microsoft.com/office/powerpoint/2010/main" val="6708930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1F4142F-ECC5-79B5-C088-D93CBF8AA979}"/>
              </a:ext>
            </a:extLst>
          </p:cNvPr>
          <p:cNvSpPr>
            <a:spLocks noGrp="1"/>
          </p:cNvSpPr>
          <p:nvPr>
            <p:ph type="title"/>
          </p:nvPr>
        </p:nvSpPr>
        <p:spPr/>
        <p:txBody>
          <a:bodyPr/>
          <a:lstStyle/>
          <a:p>
            <a:r>
              <a:rPr lang="fi-FI" dirty="0"/>
              <a:t>Lausuntopalautteiden yhteenveto</a:t>
            </a:r>
          </a:p>
        </p:txBody>
      </p:sp>
      <p:sp>
        <p:nvSpPr>
          <p:cNvPr id="3" name="Sisällön paikkamerkki 2">
            <a:extLst>
              <a:ext uri="{FF2B5EF4-FFF2-40B4-BE49-F238E27FC236}">
                <a16:creationId xmlns:a16="http://schemas.microsoft.com/office/drawing/2014/main" id="{5BDFF5DA-E55A-2E77-D258-298FF3811A72}"/>
              </a:ext>
            </a:extLst>
          </p:cNvPr>
          <p:cNvSpPr>
            <a:spLocks noGrp="1"/>
          </p:cNvSpPr>
          <p:nvPr>
            <p:ph idx="1"/>
          </p:nvPr>
        </p:nvSpPr>
        <p:spPr>
          <a:xfrm>
            <a:off x="476410" y="1144398"/>
            <a:ext cx="8038940" cy="3601640"/>
          </a:xfrm>
        </p:spPr>
        <p:txBody>
          <a:bodyPr>
            <a:noAutofit/>
          </a:bodyPr>
          <a:lstStyle/>
          <a:p>
            <a:pPr marL="0" indent="0">
              <a:buNone/>
            </a:pPr>
            <a:r>
              <a:rPr lang="fi-FI" sz="1500" b="1" dirty="0"/>
              <a:t>1. </a:t>
            </a:r>
            <a:r>
              <a:rPr lang="fi-FI" sz="1500" b="1" dirty="0" err="1"/>
              <a:t>Tesin</a:t>
            </a:r>
            <a:r>
              <a:rPr lang="fi-FI" sz="1500" b="1" dirty="0"/>
              <a:t> rooli markkinoiden täydentäjänä ja ankkurisijoittajana</a:t>
            </a:r>
            <a:endParaRPr lang="fi-FI" sz="1500" dirty="0"/>
          </a:p>
          <a:p>
            <a:pPr>
              <a:buFont typeface="Arial" panose="020B0604020202020204" pitchFamily="34" charset="0"/>
              <a:buChar char="•"/>
            </a:pPr>
            <a:r>
              <a:rPr lang="fi-FI" sz="1500" dirty="0" err="1"/>
              <a:t>Tesin</a:t>
            </a:r>
            <a:r>
              <a:rPr lang="fi-FI" sz="1500" dirty="0"/>
              <a:t> rooli markkinapuutteiden täydentäjänä ja pääomasijoitusmarkkinan kehittäjänä saa laajaa tukea.</a:t>
            </a:r>
          </a:p>
          <a:p>
            <a:pPr>
              <a:buFont typeface="Arial" panose="020B0604020202020204" pitchFamily="34" charset="0"/>
              <a:buChar char="•"/>
            </a:pPr>
            <a:r>
              <a:rPr lang="fi-FI" sz="1500" dirty="0" err="1"/>
              <a:t>Tesin</a:t>
            </a:r>
            <a:r>
              <a:rPr lang="fi-FI" sz="1500" dirty="0"/>
              <a:t> rooli rahastosijoituksissa koetaan merkittävänä ja ankkurisijoittajana toimiminen nähdään kriittisenä markkinan luottamuksen säilyttämiseksi.</a:t>
            </a:r>
          </a:p>
          <a:p>
            <a:pPr>
              <a:buFont typeface="Arial" panose="020B0604020202020204" pitchFamily="34" charset="0"/>
              <a:buChar char="•"/>
            </a:pPr>
            <a:r>
              <a:rPr lang="fi-FI" sz="1500" dirty="0"/>
              <a:t>Lausuntopalautteissa painotettiin sijoitustoiminnan johdonmukaisuuden ja markkinaehtoisuuden merkitystä </a:t>
            </a:r>
            <a:r>
              <a:rPr lang="fi-FI" sz="1500" dirty="0" err="1"/>
              <a:t>Tesin</a:t>
            </a:r>
            <a:r>
              <a:rPr lang="fi-FI" sz="1500" dirty="0"/>
              <a:t> toiminnassa.</a:t>
            </a:r>
          </a:p>
          <a:p>
            <a:pPr marL="0" indent="0">
              <a:buNone/>
            </a:pPr>
            <a:r>
              <a:rPr lang="fi-FI" sz="1500" b="1" dirty="0"/>
              <a:t>2. Suorien sijoitusten kasvattaminen ja resurssitarpeet</a:t>
            </a:r>
            <a:endParaRPr lang="fi-FI" sz="1500" dirty="0"/>
          </a:p>
          <a:p>
            <a:pPr>
              <a:buFont typeface="Arial" panose="020B0604020202020204" pitchFamily="34" charset="0"/>
              <a:buChar char="•"/>
            </a:pPr>
            <a:r>
              <a:rPr lang="fi-FI" sz="1500" dirty="0"/>
              <a:t>Suorien sijoitusten kasvu herättää huolia yksityisen pääoman syrjäyttämisestä ja markkinavaikutuksista.</a:t>
            </a:r>
          </a:p>
          <a:p>
            <a:pPr>
              <a:buFont typeface="Arial" panose="020B0604020202020204" pitchFamily="34" charset="0"/>
              <a:buChar char="•"/>
            </a:pPr>
            <a:r>
              <a:rPr lang="fi-FI" sz="1500" dirty="0"/>
              <a:t>Suorasijoitustoiminnan volyymien merkittävän kasvun hallinta edellyttää huomattavaa lisäresursointia ja osaamisen kehittämistä, mikä koettiin haastavaksi.</a:t>
            </a:r>
          </a:p>
        </p:txBody>
      </p:sp>
    </p:spTree>
    <p:extLst>
      <p:ext uri="{BB962C8B-B14F-4D97-AF65-F5344CB8AC3E}">
        <p14:creationId xmlns:p14="http://schemas.microsoft.com/office/powerpoint/2010/main" val="3972200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1F4142F-ECC5-79B5-C088-D93CBF8AA979}"/>
              </a:ext>
            </a:extLst>
          </p:cNvPr>
          <p:cNvSpPr>
            <a:spLocks noGrp="1"/>
          </p:cNvSpPr>
          <p:nvPr>
            <p:ph type="title"/>
          </p:nvPr>
        </p:nvSpPr>
        <p:spPr/>
        <p:txBody>
          <a:bodyPr/>
          <a:lstStyle/>
          <a:p>
            <a:r>
              <a:rPr lang="fi-FI" dirty="0"/>
              <a:t>Lausuntopalautteiden yhteenveto</a:t>
            </a:r>
          </a:p>
        </p:txBody>
      </p:sp>
      <p:sp>
        <p:nvSpPr>
          <p:cNvPr id="3" name="Sisällön paikkamerkki 2">
            <a:extLst>
              <a:ext uri="{FF2B5EF4-FFF2-40B4-BE49-F238E27FC236}">
                <a16:creationId xmlns:a16="http://schemas.microsoft.com/office/drawing/2014/main" id="{5BDFF5DA-E55A-2E77-D258-298FF3811A72}"/>
              </a:ext>
            </a:extLst>
          </p:cNvPr>
          <p:cNvSpPr>
            <a:spLocks noGrp="1"/>
          </p:cNvSpPr>
          <p:nvPr>
            <p:ph idx="1"/>
          </p:nvPr>
        </p:nvSpPr>
        <p:spPr/>
        <p:txBody>
          <a:bodyPr>
            <a:normAutofit/>
          </a:bodyPr>
          <a:lstStyle/>
          <a:p>
            <a:pPr marL="0" indent="0">
              <a:buNone/>
            </a:pPr>
            <a:r>
              <a:rPr lang="fi-FI" b="1" dirty="0"/>
              <a:t>3</a:t>
            </a:r>
            <a:r>
              <a:rPr lang="fi-FI" sz="1500" b="1" dirty="0"/>
              <a:t>. Rahastosijoitusten rajaaminen ja niiden merkitys</a:t>
            </a:r>
            <a:endParaRPr lang="fi-FI" sz="1500" dirty="0"/>
          </a:p>
          <a:p>
            <a:pPr>
              <a:buFont typeface="Arial" panose="020B0604020202020204" pitchFamily="34" charset="0"/>
              <a:buChar char="•"/>
            </a:pPr>
            <a:r>
              <a:rPr lang="fi-FI" sz="1500" dirty="0"/>
              <a:t>Rahastosijoitusten rajaaminen kahteen varainkeruukierrokseen saa laajaa kritiikkiä.</a:t>
            </a:r>
          </a:p>
          <a:p>
            <a:pPr>
              <a:buFont typeface="Arial" panose="020B0604020202020204" pitchFamily="34" charset="0"/>
              <a:buChar char="•"/>
            </a:pPr>
            <a:r>
              <a:rPr lang="fi-FI" sz="1500" dirty="0"/>
              <a:t>Arvioidaan, että rajoitukset heikentävät rahastojen varainkeruun edellytyksiä, kasvumahdollisuuksia ja vähentävät yksityisten sijoittajien kiinnostusta.</a:t>
            </a:r>
          </a:p>
          <a:p>
            <a:pPr>
              <a:buFont typeface="Arial" panose="020B0604020202020204" pitchFamily="34" charset="0"/>
              <a:buChar char="•"/>
            </a:pPr>
            <a:r>
              <a:rPr lang="fi-FI" sz="1500" dirty="0"/>
              <a:t>Useat lausujat ehdottavat joustavampaa mallia rahastosijoitusten jatkamiseksi.</a:t>
            </a:r>
          </a:p>
          <a:p>
            <a:pPr marL="0" indent="0">
              <a:buNone/>
            </a:pPr>
            <a:endParaRPr lang="fi-FI" sz="1500" dirty="0"/>
          </a:p>
          <a:p>
            <a:pPr marL="0" indent="0">
              <a:buNone/>
            </a:pPr>
            <a:r>
              <a:rPr lang="fi-FI" sz="1500" b="1" dirty="0"/>
              <a:t>4. </a:t>
            </a:r>
            <a:r>
              <a:rPr lang="fi-FI" sz="1500" b="1" dirty="0" err="1"/>
              <a:t>Buyout</a:t>
            </a:r>
            <a:r>
              <a:rPr lang="fi-FI" sz="1500" b="1" dirty="0"/>
              <a:t>-sijoitukset</a:t>
            </a:r>
            <a:endParaRPr lang="fi-FI" sz="1500" dirty="0"/>
          </a:p>
          <a:p>
            <a:pPr>
              <a:buFont typeface="Arial" panose="020B0604020202020204" pitchFamily="34" charset="0"/>
              <a:buChar char="•"/>
            </a:pPr>
            <a:r>
              <a:rPr lang="fi-FI" sz="1500" dirty="0" err="1"/>
              <a:t>Buyout</a:t>
            </a:r>
            <a:r>
              <a:rPr lang="fi-FI" sz="1500" dirty="0"/>
              <a:t>-rahastot nähdään tärkeinä pk-yritysten kasvattajina ja kansantalouden kehittäjinä.</a:t>
            </a:r>
          </a:p>
          <a:p>
            <a:pPr>
              <a:buFont typeface="Arial" panose="020B0604020202020204" pitchFamily="34" charset="0"/>
              <a:buChar char="•"/>
            </a:pPr>
            <a:r>
              <a:rPr lang="fi-FI" sz="1500" dirty="0"/>
              <a:t>Lakkauttaminen voisi heikentää pk-sektorin kasvua ja olla ristiriidassa talouskasvutavoitteiden kanssa.</a:t>
            </a:r>
          </a:p>
        </p:txBody>
      </p:sp>
    </p:spTree>
    <p:extLst>
      <p:ext uri="{BB962C8B-B14F-4D97-AF65-F5344CB8AC3E}">
        <p14:creationId xmlns:p14="http://schemas.microsoft.com/office/powerpoint/2010/main" val="20009184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1F4142F-ECC5-79B5-C088-D93CBF8AA979}"/>
              </a:ext>
            </a:extLst>
          </p:cNvPr>
          <p:cNvSpPr>
            <a:spLocks noGrp="1"/>
          </p:cNvSpPr>
          <p:nvPr>
            <p:ph type="title"/>
          </p:nvPr>
        </p:nvSpPr>
        <p:spPr/>
        <p:txBody>
          <a:bodyPr/>
          <a:lstStyle/>
          <a:p>
            <a:r>
              <a:rPr lang="fi-FI" dirty="0"/>
              <a:t>Lausuntopalautteiden yhteenveto</a:t>
            </a:r>
          </a:p>
        </p:txBody>
      </p:sp>
      <p:sp>
        <p:nvSpPr>
          <p:cNvPr id="3" name="Sisällön paikkamerkki 2">
            <a:extLst>
              <a:ext uri="{FF2B5EF4-FFF2-40B4-BE49-F238E27FC236}">
                <a16:creationId xmlns:a16="http://schemas.microsoft.com/office/drawing/2014/main" id="{5BDFF5DA-E55A-2E77-D258-298FF3811A72}"/>
              </a:ext>
            </a:extLst>
          </p:cNvPr>
          <p:cNvSpPr>
            <a:spLocks noGrp="1"/>
          </p:cNvSpPr>
          <p:nvPr>
            <p:ph idx="1"/>
          </p:nvPr>
        </p:nvSpPr>
        <p:spPr/>
        <p:txBody>
          <a:bodyPr>
            <a:normAutofit fontScale="25000" lnSpcReduction="20000"/>
          </a:bodyPr>
          <a:lstStyle/>
          <a:p>
            <a:pPr marL="0" indent="0">
              <a:buNone/>
            </a:pPr>
            <a:r>
              <a:rPr lang="fi-FI" sz="5600" b="1" dirty="0"/>
              <a:t>5. </a:t>
            </a:r>
            <a:r>
              <a:rPr lang="fi-FI" sz="5600" b="1" dirty="0" err="1">
                <a:latin typeface="+mj-lt"/>
              </a:rPr>
              <a:t>Lead</a:t>
            </a:r>
            <a:r>
              <a:rPr lang="fi-FI" sz="5600" b="1" dirty="0">
                <a:latin typeface="+mj-lt"/>
              </a:rPr>
              <a:t>-sijoittajana toimiminen ja kilpailuvaikutukset</a:t>
            </a:r>
            <a:endParaRPr lang="fi-FI" sz="5600" dirty="0">
              <a:latin typeface="+mj-lt"/>
            </a:endParaRPr>
          </a:p>
          <a:p>
            <a:pPr>
              <a:buFont typeface="Arial" panose="020B0604020202020204" pitchFamily="34" charset="0"/>
              <a:buChar char="•"/>
            </a:pPr>
            <a:r>
              <a:rPr lang="fi-FI" sz="5600" dirty="0" err="1">
                <a:latin typeface="+mj-lt"/>
              </a:rPr>
              <a:t>Tesin</a:t>
            </a:r>
            <a:r>
              <a:rPr lang="fi-FI" sz="5600" dirty="0">
                <a:latin typeface="+mj-lt"/>
              </a:rPr>
              <a:t> </a:t>
            </a:r>
            <a:r>
              <a:rPr lang="fi-FI" sz="5600" dirty="0" err="1">
                <a:latin typeface="+mj-lt"/>
              </a:rPr>
              <a:t>lead</a:t>
            </a:r>
            <a:r>
              <a:rPr lang="fi-FI" sz="5600" dirty="0">
                <a:latin typeface="+mj-lt"/>
              </a:rPr>
              <a:t>-sijoittajarooli nähdään mahdollisesti kilpailua vääristävänä.</a:t>
            </a:r>
          </a:p>
          <a:p>
            <a:pPr>
              <a:buFont typeface="Arial" panose="020B0604020202020204" pitchFamily="34" charset="0"/>
              <a:buChar char="•"/>
            </a:pPr>
            <a:r>
              <a:rPr lang="fi-FI" sz="5600" dirty="0">
                <a:latin typeface="+mj-lt"/>
              </a:rPr>
              <a:t>Lausujat painottivat markkinaehtoisuutta ja </a:t>
            </a:r>
            <a:r>
              <a:rPr lang="fi-FI" sz="5600" dirty="0" err="1">
                <a:latin typeface="+mj-lt"/>
              </a:rPr>
              <a:t>Tesin</a:t>
            </a:r>
            <a:r>
              <a:rPr lang="fi-FI" sz="5600" dirty="0">
                <a:latin typeface="+mj-lt"/>
              </a:rPr>
              <a:t> kyvykkyyksien rajoitteita.</a:t>
            </a:r>
          </a:p>
          <a:p>
            <a:pPr marL="0" indent="0">
              <a:buNone/>
            </a:pPr>
            <a:endParaRPr lang="fi-FI" sz="5600" dirty="0">
              <a:latin typeface="+mj-lt"/>
            </a:endParaRPr>
          </a:p>
          <a:p>
            <a:pPr marL="0" indent="0">
              <a:buNone/>
            </a:pPr>
            <a:r>
              <a:rPr lang="fi-FI" sz="5600" b="1" dirty="0">
                <a:latin typeface="+mj-lt"/>
              </a:rPr>
              <a:t>6. Strategian vaikutukset kansainväliseen houkuttelevuuteen</a:t>
            </a:r>
            <a:endParaRPr lang="fi-FI" sz="5600" dirty="0">
              <a:latin typeface="+mj-lt"/>
            </a:endParaRPr>
          </a:p>
          <a:p>
            <a:pPr>
              <a:buFont typeface="Arial" panose="020B0604020202020204" pitchFamily="34" charset="0"/>
              <a:buChar char="•"/>
            </a:pPr>
            <a:r>
              <a:rPr lang="fi-FI" sz="5600" dirty="0">
                <a:latin typeface="+mj-lt"/>
              </a:rPr>
              <a:t>Lausujat korostivat </a:t>
            </a:r>
            <a:r>
              <a:rPr lang="fi-FI" sz="5600" dirty="0" err="1">
                <a:latin typeface="+mj-lt"/>
              </a:rPr>
              <a:t>Tesin</a:t>
            </a:r>
            <a:r>
              <a:rPr lang="fi-FI" sz="5600" dirty="0">
                <a:latin typeface="+mj-lt"/>
              </a:rPr>
              <a:t> roolia kansainvälisen pääoman houkuttelijana.</a:t>
            </a:r>
          </a:p>
          <a:p>
            <a:pPr>
              <a:buFont typeface="Arial" panose="020B0604020202020204" pitchFamily="34" charset="0"/>
              <a:buChar char="•"/>
            </a:pPr>
            <a:r>
              <a:rPr lang="fi-FI" sz="5600" dirty="0">
                <a:latin typeface="+mj-lt"/>
              </a:rPr>
              <a:t>Johdonmukaisuus ja pitkäjänteisyys sijoitustoiminnassa nähtiin tärkeinä luottamuksen säilyttämiseksi.</a:t>
            </a:r>
          </a:p>
          <a:p>
            <a:pPr marL="0" indent="0">
              <a:buNone/>
            </a:pPr>
            <a:endParaRPr lang="fi-FI" sz="5600" b="1" dirty="0">
              <a:latin typeface="+mj-lt"/>
            </a:endParaRPr>
          </a:p>
          <a:p>
            <a:pPr marL="0" indent="0">
              <a:buNone/>
            </a:pPr>
            <a:r>
              <a:rPr lang="fi-FI" sz="5600" b="1" dirty="0">
                <a:latin typeface="+mj-lt"/>
              </a:rPr>
              <a:t>7.Positiiviset näkemykset </a:t>
            </a:r>
            <a:r>
              <a:rPr lang="fi-FI" sz="5600" b="1" dirty="0" err="1">
                <a:latin typeface="+mj-lt"/>
              </a:rPr>
              <a:t>Tesin</a:t>
            </a:r>
            <a:r>
              <a:rPr lang="fi-FI" sz="5600" b="1" dirty="0">
                <a:latin typeface="+mj-lt"/>
              </a:rPr>
              <a:t> roolista ja vaikutuksista</a:t>
            </a:r>
            <a:endParaRPr lang="fi-FI" sz="5600" dirty="0">
              <a:latin typeface="+mj-lt"/>
            </a:endParaRPr>
          </a:p>
          <a:p>
            <a:pPr>
              <a:buFont typeface="Arial" panose="020B0604020202020204" pitchFamily="34" charset="0"/>
              <a:buChar char="•"/>
            </a:pPr>
            <a:r>
              <a:rPr lang="fi-FI" sz="5600" kern="100" dirty="0">
                <a:effectLst/>
                <a:latin typeface="+mj-lt"/>
                <a:ea typeface="Aptos" panose="020B0004020202020204" pitchFamily="34" charset="0"/>
                <a:cs typeface="Arial" panose="020B0604020202020204" pitchFamily="34" charset="0"/>
              </a:rPr>
              <a:t>Lausunnoissa suhtauduttiin erittäin positiivisesti </a:t>
            </a:r>
            <a:r>
              <a:rPr lang="fi-FI" sz="5600" kern="100" dirty="0" err="1">
                <a:effectLst/>
                <a:latin typeface="+mj-lt"/>
                <a:ea typeface="Aptos" panose="020B0004020202020204" pitchFamily="34" charset="0"/>
                <a:cs typeface="Arial" panose="020B0604020202020204" pitchFamily="34" charset="0"/>
              </a:rPr>
              <a:t>Tesin</a:t>
            </a:r>
            <a:r>
              <a:rPr lang="fi-FI" sz="5600" kern="100" dirty="0">
                <a:effectLst/>
                <a:latin typeface="+mj-lt"/>
                <a:ea typeface="Aptos" panose="020B0004020202020204" pitchFamily="34" charset="0"/>
                <a:cs typeface="Arial" panose="020B0604020202020204" pitchFamily="34" charset="0"/>
              </a:rPr>
              <a:t> kasvaviin sijoitusvolyymeihin. </a:t>
            </a:r>
            <a:endParaRPr lang="fi-FI" sz="5600" dirty="0">
              <a:effectLst/>
              <a:latin typeface="+mj-lt"/>
              <a:ea typeface="Aptos" panose="020B0004020202020204" pitchFamily="34" charset="0"/>
              <a:cs typeface="Arial" panose="020B0604020202020204" pitchFamily="34" charset="0"/>
            </a:endParaRPr>
          </a:p>
          <a:p>
            <a:pPr>
              <a:buFont typeface="Arial" panose="020B0604020202020204" pitchFamily="34" charset="0"/>
              <a:buChar char="•"/>
            </a:pPr>
            <a:r>
              <a:rPr lang="fi-FI" sz="5600" dirty="0">
                <a:effectLst/>
                <a:latin typeface="+mj-lt"/>
                <a:ea typeface="Aptos" panose="020B0004020202020204" pitchFamily="34" charset="0"/>
                <a:cs typeface="Arial" panose="020B0604020202020204" pitchFamily="34" charset="0"/>
              </a:rPr>
              <a:t>Lausujilla on yleisesti tuki </a:t>
            </a:r>
            <a:r>
              <a:rPr lang="fi-FI" sz="5600" dirty="0" err="1">
                <a:effectLst/>
                <a:latin typeface="+mj-lt"/>
                <a:ea typeface="Aptos" panose="020B0004020202020204" pitchFamily="34" charset="0"/>
                <a:cs typeface="Arial" panose="020B0604020202020204" pitchFamily="34" charset="0"/>
              </a:rPr>
              <a:t>Tesin</a:t>
            </a:r>
            <a:r>
              <a:rPr lang="fi-FI" sz="5600" dirty="0">
                <a:effectLst/>
                <a:latin typeface="+mj-lt"/>
                <a:ea typeface="Aptos" panose="020B0004020202020204" pitchFamily="34" charset="0"/>
                <a:cs typeface="Arial" panose="020B0604020202020204" pitchFamily="34" charset="0"/>
              </a:rPr>
              <a:t> roolille markkinapuutteiden täydentäjänä ja pääomasijoitusmarkkinan kehittäjänä. </a:t>
            </a:r>
          </a:p>
          <a:p>
            <a:pPr>
              <a:buFont typeface="Arial" panose="020B0604020202020204" pitchFamily="34" charset="0"/>
              <a:buChar char="•"/>
            </a:pPr>
            <a:r>
              <a:rPr lang="fi-FI" sz="5600" dirty="0">
                <a:latin typeface="+mj-lt"/>
              </a:rPr>
              <a:t>Lausujat arvostavat </a:t>
            </a:r>
            <a:r>
              <a:rPr lang="fi-FI" sz="5600" dirty="0" err="1">
                <a:latin typeface="+mj-lt"/>
              </a:rPr>
              <a:t>Tesin</a:t>
            </a:r>
            <a:r>
              <a:rPr lang="fi-FI" sz="5600" dirty="0">
                <a:latin typeface="+mj-lt"/>
              </a:rPr>
              <a:t> kykyä reagoida markkinapuutteisiin ja toimia pitkäjänteisesti.</a:t>
            </a:r>
          </a:p>
          <a:p>
            <a:endParaRPr lang="fi-FI" dirty="0"/>
          </a:p>
        </p:txBody>
      </p:sp>
    </p:spTree>
    <p:extLst>
      <p:ext uri="{BB962C8B-B14F-4D97-AF65-F5344CB8AC3E}">
        <p14:creationId xmlns:p14="http://schemas.microsoft.com/office/powerpoint/2010/main" val="3790591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005320-F68A-7E72-256C-418B9990B72E}"/>
              </a:ext>
            </a:extLst>
          </p:cNvPr>
          <p:cNvGraphicFramePr>
            <a:graphicFrameLocks noChangeAspect="1"/>
          </p:cNvGraphicFramePr>
          <p:nvPr>
            <p:custDataLst>
              <p:tags r:id="rId1"/>
            </p:custDataLst>
            <p:extLst>
              <p:ext uri="{D42A27DB-BD31-4B8C-83A1-F6EECF244321}">
                <p14:modId xmlns:p14="http://schemas.microsoft.com/office/powerpoint/2010/main" val="653502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think-cell data - do not delete" hidden="1">
                        <a:extLst>
                          <a:ext uri="{FF2B5EF4-FFF2-40B4-BE49-F238E27FC236}">
                            <a16:creationId xmlns:a16="http://schemas.microsoft.com/office/drawing/2014/main" id="{85005320-F68A-7E72-256C-418B9990B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p:cNvSpPr>
            <a:spLocks noGrp="1"/>
          </p:cNvSpPr>
          <p:nvPr>
            <p:ph type="ctrTitle"/>
          </p:nvPr>
        </p:nvSpPr>
        <p:spPr>
          <a:xfrm>
            <a:off x="1092200" y="1191574"/>
            <a:ext cx="6858000" cy="1790700"/>
          </a:xfrm>
        </p:spPr>
        <p:txBody>
          <a:bodyPr vert="horz">
            <a:normAutofit/>
          </a:bodyPr>
          <a:lstStyle/>
          <a:p>
            <a:r>
              <a:rPr lang="af-ZA" dirty="0"/>
              <a:t>TEM:n ehdotus Tesin  sijoitusstrategiaksi</a:t>
            </a:r>
          </a:p>
        </p:txBody>
      </p:sp>
      <p:sp>
        <p:nvSpPr>
          <p:cNvPr id="3" name="Alaotsikko 2"/>
          <p:cNvSpPr>
            <a:spLocks noGrp="1"/>
          </p:cNvSpPr>
          <p:nvPr>
            <p:ph type="subTitle" idx="1"/>
          </p:nvPr>
        </p:nvSpPr>
        <p:spPr>
          <a:xfrm>
            <a:off x="1143000" y="3334873"/>
            <a:ext cx="6858000" cy="675291"/>
          </a:xfrm>
        </p:spPr>
        <p:txBody>
          <a:bodyPr/>
          <a:lstStyle/>
          <a:p>
            <a:r>
              <a:rPr lang="af-ZA" dirty="0"/>
              <a:t>Tiina Ingman, teollisuusneuvos</a:t>
            </a:r>
          </a:p>
        </p:txBody>
      </p:sp>
    </p:spTree>
    <p:extLst>
      <p:ext uri="{BB962C8B-B14F-4D97-AF65-F5344CB8AC3E}">
        <p14:creationId xmlns:p14="http://schemas.microsoft.com/office/powerpoint/2010/main" val="1282658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43058A-491B-6BF1-B521-48FAD5428A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think-cell data - do not delete" hidden="1">
                        <a:extLst>
                          <a:ext uri="{FF2B5EF4-FFF2-40B4-BE49-F238E27FC236}">
                            <a16:creationId xmlns:a16="http://schemas.microsoft.com/office/drawing/2014/main" id="{1443058A-491B-6BF1-B521-48FAD5428A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isällön paikkamerkki 2"/>
          <p:cNvSpPr>
            <a:spLocks noGrp="1"/>
          </p:cNvSpPr>
          <p:nvPr>
            <p:ph idx="1"/>
          </p:nvPr>
        </p:nvSpPr>
        <p:spPr>
          <a:xfrm>
            <a:off x="312670" y="701787"/>
            <a:ext cx="8169971" cy="3948589"/>
          </a:xfrm>
        </p:spPr>
        <p:txBody>
          <a:bodyPr>
            <a:noAutofit/>
          </a:bodyPr>
          <a:lstStyle/>
          <a:p>
            <a:pPr marL="0" indent="0">
              <a:buNone/>
            </a:pPr>
            <a:r>
              <a:rPr lang="af-ZA" sz="2000" b="1" dirty="0">
                <a:solidFill>
                  <a:schemeClr val="tx2"/>
                </a:solidFill>
              </a:rPr>
              <a:t>Pääministeri Orpon hallituksen ohjelma uudistuvasta Tesistä  -Tesille vahvempi teollisuuspoliittinen rooli</a:t>
            </a:r>
            <a:br>
              <a:rPr lang="af-ZA" sz="2000" b="1" dirty="0">
                <a:solidFill>
                  <a:schemeClr val="tx2"/>
                </a:solidFill>
              </a:rPr>
            </a:br>
            <a:br>
              <a:rPr lang="af-ZA" sz="2000" dirty="0">
                <a:solidFill>
                  <a:schemeClr val="tx2"/>
                </a:solidFill>
              </a:rPr>
            </a:br>
            <a:r>
              <a:rPr lang="af-ZA" sz="1600" dirty="0"/>
              <a:t>"Uudelle toimijalle (Tesille) annetaan nykyistä </a:t>
            </a:r>
            <a:r>
              <a:rPr lang="af-ZA" sz="1600" b="1" dirty="0"/>
              <a:t>vahvemmin talouden kasvuun ja uudistumiseen sekä investointien edistämiseen keskittyvä teollisuuspoliittinen tehtävä</a:t>
            </a:r>
            <a:r>
              <a:rPr lang="af-ZA" sz="1600" dirty="0"/>
              <a:t>. </a:t>
            </a:r>
          </a:p>
          <a:p>
            <a:pPr marL="0" indent="0">
              <a:buNone/>
            </a:pPr>
            <a:r>
              <a:rPr lang="af-ZA" sz="1600" dirty="0"/>
              <a:t>Tavoitteena on myös </a:t>
            </a:r>
            <a:r>
              <a:rPr lang="af-ZA" sz="1600" b="1" dirty="0"/>
              <a:t>uusien teknologioiden ja puhtaan siirtymän luomiin mahdollisuuksiin liittyvien investointien ja viennin vauhdittaminen</a:t>
            </a:r>
            <a:r>
              <a:rPr lang="af-ZA" sz="1600" dirty="0"/>
              <a:t>. </a:t>
            </a:r>
          </a:p>
          <a:p>
            <a:pPr marL="0" indent="0">
              <a:buNone/>
            </a:pPr>
            <a:r>
              <a:rPr lang="af-ZA" sz="1600" dirty="0"/>
              <a:t>Tavoitteena on, että </a:t>
            </a:r>
            <a:r>
              <a:rPr lang="af-ZA" sz="1600" b="1" dirty="0"/>
              <a:t>yhdessä yksityisen sektorin sijoitusten kanssa innovaatioiden kaupallistaminen, skaalaaminen ja yritysten sekä viennin kasvu vauhdittuvat</a:t>
            </a:r>
            <a:r>
              <a:rPr lang="af-ZA" sz="1600" dirty="0"/>
              <a:t>. </a:t>
            </a:r>
          </a:p>
          <a:p>
            <a:pPr marL="0" indent="0">
              <a:buNone/>
            </a:pPr>
            <a:r>
              <a:rPr lang="af-ZA" sz="1600" dirty="0"/>
              <a:t>Samalla on mahdollista vauhdittaa esimerkiksi </a:t>
            </a:r>
            <a:r>
              <a:rPr lang="af-ZA" sz="1600" b="1" dirty="0"/>
              <a:t>teknologioiden ympärille muodostuneita innovaatio- ja yritysekosysteemejä </a:t>
            </a:r>
            <a:r>
              <a:rPr lang="af-ZA" sz="1600" dirty="0"/>
              <a:t>ja </a:t>
            </a:r>
            <a:r>
              <a:rPr lang="af-ZA" sz="1600" b="1" dirty="0"/>
              <a:t>toimia osaavana omistajana yhdessä Suomessa toimivan yksityisen osaavan pääoman kanssa</a:t>
            </a:r>
            <a:r>
              <a:rPr lang="af-ZA" sz="1600" dirty="0"/>
              <a:t>.”</a:t>
            </a:r>
            <a:br>
              <a:rPr lang="af-ZA" sz="1600" dirty="0"/>
            </a:br>
            <a:endParaRPr lang="af-ZA" sz="1600" dirty="0"/>
          </a:p>
          <a:p>
            <a:pPr marL="0" indent="0">
              <a:buNone/>
            </a:pPr>
            <a:br>
              <a:rPr lang="af-ZA" sz="1600" dirty="0"/>
            </a:br>
            <a:br>
              <a:rPr lang="af-ZA" sz="1000" dirty="0"/>
            </a:br>
            <a:r>
              <a:rPr lang="af-ZA" sz="1000" dirty="0"/>
              <a:t> </a:t>
            </a:r>
          </a:p>
        </p:txBody>
      </p:sp>
      <p:sp>
        <p:nvSpPr>
          <p:cNvPr id="4" name="Alatunnisteen paikkamerkki 3"/>
          <p:cNvSpPr>
            <a:spLocks noGrp="1"/>
          </p:cNvSpPr>
          <p:nvPr>
            <p:ph type="ftr" sz="quarter" idx="11"/>
          </p:nvPr>
        </p:nvSpPr>
        <p:spPr/>
        <p:txBody>
          <a:bodyPr/>
          <a:lstStyle/>
          <a:p>
            <a:r>
              <a:rPr lang="af-ZA"/>
              <a:t>Työ- ja elinkeinoministeriö • www.tem.fi</a:t>
            </a:r>
          </a:p>
        </p:txBody>
      </p:sp>
      <p:sp>
        <p:nvSpPr>
          <p:cNvPr id="5" name="Päivämäärän paikkamerkki 4"/>
          <p:cNvSpPr>
            <a:spLocks noGrp="1"/>
          </p:cNvSpPr>
          <p:nvPr>
            <p:ph type="dt" sz="half" idx="10"/>
          </p:nvPr>
        </p:nvSpPr>
        <p:spPr/>
        <p:txBody>
          <a:bodyPr/>
          <a:lstStyle/>
          <a:p>
            <a:fld id="{CF0B024A-9348-8F4E-84E6-1AC861A3D50B}" type="datetime1">
              <a:rPr lang="af-ZA" smtClean="0"/>
              <a:pPr/>
              <a:t>2024-12-09</a:t>
            </a:fld>
            <a:endParaRPr lang="af-ZA"/>
          </a:p>
        </p:txBody>
      </p:sp>
      <p:sp>
        <p:nvSpPr>
          <p:cNvPr id="6" name="Dian numeron paikkamerkki 5"/>
          <p:cNvSpPr>
            <a:spLocks noGrp="1"/>
          </p:cNvSpPr>
          <p:nvPr>
            <p:ph type="sldNum" sz="quarter" idx="12"/>
          </p:nvPr>
        </p:nvSpPr>
        <p:spPr/>
        <p:txBody>
          <a:bodyPr/>
          <a:lstStyle/>
          <a:p>
            <a:fld id="{3065C9E5-8AC3-DF4B-BA99-CB03B9370A98}" type="slidenum">
              <a:rPr lang="af-ZA" smtClean="0"/>
              <a:pPr/>
              <a:t>9</a:t>
            </a:fld>
            <a:endParaRPr lang="af-ZA"/>
          </a:p>
        </p:txBody>
      </p:sp>
    </p:spTree>
    <p:extLst>
      <p:ext uri="{BB962C8B-B14F-4D97-AF65-F5344CB8AC3E}">
        <p14:creationId xmlns:p14="http://schemas.microsoft.com/office/powerpoint/2010/main" val="3247351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WIoaVLpTQS26IEJ_9k9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WIoaVLpTQS26IEJ_9k9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
  <a:themeElements>
    <a:clrScheme name="TEM 2021 01">
      <a:dk1>
        <a:srgbClr val="000000"/>
      </a:dk1>
      <a:lt1>
        <a:srgbClr val="FFFFFF"/>
      </a:lt1>
      <a:dk2>
        <a:srgbClr val="201E5B"/>
      </a:dk2>
      <a:lt2>
        <a:srgbClr val="DDBF8C"/>
      </a:lt2>
      <a:accent1>
        <a:srgbClr val="554596"/>
      </a:accent1>
      <a:accent2>
        <a:srgbClr val="008B3B"/>
      </a:accent2>
      <a:accent3>
        <a:srgbClr val="4565AD"/>
      </a:accent3>
      <a:accent4>
        <a:srgbClr val="E5231B"/>
      </a:accent4>
      <a:accent5>
        <a:srgbClr val="B63E8F"/>
      </a:accent5>
      <a:accent6>
        <a:srgbClr val="894997"/>
      </a:accent6>
      <a:hlink>
        <a:srgbClr val="0066CF"/>
      </a:hlink>
      <a:folHlink>
        <a:srgbClr val="485CC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650" dirty="0" err="1" smtClean="0"/>
        </a:defPPr>
      </a:lstStyle>
    </a:txDef>
  </a:objectDefaults>
  <a:extraClrSchemeLst/>
  <a:extLst>
    <a:ext uri="{05A4C25C-085E-4340-85A3-A5531E510DB2}">
      <thm15:themeFamily xmlns:thm15="http://schemas.microsoft.com/office/thememl/2012/main" name="TEM_DB01_laaja__FI_V____RGB.potx" id="{3FA3402B-2EFC-473D-AB43-9B110CE0CE1F}" vid="{EB4504F2-DA96-4563-B70F-974AD9BA3603}"/>
    </a:ext>
  </a:extLst>
</a:theme>
</file>

<file path=ppt/theme/theme2.xml><?xml version="1.0" encoding="utf-8"?>
<a:theme xmlns:a="http://schemas.openxmlformats.org/drawingml/2006/main" name="Mukautettu suunnittelumall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Tesi theme_esitystempla">
  <a:themeElements>
    <a:clrScheme name="Tesi 2022">
      <a:dk1>
        <a:srgbClr val="000000"/>
      </a:dk1>
      <a:lt1>
        <a:sysClr val="window" lastClr="FFFFFF"/>
      </a:lt1>
      <a:dk2>
        <a:srgbClr val="555552"/>
      </a:dk2>
      <a:lt2>
        <a:srgbClr val="D8D8D8"/>
      </a:lt2>
      <a:accent1>
        <a:srgbClr val="23727D"/>
      </a:accent1>
      <a:accent2>
        <a:srgbClr val="59C5CA"/>
      </a:accent2>
      <a:accent3>
        <a:srgbClr val="50A050"/>
      </a:accent3>
      <a:accent4>
        <a:srgbClr val="EAB818"/>
      </a:accent4>
      <a:accent5>
        <a:srgbClr val="F7941D"/>
      </a:accent5>
      <a:accent6>
        <a:srgbClr val="C20E1A"/>
      </a:accent6>
      <a:hlink>
        <a:srgbClr val="23727D"/>
      </a:hlink>
      <a:folHlink>
        <a:srgbClr val="59C5CA"/>
      </a:folHlink>
    </a:clrScheme>
    <a:fontScheme name="Tesi fontit">
      <a:majorFont>
        <a:latin typeface="Arial Nova Light"/>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wrap="square" lIns="91440" tIns="45720" rIns="91440" bIns="45720" rtlCol="0" anchor="t" anchorCtr="0">
        <a:noAutofit/>
      </a:bodyPr>
      <a:lstStyle>
        <a:defPPr marL="0" indent="0" algn="l">
          <a:lnSpc>
            <a:spcPct val="90000"/>
          </a:lnSpc>
          <a:spcBef>
            <a:spcPts val="0"/>
          </a:spcBef>
          <a:spcAft>
            <a:spcPts val="600"/>
          </a:spcAft>
          <a:buClr>
            <a:srgbClr val="23727D"/>
          </a:buClr>
          <a:buSzPct val="100000"/>
          <a:buFont typeface="Courier New" panose="02070309020205020404" pitchFamily="49" charset="0"/>
          <a:buNone/>
          <a:defRPr sz="1200" noProof="0" dirty="0">
            <a:solidFill>
              <a:schemeClr val="bg1"/>
            </a:solidFill>
            <a:latin typeface="Arial Nova Light" panose="020B0304020202020204" pitchFamily="34" charset="0"/>
            <a:cs typeface="Helvetica" panose="020B0604020202020204" pitchFamily="34" charset="0"/>
          </a:defRPr>
        </a:defPPr>
      </a:lstStyle>
    </a:spDef>
    <a:txDef>
      <a:spPr/>
      <a:bodyPr vert="horz" wrap="square" lIns="91440" tIns="45720" rIns="91440" bIns="45720" rtlCol="0">
        <a:noAutofit/>
      </a:bodyPr>
      <a:lstStyle>
        <a:defPPr marL="180000" indent="-180000" algn="l">
          <a:lnSpc>
            <a:spcPct val="100000"/>
          </a:lnSpc>
          <a:spcAft>
            <a:spcPts val="600"/>
          </a:spcAft>
          <a:buClr>
            <a:schemeClr val="accent1"/>
          </a:buClr>
          <a:buFont typeface="Courier New" panose="02070309020205020404" pitchFamily="49" charset="0"/>
          <a:buChar char="o"/>
          <a:defRPr sz="1200" dirty="0" smtClean="0">
            <a:latin typeface="Arial Nova Light" panose="020B03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Tesi theme_esitystempla">
  <a:themeElements>
    <a:clrScheme name="Tesi 2022">
      <a:dk1>
        <a:srgbClr val="000000"/>
      </a:dk1>
      <a:lt1>
        <a:sysClr val="window" lastClr="FFFFFF"/>
      </a:lt1>
      <a:dk2>
        <a:srgbClr val="555552"/>
      </a:dk2>
      <a:lt2>
        <a:srgbClr val="D8D8D8"/>
      </a:lt2>
      <a:accent1>
        <a:srgbClr val="23727D"/>
      </a:accent1>
      <a:accent2>
        <a:srgbClr val="59C5CA"/>
      </a:accent2>
      <a:accent3>
        <a:srgbClr val="50A050"/>
      </a:accent3>
      <a:accent4>
        <a:srgbClr val="EAB818"/>
      </a:accent4>
      <a:accent5>
        <a:srgbClr val="F7941D"/>
      </a:accent5>
      <a:accent6>
        <a:srgbClr val="C20E1A"/>
      </a:accent6>
      <a:hlink>
        <a:srgbClr val="23727D"/>
      </a:hlink>
      <a:folHlink>
        <a:srgbClr val="59C5CA"/>
      </a:folHlink>
    </a:clrScheme>
    <a:fontScheme name="Tesi fontit">
      <a:majorFont>
        <a:latin typeface="Arial Nova Light"/>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wrap="square" lIns="91440" tIns="45720" rIns="91440" bIns="45720" rtlCol="0" anchor="t" anchorCtr="0">
        <a:noAutofit/>
      </a:bodyPr>
      <a:lstStyle>
        <a:defPPr marL="0" indent="0" algn="l">
          <a:lnSpc>
            <a:spcPct val="90000"/>
          </a:lnSpc>
          <a:spcBef>
            <a:spcPts val="0"/>
          </a:spcBef>
          <a:spcAft>
            <a:spcPts val="600"/>
          </a:spcAft>
          <a:buClr>
            <a:srgbClr val="23727D"/>
          </a:buClr>
          <a:buSzPct val="100000"/>
          <a:buFont typeface="Courier New" panose="02070309020205020404" pitchFamily="49" charset="0"/>
          <a:buNone/>
          <a:defRPr sz="1200" noProof="0" dirty="0">
            <a:solidFill>
              <a:schemeClr val="bg1"/>
            </a:solidFill>
            <a:latin typeface="Arial Nova Light" panose="020B0304020202020204" pitchFamily="34" charset="0"/>
            <a:cs typeface="Helvetica" panose="020B0604020202020204" pitchFamily="34" charset="0"/>
          </a:defRPr>
        </a:defPPr>
      </a:lstStyle>
    </a:spDef>
    <a:txDef>
      <a:spPr/>
      <a:bodyPr vert="horz" wrap="square" lIns="91440" tIns="45720" rIns="91440" bIns="45720" rtlCol="0">
        <a:noAutofit/>
      </a:bodyPr>
      <a:lstStyle>
        <a:defPPr marL="180000" indent="-180000" algn="l">
          <a:lnSpc>
            <a:spcPct val="100000"/>
          </a:lnSpc>
          <a:spcAft>
            <a:spcPts val="600"/>
          </a:spcAft>
          <a:buClr>
            <a:schemeClr val="accent1"/>
          </a:buClr>
          <a:buFont typeface="Courier New" panose="02070309020205020404" pitchFamily="49" charset="0"/>
          <a:buChar char="o"/>
          <a:defRPr sz="1200" dirty="0" smtClean="0">
            <a:latin typeface="Arial Nova Light" panose="020B03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si theme_esitystempla">
  <a:themeElements>
    <a:clrScheme name="Tesi 2022">
      <a:dk1>
        <a:srgbClr val="000000"/>
      </a:dk1>
      <a:lt1>
        <a:sysClr val="window" lastClr="FFFFFF"/>
      </a:lt1>
      <a:dk2>
        <a:srgbClr val="555552"/>
      </a:dk2>
      <a:lt2>
        <a:srgbClr val="D8D8D8"/>
      </a:lt2>
      <a:accent1>
        <a:srgbClr val="23727D"/>
      </a:accent1>
      <a:accent2>
        <a:srgbClr val="59C5CA"/>
      </a:accent2>
      <a:accent3>
        <a:srgbClr val="50A050"/>
      </a:accent3>
      <a:accent4>
        <a:srgbClr val="EAB818"/>
      </a:accent4>
      <a:accent5>
        <a:srgbClr val="F7941D"/>
      </a:accent5>
      <a:accent6>
        <a:srgbClr val="C20E1A"/>
      </a:accent6>
      <a:hlink>
        <a:srgbClr val="23727D"/>
      </a:hlink>
      <a:folHlink>
        <a:srgbClr val="59C5CA"/>
      </a:folHlink>
    </a:clrScheme>
    <a:fontScheme name="Tesi fontit">
      <a:majorFont>
        <a:latin typeface="Arial Nova Light"/>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spPr>
      <a:bodyPr vert="horz" wrap="square" lIns="91440" tIns="45720" rIns="91440" bIns="45720" rtlCol="0" anchor="t" anchorCtr="0">
        <a:noAutofit/>
      </a:bodyPr>
      <a:lstStyle>
        <a:defPPr marL="0" indent="0" algn="l">
          <a:lnSpc>
            <a:spcPct val="90000"/>
          </a:lnSpc>
          <a:spcBef>
            <a:spcPts val="0"/>
          </a:spcBef>
          <a:spcAft>
            <a:spcPts val="600"/>
          </a:spcAft>
          <a:buClr>
            <a:srgbClr val="23727D"/>
          </a:buClr>
          <a:buSzPct val="100000"/>
          <a:buFont typeface="Courier New" panose="02070309020205020404" pitchFamily="49" charset="0"/>
          <a:buNone/>
          <a:defRPr sz="1200" noProof="0" dirty="0">
            <a:solidFill>
              <a:schemeClr val="bg1"/>
            </a:solidFill>
            <a:latin typeface="Arial Nova Light" panose="020B0304020202020204" pitchFamily="34" charset="0"/>
            <a:cs typeface="Helvetica" panose="020B0604020202020204" pitchFamily="34" charset="0"/>
          </a:defRPr>
        </a:defPPr>
      </a:lstStyle>
    </a:spDef>
    <a:txDef>
      <a:spPr/>
      <a:bodyPr vert="horz" wrap="square" lIns="91440" tIns="45720" rIns="91440" bIns="45720" rtlCol="0">
        <a:noAutofit/>
      </a:bodyPr>
      <a:lstStyle>
        <a:defPPr marL="180000" indent="-180000" algn="l">
          <a:lnSpc>
            <a:spcPct val="100000"/>
          </a:lnSpc>
          <a:spcAft>
            <a:spcPts val="600"/>
          </a:spcAft>
          <a:buClr>
            <a:schemeClr val="accent1"/>
          </a:buClr>
          <a:buFont typeface="Courier New" panose="02070309020205020404" pitchFamily="49" charset="0"/>
          <a:buChar char="o"/>
          <a:defRPr sz="1200" dirty="0" smtClean="0">
            <a:latin typeface="Arial Nova Light" panose="020B03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Asiakirja" ma:contentTypeID="0x010100D35F29843C361E4F899035C28A643F8B" ma:contentTypeVersion="10" ma:contentTypeDescription="Luo uusi asiakirja." ma:contentTypeScope="" ma:versionID="88a83869cef6cbeaae6d8756f73e639c">
  <xsd:schema xmlns:xsd="http://www.w3.org/2001/XMLSchema" xmlns:xs="http://www.w3.org/2001/XMLSchema" xmlns:p="http://schemas.microsoft.com/office/2006/metadata/properties" xmlns:ns2="cf26bb0d-57b9-4e4f-a130-58f05ff76b4a" xmlns:ns3="dbeb149d-1a0f-4769-baff-4fc943ce2a08" targetNamespace="http://schemas.microsoft.com/office/2006/metadata/properties" ma:root="true" ma:fieldsID="327ffe909beccdf28f1433bf329ce415" ns2:_="" ns3:_="">
    <xsd:import namespace="cf26bb0d-57b9-4e4f-a130-58f05ff76b4a"/>
    <xsd:import namespace="dbeb149d-1a0f-4769-baff-4fc943ce2a0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26bb0d-57b9-4e4f-a130-58f05ff76b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beb149d-1a0f-4769-baff-4fc943ce2a08" elementFormDefault="qualified">
    <xsd:import namespace="http://schemas.microsoft.com/office/2006/documentManagement/types"/>
    <xsd:import namespace="http://schemas.microsoft.com/office/infopath/2007/PartnerControls"/>
    <xsd:element name="SharedWithUsers" ma:index="12"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Jakamisen tiedot"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9101234-116C-47B3-9877-F5A29031B374}">
  <ds:schemaRefs>
    <ds:schemaRef ds:uri="cf26bb0d-57b9-4e4f-a130-58f05ff76b4a"/>
    <ds:schemaRef ds:uri="dbeb149d-1a0f-4769-baff-4fc943ce2a0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364EE32-B1A1-4A07-9B13-1D6DB709A1F0}">
  <ds:schemaRefs>
    <ds:schemaRef ds:uri="http://schemas.microsoft.com/sharepoint/v3/contenttype/forms"/>
  </ds:schemaRefs>
</ds:datastoreItem>
</file>

<file path=customXml/itemProps3.xml><?xml version="1.0" encoding="utf-8"?>
<ds:datastoreItem xmlns:ds="http://schemas.openxmlformats.org/officeDocument/2006/customXml" ds:itemID="{1E8FE6E6-BAA9-4DEF-8023-18F6AA342FA4}">
  <ds:schemaRefs>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purl.org/dc/elements/1.1/"/>
    <ds:schemaRef ds:uri="http://schemas.microsoft.com/office/2006/metadata/properties"/>
    <ds:schemaRef ds:uri="dbeb149d-1a0f-4769-baff-4fc943ce2a08"/>
    <ds:schemaRef ds:uri="cf26bb0d-57b9-4e4f-a130-58f05ff76b4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869</TotalTime>
  <Words>1256</Words>
  <Application>Microsoft Office PowerPoint</Application>
  <PresentationFormat>Näytössä katseltava esitys (16:9)</PresentationFormat>
  <Paragraphs>145</Paragraphs>
  <Slides>16</Slides>
  <Notes>7</Notes>
  <HiddenSlides>0</HiddenSlides>
  <MMClips>0</MMClips>
  <ScaleCrop>false</ScaleCrop>
  <HeadingPairs>
    <vt:vector size="8" baseType="variant">
      <vt:variant>
        <vt:lpstr>Käytetyt fontit</vt:lpstr>
      </vt:variant>
      <vt:variant>
        <vt:i4>10</vt:i4>
      </vt:variant>
      <vt:variant>
        <vt:lpstr>Teema</vt:lpstr>
      </vt:variant>
      <vt:variant>
        <vt:i4>5</vt:i4>
      </vt:variant>
      <vt:variant>
        <vt:lpstr>Upotetut OLE-palvelimet</vt:lpstr>
      </vt:variant>
      <vt:variant>
        <vt:i4>1</vt:i4>
      </vt:variant>
      <vt:variant>
        <vt:lpstr>Dian otsikot</vt:lpstr>
      </vt:variant>
      <vt:variant>
        <vt:i4>16</vt:i4>
      </vt:variant>
    </vt:vector>
  </HeadingPairs>
  <TitlesOfParts>
    <vt:vector size="32" baseType="lpstr">
      <vt:lpstr>Aptos</vt:lpstr>
      <vt:lpstr>Arial</vt:lpstr>
      <vt:lpstr>Arial Nova</vt:lpstr>
      <vt:lpstr>Arial Nova Light</vt:lpstr>
      <vt:lpstr>Calibri</vt:lpstr>
      <vt:lpstr>Calibri Light</vt:lpstr>
      <vt:lpstr>Courier New</vt:lpstr>
      <vt:lpstr>Helvetica</vt:lpstr>
      <vt:lpstr>Rockwell</vt:lpstr>
      <vt:lpstr>Times New Roman</vt:lpstr>
      <vt:lpstr>TEM</vt:lpstr>
      <vt:lpstr>Mukautettu suunnittelumalli</vt:lpstr>
      <vt:lpstr>3_Tesi theme_esitystempla</vt:lpstr>
      <vt:lpstr>1_Tesi theme_esitystempla</vt:lpstr>
      <vt:lpstr>Tesi theme_esitystempla</vt:lpstr>
      <vt:lpstr>think-cell Slide</vt:lpstr>
      <vt:lpstr>TEM:n esitys Tesin sijoitusstrategiaksi   </vt:lpstr>
      <vt:lpstr>Asialista:  </vt:lpstr>
      <vt:lpstr>Lausuntokierroksen palaute koskien työryhmän ehdotusta</vt:lpstr>
      <vt:lpstr>Lausuntojen yhteenveto</vt:lpstr>
      <vt:lpstr>Lausuntopalautteiden yhteenveto</vt:lpstr>
      <vt:lpstr>Lausuntopalautteiden yhteenveto</vt:lpstr>
      <vt:lpstr>Lausuntopalautteiden yhteenveto</vt:lpstr>
      <vt:lpstr>TEM:n ehdotus Tesin  sijoitusstrategiaksi</vt:lpstr>
      <vt:lpstr>PowerPoint-esitys</vt:lpstr>
      <vt:lpstr>TEM:n ehdotus Tesin sijoitusstrategiaksi 1/4</vt:lpstr>
      <vt:lpstr>TEM:n ehdotus Tesin sijoitusstrategiaksi 2/4</vt:lpstr>
      <vt:lpstr>TEM:n ehdotus Tesin sijoitusstrategiaksi 3/4</vt:lpstr>
      <vt:lpstr>Keskeisimmät näkökohdat ja muutokset suhteessa työryhmän ehdotukseen 4/4</vt:lpstr>
      <vt:lpstr>Tesin sijoitustoiminnan yleisperiaatteet</vt:lpstr>
      <vt:lpstr>PowerPoint-esitys</vt:lpstr>
      <vt:lpstr>PowerPoint-esitys</vt:lpstr>
    </vt:vector>
  </TitlesOfParts>
  <Company>Suomen val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 esittelydiojen esimerkkejä</dc:title>
  <dc:creator>Ryytty Kikka (TEM)</dc:creator>
  <cp:lastModifiedBy>Ingman Tiina (TEM)</cp:lastModifiedBy>
  <cp:revision>54</cp:revision>
  <cp:lastPrinted>2024-10-10T15:17:46Z</cp:lastPrinted>
  <dcterms:created xsi:type="dcterms:W3CDTF">2021-03-24T13:15:33Z</dcterms:created>
  <dcterms:modified xsi:type="dcterms:W3CDTF">2024-12-09T14:4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5F29843C361E4F899035C28A643F8B</vt:lpwstr>
  </property>
</Properties>
</file>